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737" r:id="rId3"/>
    <p:sldMasterId id="2147483764" r:id="rId4"/>
    <p:sldMasterId id="2147483807" r:id="rId5"/>
  </p:sldMasterIdLst>
  <p:notesMasterIdLst>
    <p:notesMasterId r:id="rId28"/>
  </p:notesMasterIdLst>
  <p:sldIdLst>
    <p:sldId id="2147483107" r:id="rId6"/>
    <p:sldId id="2147483105" r:id="rId7"/>
    <p:sldId id="2147482906" r:id="rId8"/>
    <p:sldId id="2147483148" r:id="rId9"/>
    <p:sldId id="2147483104" r:id="rId10"/>
    <p:sldId id="2147483142" r:id="rId11"/>
    <p:sldId id="2147483065" r:id="rId12"/>
    <p:sldId id="2147483147" r:id="rId13"/>
    <p:sldId id="2147483145" r:id="rId14"/>
    <p:sldId id="2147483144" r:id="rId15"/>
    <p:sldId id="2147483151" r:id="rId16"/>
    <p:sldId id="2147483157" r:id="rId17"/>
    <p:sldId id="2147483158" r:id="rId18"/>
    <p:sldId id="2147483154" r:id="rId19"/>
    <p:sldId id="2147483162" r:id="rId20"/>
    <p:sldId id="2147483161" r:id="rId21"/>
    <p:sldId id="2147483164" r:id="rId22"/>
    <p:sldId id="2147483159" r:id="rId23"/>
    <p:sldId id="2147483155" r:id="rId24"/>
    <p:sldId id="2147480510" r:id="rId25"/>
    <p:sldId id="2147482264" r:id="rId26"/>
    <p:sldId id="2147482266" r:id="rId27"/>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11F452-A016-0A1D-9937-E3CA6623EF94}" name="Quarnström Anna (DU-I)" initials="Q(" userId="S::cgt55@eur.corp.vattenfall.com::5600222a-ffa6-4bc5-826b-8ce25d735286" providerId="AD"/>
  <p188:author id="{9F313089-2EAE-4DF6-2197-6F0FE85E2901}" name="Ruwaida Yvonne (DU-I)" initials="R(" userId="S::yruw@eur.corp.vattenfall.com::d6dc2f3c-16f2-4580-bf37-dc68646e444d"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18" autoAdjust="0"/>
    <p:restoredTop sz="83776" autoAdjust="0"/>
  </p:normalViewPr>
  <p:slideViewPr>
    <p:cSldViewPr snapToGrid="0">
      <p:cViewPr varScale="1">
        <p:scale>
          <a:sx n="115" d="100"/>
          <a:sy n="115" d="100"/>
        </p:scale>
        <p:origin x="1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AF7987-C20D-42F5-9CB8-BDC7F7CE8825}" type="datetimeFigureOut">
              <a:rPr lang="sv-SE" smtClean="0"/>
              <a:t>2025-04-07</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570995-7DF9-4591-A55F-955563B66103}" type="slidenum">
              <a:rPr lang="sv-SE" smtClean="0"/>
              <a:t>‹#›</a:t>
            </a:fld>
            <a:endParaRPr lang="sv-SE"/>
          </a:p>
        </p:txBody>
      </p:sp>
    </p:spTree>
    <p:extLst>
      <p:ext uri="{BB962C8B-B14F-4D97-AF65-F5344CB8AC3E}">
        <p14:creationId xmlns:p14="http://schemas.microsoft.com/office/powerpoint/2010/main" val="9984032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345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37170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333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17520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4238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40487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79991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971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331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Artikel 182 Grupper eller enheter som tillhandahåller reserver och som är anslutna till nätet hos den systemansvarige för distributionssystemet 1. Systemansvariga för överförings- och distributionssystem ska samarbeta för att underlätta och möjliggöra leverans av aktiva reserver genom sådana grupper och enheter som tillhandahåller reserver och som finns i distributionssystemen. 2. När det gäller förkvalificeringsprocesserna för frekvenshållningsreserver i artikel 155, för frekvensåterställningsreserver i artikel 159 och för ersättningsreserver i artikel 162 ska varje systemansvarig för överföringssystem i ett avtal med sina systemansvariga för distributionssystem som ansluter reserver och mellanliggande systemansvariga för distributionssystem utarbeta och ange villkoren för det informationsutbyte som krävs i dessa förkvalificeringsprocesser för enheter eller grupper som tillhandahåller reserver och som finns i distributionssystemen, samt för leveransen av aktiva reserver. Förkvalificeringsprocesserna för frekvenshållningsreserver i artikel 155, för frekvensåterställningsreserver i artikel 159 och för ersättningsreserver i artikel 162 ska ange den information som ska tillhandahållas av de potentiella enheterna eller grupperna som tillhandahåller reserver, inklusive a) spänningsnivåer och anslutningspunkter för enheterna eller grupperna som tillhandahåller reserver, b) typen av aktiva reserver, c) den maximala reservkapacitet som tillhandahålls av enheterna eller grupperna som tillhandahåller reserver vid varje anslutningspunkt, och d) maximal ändringshastighet för aktiv effekt för enheterna eller grupperna som tillhandahåller reserver. 3. Förkvalificeringsprocessen ska bygga på den överenskomna tidslinjen och reglerna om informationsutbyte och på leveransen av aktiva reserver mellan den systemansvarige för överföringssystemet, den systemansvarige för distributionssystem som ansluter reserver och mellanliggande systemansvariga för distributionssystem. Förkvalificeringsprocessen ska ha en maximal längd på tre månader från inlämnandet av en fullständig formell ansökan från enheten eller gruppen som tillhandahåller reserver. 4. Varje systemansvarig för distributionssystem som ansluter reserver och varje mellanliggande systemansvarig för distributionssystem ska, under förkvalificeringen av en enhet eller grupp som tillhandahåller reserver och som är ansluten till distributionssystemet, och i samarbete med den systemansvarige för överföringssystemet, ha rätt att fastställa gränser för eller utesluta leveransen av aktiva reserver som finns i distributionssystemet, baserat på tekniska faktorer såsom den geografiska placeringen av enheter och grupper som tillhandahåller reserver. 25.8.2017 SV Europeiska unionens officiella tidning L 220/109 5. Varje systemansvarig för distributionssystem som ansluter reserver och varje mellanliggande systemansvarig för distributionssystem ska ha rätt att, i samarbete med den systemansvarige för överföringssystemet och före aktiveringen av reserver, fastställa tillfälliga gränser för leveransen av aktiva reserver som finns i distributionssystemet. Respektive systemansvarig för överföringssystem ska tillsammans med sin systemansvarige för distributionssystem som ansluter reserver och sina mellanliggande systemansvariga för distributionssystem komma överens om de tillämpliga förfaranden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4618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Artikel 182 Grupper eller enheter som tillhandahåller reserver och som är anslutna till nätet hos den systemansvarige för distributionssystemet 1. Systemansvariga för överförings- och distributionssystem ska samarbeta för att underlätta och möjliggöra leverans av aktiva reserver genom sådana grupper och enheter som tillhandahåller reserver och som finns i distributionssystemen. 2. När det gäller förkvalificeringsprocesserna för frekvenshållningsreserver i artikel 155, för frekvensåterställningsreserver i artikel 159 och för ersättningsreserver i artikel 162 ska varje systemansvarig för överföringssystem i ett avtal med sina systemansvariga för distributionssystem som ansluter reserver och mellanliggande systemansvariga för distributionssystem utarbeta och ange villkoren för det informationsutbyte som krävs i dessa förkvalificeringsprocesser för enheter eller grupper som tillhandahåller reserver och som finns i distributionssystemen, samt för leveransen av aktiva reserver. Förkvalificeringsprocesserna för frekvenshållningsreserver i artikel 155, för frekvensåterställningsreserver i artikel 159 och för ersättningsreserver i artikel 162 ska ange den information som ska tillhandahållas av de potentiella enheterna eller grupperna som tillhandahåller reserver, inklusive a) spänningsnivåer och anslutningspunkter för enheterna eller grupperna som tillhandahåller reserver, b) typen av aktiva reserver, c) den maximala reservkapacitet som tillhandahålls av enheterna eller grupperna som tillhandahåller reserver vid varje anslutningspunkt, och d) maximal ändringshastighet för aktiv effekt för enheterna eller grupperna som tillhandahåller reserver. 3. Förkvalificeringsprocessen ska bygga på den överenskomna tidslinjen och reglerna om informationsutbyte och på leveransen av aktiva reserver mellan den systemansvarige för överföringssystemet, den systemansvarige för distributionssystem som ansluter reserver och mellanliggande systemansvariga för distributionssystem. Förkvalificeringsprocessen ska ha en maximal längd på tre månader från inlämnandet av en fullständig formell ansökan från enheten eller gruppen som tillhandahåller reserver. 4. Varje systemansvarig för distributionssystem som ansluter reserver och varje mellanliggande systemansvarig för distributionssystem ska, under förkvalificeringen av en enhet eller grupp som tillhandahåller reserver och som är ansluten till distributionssystemet, och i samarbete med den systemansvarige för överföringssystemet, ha rätt att fastställa gränser för eller utesluta leveransen av aktiva reserver som finns i distributionssystemet, baserat på tekniska faktorer såsom den geografiska placeringen av enheter och grupper som tillhandahåller reserver. 25.8.2017 SV Europeiska unionens officiella tidning L 220/109 5. Varje systemansvarig för distributionssystem som ansluter reserver och varje mellanliggande systemansvarig för distributionssystem ska ha rätt att, i samarbete med den systemansvarige för överföringssystemet och före aktiveringen av reserver, fastställa tillfälliga gränser för leveransen av aktiva reserver som finns i distributionssystemet. Respektive systemansvarig för överföringssystem ska tillsammans med sin systemansvarige för distributionssystem som ansluter reserver och sina mellanliggande systemansvariga för distributionssystem komma överens om de tillämpliga förfaranden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9082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5206A-2CFB-8440-5D68-36C1C0EEF8A2}"/>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D6F6DC12-9139-9774-C68B-5F22820C9A37}"/>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5D3FDAAE-444F-E821-4ABF-65A7D0D6B8AE}"/>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1C6F1837-1B38-5527-704B-9BB11C34FB1A}"/>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0852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cs typeface="Calibri"/>
              </a:rPr>
              <a:t>Ett möjligt format för kommunikation är att </a:t>
            </a:r>
            <a:r>
              <a:rPr lang="sv-SE" err="1">
                <a:cs typeface="Calibri"/>
              </a:rPr>
              <a:t>mappa</a:t>
            </a:r>
            <a:r>
              <a:rPr lang="sv-SE">
                <a:cs typeface="Calibri"/>
              </a:rPr>
              <a:t> tjänster mot organisation och information alt direkt till befintliga förmågor och </a:t>
            </a:r>
            <a:r>
              <a:rPr lang="sv-SE" err="1">
                <a:cs typeface="Calibri"/>
              </a:rPr>
              <a:t>ev</a:t>
            </a:r>
            <a:r>
              <a:rPr lang="sv-SE">
                <a:cs typeface="Calibri"/>
              </a:rPr>
              <a:t> kommande förmågor. Ett arbetssätt för detta bör tas fram. Det skulle kunna överlämnas till organisationen.</a:t>
            </a:r>
          </a:p>
        </p:txBody>
      </p:sp>
      <p:sp>
        <p:nvSpPr>
          <p:cNvPr id="4" name="Platshållare för bild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839FFBA-8E97-AD44-BFE3-4701FE7ED56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631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B8F03-0410-2DD0-6CDD-4F3CA6C973FC}"/>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1375FAAC-CB9C-770A-6B29-29657880F723}"/>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702B7DF-1BF1-7816-90E3-8E180131A57A}"/>
              </a:ext>
            </a:extLst>
          </p:cNvPr>
          <p:cNvSpPr>
            <a:spLocks noGrp="1"/>
          </p:cNvSpPr>
          <p:nvPr>
            <p:ph type="body" idx="1"/>
          </p:nvPr>
        </p:nvSpPr>
        <p:spPr/>
        <p:txBody>
          <a:bodyPr/>
          <a:lstStyle/>
          <a:p>
            <a:endParaRPr lang="sv-SE" dirty="0"/>
          </a:p>
        </p:txBody>
      </p:sp>
      <p:sp>
        <p:nvSpPr>
          <p:cNvPr id="4" name="Platshållare för bildnummer 3">
            <a:extLst>
              <a:ext uri="{FF2B5EF4-FFF2-40B4-BE49-F238E27FC236}">
                <a16:creationId xmlns:a16="http://schemas.microsoft.com/office/drawing/2014/main" id="{E2880E5B-83BD-0F8F-6F75-A562BAFD9B5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527459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C25F7-0F1D-91CF-7264-FBEA09AD797F}"/>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01792453-2404-A988-DD13-D7BC41E4B932}"/>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E35573-5685-9993-14C0-D75D2E33FA27}"/>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1C96A679-1B86-3F51-AA00-65479C4A8CB9}"/>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01362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B30DF-FE51-F6AD-BF20-309D03778D22}"/>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1ACD2076-C5FB-A91A-D294-7B21C2D8AFD9}"/>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96D3F27A-F722-1953-4309-1849D8CCBE4E}"/>
              </a:ext>
            </a:extLst>
          </p:cNvPr>
          <p:cNvSpPr>
            <a:spLocks noGrp="1"/>
          </p:cNvSpPr>
          <p:nvPr>
            <p:ph type="body" idx="1"/>
          </p:nvPr>
        </p:nvSpPr>
        <p:spPr/>
        <p:txBody>
          <a:bodyPr/>
          <a:lstStyle/>
          <a:p>
            <a:r>
              <a:rPr lang="sv-SE"/>
              <a:t>https://eur-lex.europa.eu/legal-content/SV/TXT/?uri=CELEX:32019L0944</a:t>
            </a:r>
          </a:p>
        </p:txBody>
      </p:sp>
      <p:sp>
        <p:nvSpPr>
          <p:cNvPr id="4" name="Platshållare för bildnummer 3">
            <a:extLst>
              <a:ext uri="{FF2B5EF4-FFF2-40B4-BE49-F238E27FC236}">
                <a16:creationId xmlns:a16="http://schemas.microsoft.com/office/drawing/2014/main" id="{080A42C5-C667-9F4B-B81A-EDCBA7731DA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14A0D25-13C3-41D0-88C2-F7AC7415048E}"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1561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BBDD7-A9AB-4488-82B9-C3C2A9EFEF9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14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gif"/><Relationship Id="rId1" Type="http://schemas.openxmlformats.org/officeDocument/2006/relationships/slideMaster" Target="../slideMasters/slideMaster4.xml"/><Relationship Id="rId4" Type="http://schemas.openxmlformats.org/officeDocument/2006/relationships/image" Target="../media/image29.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jpeg"/><Relationship Id="rId1" Type="http://schemas.openxmlformats.org/officeDocument/2006/relationships/slideMaster" Target="../slideMasters/slideMaster5.xml"/><Relationship Id="rId5" Type="http://schemas.openxmlformats.org/officeDocument/2006/relationships/image" Target="../media/image44.emf"/><Relationship Id="rId4" Type="http://schemas.openxmlformats.org/officeDocument/2006/relationships/image" Target="../media/image43.emf"/></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png"/><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 Id="rId5" Type="http://schemas.openxmlformats.org/officeDocument/2006/relationships/image" Target="../media/image1.png"/><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gif"/><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https://brandtoolbox.vattenfall.com/" TargetMode="Externa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gif"/><Relationship Id="rId1" Type="http://schemas.openxmlformats.org/officeDocument/2006/relationships/slideMaster" Target="../slideMasters/slideMaster3.xml"/><Relationship Id="rId4" Type="http://schemas.openxmlformats.org/officeDocument/2006/relationships/image" Target="../media/image29.sv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gif"/><Relationship Id="rId1" Type="http://schemas.openxmlformats.org/officeDocument/2006/relationships/slideMaster" Target="../slideMasters/slideMaster4.xml"/><Relationship Id="rId5" Type="http://schemas.openxmlformats.org/officeDocument/2006/relationships/image" Target="../media/image32.png"/><Relationship Id="rId4" Type="http://schemas.openxmlformats.org/officeDocument/2006/relationships/image" Target="../media/image31.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gi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20CEB-08B2-D29C-4893-AC653C2EA1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B0D3C7-7D56-2AF9-98C2-2020D536D5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2597CE1-5C6E-CED8-E47F-EB15A01B8B7D}"/>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DBCA5CF8-EE07-A6BA-AEB5-4A1D90D3E2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7F345C-AB89-1039-475D-D0AAB45D7B39}"/>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14034810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B01A3-908D-8573-4476-0B535680907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0D96F5-F705-7C0F-35C9-1329B4AEDD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1A88C5-6115-1B4A-7F2E-D363152DAD0C}"/>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3169C495-C252-D256-CE93-C857781B81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A82D6B-B02C-5692-E58E-A770C255910D}"/>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25410536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5 Two images">
    <p:spTree>
      <p:nvGrpSpPr>
        <p:cNvPr id="1" name=""/>
        <p:cNvGrpSpPr/>
        <p:nvPr/>
      </p:nvGrpSpPr>
      <p:grpSpPr>
        <a:xfrm>
          <a:off x="0" y="0"/>
          <a:ext cx="0" cy="0"/>
          <a:chOff x="0" y="0"/>
          <a:chExt cx="0" cy="0"/>
        </a:xfrm>
      </p:grpSpPr>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239184" y="211667"/>
            <a:ext cx="5761696"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191252" y="211667"/>
            <a:ext cx="5761696"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106FE053-E37F-9B4D-9BAC-DD71282F0947}"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9E90457A-1E8B-A709-A93F-F3C7D424C64C}"/>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403008678"/>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5 Three images">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D399CB98-9BA7-CFDB-3697-ED7EBD8E96D1}"/>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
        <p:nvSpPr>
          <p:cNvPr id="9" name="Image 1">
            <a:extLst>
              <a:ext uri="{FF2B5EF4-FFF2-40B4-BE49-F238E27FC236}">
                <a16:creationId xmlns:a16="http://schemas.microsoft.com/office/drawing/2014/main" id="{C852BE8F-C448-8C49-AD64-836FAF5E88FE}"/>
              </a:ext>
            </a:extLst>
          </p:cNvPr>
          <p:cNvSpPr>
            <a:spLocks noGrp="1"/>
          </p:cNvSpPr>
          <p:nvPr>
            <p:ph type="pic" sz="quarter" idx="16" hasCustomPrompt="1"/>
          </p:nvPr>
        </p:nvSpPr>
        <p:spPr>
          <a:xfrm>
            <a:off x="239185"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4" name="Image 2">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4271434" y="211667"/>
            <a:ext cx="36491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106FE053-E37F-9B4D-9BAC-DD71282F0947}"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C72FD3F2-4994-9ADB-A736-35984BB35643}"/>
              </a:ext>
            </a:extLst>
          </p:cNvPr>
          <p:cNvSpPr>
            <a:spLocks noGrp="1"/>
          </p:cNvSpPr>
          <p:nvPr>
            <p:ph type="pic" sz="quarter" idx="17" hasCustomPrompt="1"/>
          </p:nvPr>
        </p:nvSpPr>
        <p:spPr>
          <a:xfrm>
            <a:off x="8113054" y="211667"/>
            <a:ext cx="3839764"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Tree>
    <p:extLst>
      <p:ext uri="{BB962C8B-B14F-4D97-AF65-F5344CB8AC3E}">
        <p14:creationId xmlns:p14="http://schemas.microsoft.com/office/powerpoint/2010/main" val="34536758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 Four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239185" y="211667"/>
            <a:ext cx="5761567" cy="3024717"/>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6191253" y="211667"/>
            <a:ext cx="5761567" cy="3024717"/>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239185" y="3430466"/>
            <a:ext cx="5761567" cy="3023252"/>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6191253" y="3430466"/>
            <a:ext cx="5761567" cy="3023252"/>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60DD57AE-E7DB-3F41-B216-64C454662161}"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AB2AA291-301E-E4D8-C68C-DA421E8FDFBC}"/>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419772062"/>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5 Six images">
    <p:spTree>
      <p:nvGrpSpPr>
        <p:cNvPr id="1" name=""/>
        <p:cNvGrpSpPr/>
        <p:nvPr/>
      </p:nvGrpSpPr>
      <p:grpSpPr>
        <a:xfrm>
          <a:off x="0" y="0"/>
          <a:ext cx="0" cy="0"/>
          <a:chOff x="0" y="0"/>
          <a:chExt cx="0" cy="0"/>
        </a:xfrm>
      </p:grpSpPr>
      <p:sp>
        <p:nvSpPr>
          <p:cNvPr id="3" name="Image 1">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239185" y="211667"/>
            <a:ext cx="3839633" cy="3024717"/>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7" name="Image 2">
            <a:extLst>
              <a:ext uri="{FF2B5EF4-FFF2-40B4-BE49-F238E27FC236}">
                <a16:creationId xmlns:a16="http://schemas.microsoft.com/office/drawing/2014/main" id="{B114F85C-8B26-BE4A-B292-29FD00F542C6}"/>
              </a:ext>
            </a:extLst>
          </p:cNvPr>
          <p:cNvSpPr>
            <a:spLocks noGrp="1"/>
          </p:cNvSpPr>
          <p:nvPr>
            <p:ph type="pic" sz="quarter" idx="11" hasCustomPrompt="1"/>
          </p:nvPr>
        </p:nvSpPr>
        <p:spPr>
          <a:xfrm>
            <a:off x="4271435" y="211667"/>
            <a:ext cx="3649133" cy="3024717"/>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8" name="Image 3">
            <a:extLst>
              <a:ext uri="{FF2B5EF4-FFF2-40B4-BE49-F238E27FC236}">
                <a16:creationId xmlns:a16="http://schemas.microsoft.com/office/drawing/2014/main" id="{C1764068-BB7E-844C-8FE4-5E6E64CD8234}"/>
              </a:ext>
            </a:extLst>
          </p:cNvPr>
          <p:cNvSpPr>
            <a:spLocks noGrp="1"/>
          </p:cNvSpPr>
          <p:nvPr>
            <p:ph type="pic" sz="quarter" idx="12" hasCustomPrompt="1"/>
          </p:nvPr>
        </p:nvSpPr>
        <p:spPr>
          <a:xfrm>
            <a:off x="239185" y="3430466"/>
            <a:ext cx="3839633" cy="3023252"/>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9" name="Image 4">
            <a:extLst>
              <a:ext uri="{FF2B5EF4-FFF2-40B4-BE49-F238E27FC236}">
                <a16:creationId xmlns:a16="http://schemas.microsoft.com/office/drawing/2014/main" id="{8DDF5D38-B4FD-9A4D-B8B3-F65485F88AA0}"/>
              </a:ext>
            </a:extLst>
          </p:cNvPr>
          <p:cNvSpPr>
            <a:spLocks noGrp="1"/>
          </p:cNvSpPr>
          <p:nvPr>
            <p:ph type="pic" sz="quarter" idx="13" hasCustomPrompt="1"/>
          </p:nvPr>
        </p:nvSpPr>
        <p:spPr>
          <a:xfrm>
            <a:off x="4271435" y="3430466"/>
            <a:ext cx="3649133" cy="3023252"/>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60DD57AE-E7DB-3F41-B216-64C454662161}"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Image 2">
            <a:extLst>
              <a:ext uri="{FF2B5EF4-FFF2-40B4-BE49-F238E27FC236}">
                <a16:creationId xmlns:a16="http://schemas.microsoft.com/office/drawing/2014/main" id="{02DD7F0D-E344-5F7D-F045-DAEEF5AE28C9}"/>
              </a:ext>
            </a:extLst>
          </p:cNvPr>
          <p:cNvSpPr>
            <a:spLocks noGrp="1"/>
          </p:cNvSpPr>
          <p:nvPr>
            <p:ph type="pic" sz="quarter" idx="14" hasCustomPrompt="1"/>
          </p:nvPr>
        </p:nvSpPr>
        <p:spPr>
          <a:xfrm>
            <a:off x="8113184" y="211667"/>
            <a:ext cx="3839633" cy="3024717"/>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4" name="Image 4">
            <a:extLst>
              <a:ext uri="{FF2B5EF4-FFF2-40B4-BE49-F238E27FC236}">
                <a16:creationId xmlns:a16="http://schemas.microsoft.com/office/drawing/2014/main" id="{4924E6F1-E4D4-87E9-BB5A-D23BF872EA9D}"/>
              </a:ext>
            </a:extLst>
          </p:cNvPr>
          <p:cNvSpPr>
            <a:spLocks noGrp="1"/>
          </p:cNvSpPr>
          <p:nvPr>
            <p:ph type="pic" sz="quarter" idx="15" hasCustomPrompt="1"/>
          </p:nvPr>
        </p:nvSpPr>
        <p:spPr>
          <a:xfrm>
            <a:off x="8113184" y="3430466"/>
            <a:ext cx="3839633" cy="3023252"/>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5" name="Title 2">
            <a:extLst>
              <a:ext uri="{FF2B5EF4-FFF2-40B4-BE49-F238E27FC236}">
                <a16:creationId xmlns:a16="http://schemas.microsoft.com/office/drawing/2014/main" id="{A596F735-0BE6-4D98-4F77-F6784011D5F5}"/>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03078500"/>
      </p:ext>
    </p:extLst>
  </p:cSld>
  <p:clrMapOvr>
    <a:masterClrMapping/>
  </p:clrMapOvr>
  <p:extLst>
    <p:ext uri="{DCECCB84-F9BA-43D5-87BE-67443E8EF086}">
      <p15:sldGuideLst xmlns:p15="http://schemas.microsoft.com/office/powerpoint/2012/main">
        <p15:guide id="1" orient="horz" pos="1575">
          <p15:clr>
            <a:srgbClr val="FBAE40"/>
          </p15:clr>
        </p15:guide>
        <p15:guide id="2" orient="horz" pos="1620">
          <p15:clr>
            <a:srgbClr val="FBAE40"/>
          </p15:clr>
        </p15:guide>
        <p15:guide id="3" orient="horz" pos="152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 Full screen Video">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426C75EA-3F6F-404B-9ADF-CF64EAB80C72}"/>
              </a:ext>
            </a:extLst>
          </p:cNvPr>
          <p:cNvSpPr>
            <a:spLocks noGrp="1"/>
          </p:cNvSpPr>
          <p:nvPr>
            <p:ph type="media" sz="quarter" idx="10" hasCustomPrompt="1"/>
          </p:nvPr>
        </p:nvSpPr>
        <p:spPr>
          <a:xfrm>
            <a:off x="0" y="0"/>
            <a:ext cx="12192000" cy="6858000"/>
          </a:xfrm>
          <a:blipFill>
            <a:blip r:embed="rId2"/>
            <a:tile tx="0" ty="0" sx="100000" sy="100000" flip="none" algn="tl"/>
          </a:blipFill>
        </p:spPr>
        <p:txBody>
          <a:bodyPr/>
          <a:lstStyle>
            <a:lvl1pPr marL="23283" indent="-23283" algn="ctr">
              <a:buNone/>
              <a:tabLst/>
              <a:defRPr sz="1067">
                <a:solidFill>
                  <a:schemeClr val="bg1">
                    <a:lumMod val="75000"/>
                  </a:schemeClr>
                </a:solidFill>
              </a:defRPr>
            </a:lvl1pPr>
          </a:lstStyle>
          <a:p>
            <a:r>
              <a:rPr lang="en-GB" sz="1067" noProof="0"/>
              <a:t>Click on the icon to add video</a:t>
            </a:r>
            <a:endParaRPr lang="en-GB" noProof="0"/>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556DC4A8-0573-E042-8E2E-66A00C9D4DA4}"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6" name="Footer">
            <a:extLst>
              <a:ext uri="{FF2B5EF4-FFF2-40B4-BE49-F238E27FC236}">
                <a16:creationId xmlns:a16="http://schemas.microsoft.com/office/drawing/2014/main" id="{FD7C421D-A908-E241-99C0-BB3A8F81B258}"/>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AA97018A-ADC7-6A52-3431-F632FAA90CEF}"/>
              </a:ext>
            </a:extLst>
          </p:cNvPr>
          <p:cNvSpPr>
            <a:spLocks noGrp="1"/>
          </p:cNvSpPr>
          <p:nvPr>
            <p:ph type="title" hasCustomPrompt="1"/>
          </p:nvPr>
        </p:nvSpPr>
        <p:spPr>
          <a:xfrm>
            <a:off x="431800" y="-10207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09539548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 Text and Vide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D26217-B4F8-053B-D113-5D90ECC2153D}"/>
              </a:ext>
            </a:extLst>
          </p:cNvPr>
          <p:cNvSpPr/>
          <p:nvPr/>
        </p:nvSpPr>
        <p:spPr>
          <a:xfrm>
            <a:off x="5999692"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Video">
            <a:extLst>
              <a:ext uri="{FF2B5EF4-FFF2-40B4-BE49-F238E27FC236}">
                <a16:creationId xmlns:a16="http://schemas.microsoft.com/office/drawing/2014/main" id="{0EE9A542-5863-3049-A7EF-24ADE3267341}"/>
              </a:ext>
            </a:extLst>
          </p:cNvPr>
          <p:cNvSpPr>
            <a:spLocks noGrp="1"/>
          </p:cNvSpPr>
          <p:nvPr>
            <p:ph type="media" sz="quarter" idx="15" hasCustomPrompt="1"/>
          </p:nvPr>
        </p:nvSpPr>
        <p:spPr>
          <a:xfrm>
            <a:off x="6191252" y="211667"/>
            <a:ext cx="5761565" cy="6242051"/>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1067" dirty="0">
                <a:solidFill>
                  <a:schemeClr val="bg1">
                    <a:lumMod val="75000"/>
                  </a:schemeClr>
                </a:solidFill>
              </a:defRPr>
            </a:lvl1pPr>
          </a:lstStyle>
          <a:p>
            <a:pPr marL="228594" lvl="0" indent="-228594"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1"/>
            <a:ext cx="5568951" cy="2111489"/>
          </a:xfrm>
        </p:spPr>
        <p:txBody>
          <a:bodyPr rIns="216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4"/>
            <a:ext cx="5568949" cy="3476227"/>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1F54C7DB-F729-934A-ACF1-81C3304E76A9}"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112408157"/>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6 Contact slide">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5" y="211667"/>
            <a:ext cx="768138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1" name="Title">
            <a:extLst>
              <a:ext uri="{FF2B5EF4-FFF2-40B4-BE49-F238E27FC236}">
                <a16:creationId xmlns:a16="http://schemas.microsoft.com/office/drawing/2014/main" id="{144BC857-79CB-DC47-950E-631BB0C70886}"/>
              </a:ext>
            </a:extLst>
          </p:cNvPr>
          <p:cNvSpPr>
            <a:spLocks noGrp="1"/>
          </p:cNvSpPr>
          <p:nvPr>
            <p:ph type="title" hasCustomPrompt="1"/>
          </p:nvPr>
        </p:nvSpPr>
        <p:spPr>
          <a:xfrm>
            <a:off x="8113184" y="792001"/>
            <a:ext cx="3648701" cy="1372316"/>
          </a:xfrm>
        </p:spPr>
        <p:txBody>
          <a:bodyPr lIns="154800" tIns="64800" rIns="144000"/>
          <a:lstStyle>
            <a:lvl1pPr marL="0" indent="0">
              <a:tabLst/>
              <a:defRPr sz="2667" spc="-40" baseline="0"/>
            </a:lvl1pPr>
          </a:lstStyle>
          <a:p>
            <a:r>
              <a:rPr lang="en-GB" noProof="0"/>
              <a:t>Click to add name and job title</a:t>
            </a:r>
          </a:p>
        </p:txBody>
      </p:sp>
      <p:sp>
        <p:nvSpPr>
          <p:cNvPr id="4" name="Contact">
            <a:extLst>
              <a:ext uri="{FF2B5EF4-FFF2-40B4-BE49-F238E27FC236}">
                <a16:creationId xmlns:a16="http://schemas.microsoft.com/office/drawing/2014/main" id="{EEF2FFD1-DBE4-AA42-98BA-1DAD9CA09A52}"/>
              </a:ext>
            </a:extLst>
          </p:cNvPr>
          <p:cNvSpPr txBox="1"/>
          <p:nvPr/>
        </p:nvSpPr>
        <p:spPr>
          <a:xfrm>
            <a:off x="8113182" y="368302"/>
            <a:ext cx="3648700" cy="338554"/>
          </a:xfrm>
          <a:prstGeom prst="rect">
            <a:avLst/>
          </a:prstGeom>
          <a:noFill/>
        </p:spPr>
        <p:txBody>
          <a:bodyPr wrap="square" lIns="206400" rIns="192000" rtlCol="0">
            <a:spAutoFit/>
          </a:bodyPr>
          <a:lstStyle/>
          <a:p>
            <a:r>
              <a:rPr lang="en-GB" sz="1600" b="1" noProof="0"/>
              <a:t>Contact</a:t>
            </a:r>
          </a:p>
        </p:txBody>
      </p:sp>
      <p:sp>
        <p:nvSpPr>
          <p:cNvPr id="32" name="Text">
            <a:extLst>
              <a:ext uri="{FF2B5EF4-FFF2-40B4-BE49-F238E27FC236}">
                <a16:creationId xmlns:a16="http://schemas.microsoft.com/office/drawing/2014/main" id="{2ADCBC67-4690-BD43-ABCE-F69DA625BC98}"/>
              </a:ext>
            </a:extLst>
          </p:cNvPr>
          <p:cNvSpPr>
            <a:spLocks noGrp="1"/>
          </p:cNvSpPr>
          <p:nvPr>
            <p:ph type="body" sz="quarter" idx="13" hasCustomPrompt="1"/>
          </p:nvPr>
        </p:nvSpPr>
        <p:spPr>
          <a:xfrm>
            <a:off x="8119917" y="2804585"/>
            <a:ext cx="3640283" cy="3456516"/>
          </a:xfrm>
        </p:spPr>
        <p:txBody>
          <a:bodyPr lIns="144000" rIns="144000"/>
          <a:lstStyle>
            <a:lvl1pPr marL="0" indent="0">
              <a:buNone/>
              <a:tabLst/>
              <a:defRPr sz="1600"/>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contact information</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9D3DD5F2-81EE-7B4A-B5AD-2DE5A4458439}"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76037885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7 Mockup Samsung Galaxy">
    <p:bg>
      <p:bgPr>
        <a:solidFill>
          <a:srgbClr val="EBF2F3"/>
        </a:solidFill>
        <a:effectLst/>
      </p:bgPr>
    </p:bg>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10E8AA89-7C88-3143-8124-1E0503C42088}"/>
              </a:ext>
            </a:extLst>
          </p:cNvPr>
          <p:cNvSpPr>
            <a:spLocks noGrp="1"/>
          </p:cNvSpPr>
          <p:nvPr>
            <p:ph type="pic" sz="quarter" idx="12" hasCustomPrompt="1"/>
          </p:nvPr>
        </p:nvSpPr>
        <p:spPr>
          <a:xfrm>
            <a:off x="7746556" y="600596"/>
            <a:ext cx="2496000" cy="5472000"/>
          </a:xfrm>
          <a:prstGeom prst="roundRect">
            <a:avLst>
              <a:gd name="adj" fmla="val 10210"/>
            </a:avLst>
          </a:prstGeom>
          <a:blipFill dpi="0" rotWithShape="1">
            <a:blip r:embed="rId2"/>
            <a:srcRect/>
            <a:tile tx="0" ty="0" sx="100000" sy="100000" flip="none" algn="tl"/>
          </a:blipFill>
        </p:spPr>
        <p:txBody>
          <a:bodyPr/>
          <a:lstStyle>
            <a:lvl1pPr marL="6351" indent="-6351" algn="ctr">
              <a:buFont typeface="Arial" panose="020B0604020202020204" pitchFamily="34" charset="0"/>
              <a:buNone/>
              <a:tabLst/>
              <a:defRPr sz="1067"/>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0"/>
            <a:ext cx="5568951"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799" y="368302"/>
            <a:ext cx="5568103"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144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0C0D25B7-A448-0147-8F14-D3520D23AF41}" type="datetime1">
              <a:rPr lang="sv-SE" noProof="0" smtClean="0"/>
              <a:t>2025-04-07</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73A5889-ABE6-C735-E4C4-95E5FECAFFD8}"/>
              </a:ext>
            </a:extLst>
          </p:cNvPr>
          <p:cNvSpPr/>
          <p:nvPr/>
        </p:nvSpPr>
        <p:spPr>
          <a:xfrm>
            <a:off x="7643647" y="485935"/>
            <a:ext cx="2707357" cy="5700269"/>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2400"/>
          </a:p>
        </p:txBody>
      </p:sp>
    </p:spTree>
    <p:extLst>
      <p:ext uri="{BB962C8B-B14F-4D97-AF65-F5344CB8AC3E}">
        <p14:creationId xmlns:p14="http://schemas.microsoft.com/office/powerpoint/2010/main" val="70759498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7 Mockup Iphone SE">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noChangeAspect="1"/>
          </p:cNvSpPr>
          <p:nvPr>
            <p:ph type="pic" sz="quarter" idx="12" hasCustomPrompt="1"/>
          </p:nvPr>
        </p:nvSpPr>
        <p:spPr>
          <a:xfrm>
            <a:off x="7729916" y="1160100"/>
            <a:ext cx="2558669" cy="4322067"/>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6351" indent="-6351" algn="ctr">
              <a:buFont typeface="Arial" panose="020B0604020202020204" pitchFamily="34" charset="0"/>
              <a:buNone/>
              <a:tabLst/>
              <a:defRPr sz="1067"/>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0"/>
            <a:ext cx="5568951"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799" y="368302"/>
            <a:ext cx="5568103"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144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0C0D25B7-A448-0147-8F14-D3520D23AF41}" type="datetime1">
              <a:rPr lang="sv-SE" noProof="0" smtClean="0"/>
              <a:t>2025-04-07</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grpSp>
        <p:nvGrpSpPr>
          <p:cNvPr id="32" name="Group 31">
            <a:extLst>
              <a:ext uri="{FF2B5EF4-FFF2-40B4-BE49-F238E27FC236}">
                <a16:creationId xmlns:a16="http://schemas.microsoft.com/office/drawing/2014/main" id="{AFBAA733-7015-80D9-A396-F02B90862771}"/>
              </a:ext>
            </a:extLst>
          </p:cNvPr>
          <p:cNvGrpSpPr>
            <a:grpSpLocks noChangeAspect="1"/>
          </p:cNvGrpSpPr>
          <p:nvPr/>
        </p:nvGrpSpPr>
        <p:grpSpPr>
          <a:xfrm>
            <a:off x="7597579" y="477520"/>
            <a:ext cx="2815397" cy="5716800"/>
            <a:chOff x="-3606774" y="-142106"/>
            <a:chExt cx="1363570" cy="2768795"/>
          </a:xfrm>
          <a:noFill/>
        </p:grpSpPr>
        <p:sp>
          <p:nvSpPr>
            <p:cNvPr id="25" name="Freeform 24">
              <a:extLst>
                <a:ext uri="{FF2B5EF4-FFF2-40B4-BE49-F238E27FC236}">
                  <a16:creationId xmlns:a16="http://schemas.microsoft.com/office/drawing/2014/main" id="{8C47638F-13B6-E112-CA84-25237C4CCEDF}"/>
                </a:ext>
              </a:extLst>
            </p:cNvPr>
            <p:cNvSpPr/>
            <p:nvPr/>
          </p:nvSpPr>
          <p:spPr>
            <a:xfrm>
              <a:off x="-3606774" y="-142106"/>
              <a:ext cx="1363570" cy="2768795"/>
            </a:xfrm>
            <a:custGeom>
              <a:avLst/>
              <a:gdLst>
                <a:gd name="connsiteX0" fmla="*/ 1350414 w 1363570"/>
                <a:gd name="connsiteY0" fmla="*/ 601066 h 2768795"/>
                <a:gd name="connsiteX1" fmla="*/ 1346771 w 1363570"/>
                <a:gd name="connsiteY1" fmla="*/ 601066 h 2768795"/>
                <a:gd name="connsiteX2" fmla="*/ 1346771 w 1363570"/>
                <a:gd name="connsiteY2" fmla="*/ 208114 h 2768795"/>
                <a:gd name="connsiteX3" fmla="*/ 1138657 w 1363570"/>
                <a:gd name="connsiteY3" fmla="*/ 0 h 2768795"/>
                <a:gd name="connsiteX4" fmla="*/ 227140 w 1363570"/>
                <a:gd name="connsiteY4" fmla="*/ 0 h 2768795"/>
                <a:gd name="connsiteX5" fmla="*/ 19026 w 1363570"/>
                <a:gd name="connsiteY5" fmla="*/ 208114 h 2768795"/>
                <a:gd name="connsiteX6" fmla="*/ 19026 w 1363570"/>
                <a:gd name="connsiteY6" fmla="*/ 367327 h 2768795"/>
                <a:gd name="connsiteX7" fmla="*/ 13156 w 1363570"/>
                <a:gd name="connsiteY7" fmla="*/ 367327 h 2768795"/>
                <a:gd name="connsiteX8" fmla="*/ 0 w 1363570"/>
                <a:gd name="connsiteY8" fmla="*/ 380483 h 2768795"/>
                <a:gd name="connsiteX9" fmla="*/ 0 w 1363570"/>
                <a:gd name="connsiteY9" fmla="*/ 460191 h 2768795"/>
                <a:gd name="connsiteX10" fmla="*/ 13156 w 1363570"/>
                <a:gd name="connsiteY10" fmla="*/ 473347 h 2768795"/>
                <a:gd name="connsiteX11" fmla="*/ 19026 w 1363570"/>
                <a:gd name="connsiteY11" fmla="*/ 473347 h 2768795"/>
                <a:gd name="connsiteX12" fmla="*/ 19026 w 1363570"/>
                <a:gd name="connsiteY12" fmla="*/ 601066 h 2768795"/>
                <a:gd name="connsiteX13" fmla="*/ 13156 w 1363570"/>
                <a:gd name="connsiteY13" fmla="*/ 601066 h 2768795"/>
                <a:gd name="connsiteX14" fmla="*/ 0 w 1363570"/>
                <a:gd name="connsiteY14" fmla="*/ 614222 h 2768795"/>
                <a:gd name="connsiteX15" fmla="*/ 0 w 1363570"/>
                <a:gd name="connsiteY15" fmla="*/ 787927 h 2768795"/>
                <a:gd name="connsiteX16" fmla="*/ 13156 w 1363570"/>
                <a:gd name="connsiteY16" fmla="*/ 801083 h 2768795"/>
                <a:gd name="connsiteX17" fmla="*/ 19026 w 1363570"/>
                <a:gd name="connsiteY17" fmla="*/ 801083 h 2768795"/>
                <a:gd name="connsiteX18" fmla="*/ 19026 w 1363570"/>
                <a:gd name="connsiteY18" fmla="*/ 847354 h 2768795"/>
                <a:gd name="connsiteX19" fmla="*/ 13156 w 1363570"/>
                <a:gd name="connsiteY19" fmla="*/ 847354 h 2768795"/>
                <a:gd name="connsiteX20" fmla="*/ 0 w 1363570"/>
                <a:gd name="connsiteY20" fmla="*/ 860510 h 2768795"/>
                <a:gd name="connsiteX21" fmla="*/ 0 w 1363570"/>
                <a:gd name="connsiteY21" fmla="*/ 1034215 h 2768795"/>
                <a:gd name="connsiteX22" fmla="*/ 13156 w 1363570"/>
                <a:gd name="connsiteY22" fmla="*/ 1047371 h 2768795"/>
                <a:gd name="connsiteX23" fmla="*/ 19026 w 1363570"/>
                <a:gd name="connsiteY23" fmla="*/ 1047371 h 2768795"/>
                <a:gd name="connsiteX24" fmla="*/ 19026 w 1363570"/>
                <a:gd name="connsiteY24" fmla="*/ 2560682 h 2768795"/>
                <a:gd name="connsiteX25" fmla="*/ 227140 w 1363570"/>
                <a:gd name="connsiteY25" fmla="*/ 2768796 h 2768795"/>
                <a:gd name="connsiteX26" fmla="*/ 1138657 w 1363570"/>
                <a:gd name="connsiteY26" fmla="*/ 2768796 h 2768795"/>
                <a:gd name="connsiteX27" fmla="*/ 1346771 w 1363570"/>
                <a:gd name="connsiteY27" fmla="*/ 2560682 h 2768795"/>
                <a:gd name="connsiteX28" fmla="*/ 1346771 w 1363570"/>
                <a:gd name="connsiteY28" fmla="*/ 801124 h 2768795"/>
                <a:gd name="connsiteX29" fmla="*/ 1350414 w 1363570"/>
                <a:gd name="connsiteY29" fmla="*/ 801124 h 2768795"/>
                <a:gd name="connsiteX30" fmla="*/ 1363570 w 1363570"/>
                <a:gd name="connsiteY30" fmla="*/ 787968 h 2768795"/>
                <a:gd name="connsiteX31" fmla="*/ 1363570 w 1363570"/>
                <a:gd name="connsiteY31" fmla="*/ 614263 h 2768795"/>
                <a:gd name="connsiteX32" fmla="*/ 1350414 w 1363570"/>
                <a:gd name="connsiteY32" fmla="*/ 601106 h 2768795"/>
                <a:gd name="connsiteX33" fmla="*/ 1350414 w 1363570"/>
                <a:gd name="connsiteY33" fmla="*/ 601106 h 2768795"/>
                <a:gd name="connsiteX34" fmla="*/ 1298193 w 1363570"/>
                <a:gd name="connsiteY34" fmla="*/ 2421062 h 2768795"/>
                <a:gd name="connsiteX35" fmla="*/ 67563 w 1363570"/>
                <a:gd name="connsiteY35" fmla="*/ 2421062 h 2768795"/>
                <a:gd name="connsiteX36" fmla="*/ 67563 w 1363570"/>
                <a:gd name="connsiteY36" fmla="*/ 333525 h 2768795"/>
                <a:gd name="connsiteX37" fmla="*/ 1298193 w 1363570"/>
                <a:gd name="connsiteY37" fmla="*/ 333525 h 2768795"/>
                <a:gd name="connsiteX38" fmla="*/ 1298193 w 1363570"/>
                <a:gd name="connsiteY38" fmla="*/ 2421103 h 27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3570" h="2768795">
                  <a:moveTo>
                    <a:pt x="1350414" y="601066"/>
                  </a:moveTo>
                  <a:lnTo>
                    <a:pt x="1346771" y="601066"/>
                  </a:lnTo>
                  <a:lnTo>
                    <a:pt x="1346771" y="208114"/>
                  </a:lnTo>
                  <a:cubicBezTo>
                    <a:pt x="1346771" y="93350"/>
                    <a:pt x="1253421" y="0"/>
                    <a:pt x="1138657" y="0"/>
                  </a:cubicBezTo>
                  <a:lnTo>
                    <a:pt x="227140" y="0"/>
                  </a:lnTo>
                  <a:cubicBezTo>
                    <a:pt x="112376" y="0"/>
                    <a:pt x="19026" y="93350"/>
                    <a:pt x="19026" y="208114"/>
                  </a:cubicBezTo>
                  <a:lnTo>
                    <a:pt x="19026" y="367327"/>
                  </a:lnTo>
                  <a:lnTo>
                    <a:pt x="13156" y="367327"/>
                  </a:lnTo>
                  <a:cubicBezTo>
                    <a:pt x="5910" y="367327"/>
                    <a:pt x="0" y="373237"/>
                    <a:pt x="0" y="380483"/>
                  </a:cubicBezTo>
                  <a:lnTo>
                    <a:pt x="0" y="460191"/>
                  </a:lnTo>
                  <a:cubicBezTo>
                    <a:pt x="0" y="467437"/>
                    <a:pt x="5910" y="473347"/>
                    <a:pt x="13156" y="473347"/>
                  </a:cubicBezTo>
                  <a:lnTo>
                    <a:pt x="19026" y="473347"/>
                  </a:lnTo>
                  <a:lnTo>
                    <a:pt x="19026" y="601066"/>
                  </a:lnTo>
                  <a:lnTo>
                    <a:pt x="13156" y="601066"/>
                  </a:lnTo>
                  <a:cubicBezTo>
                    <a:pt x="5910" y="601066"/>
                    <a:pt x="0" y="606976"/>
                    <a:pt x="0" y="614222"/>
                  </a:cubicBezTo>
                  <a:lnTo>
                    <a:pt x="0" y="787927"/>
                  </a:lnTo>
                  <a:cubicBezTo>
                    <a:pt x="0" y="795173"/>
                    <a:pt x="5910" y="801083"/>
                    <a:pt x="13156" y="801083"/>
                  </a:cubicBezTo>
                  <a:lnTo>
                    <a:pt x="19026" y="801083"/>
                  </a:lnTo>
                  <a:lnTo>
                    <a:pt x="19026" y="847354"/>
                  </a:lnTo>
                  <a:lnTo>
                    <a:pt x="13156" y="847354"/>
                  </a:lnTo>
                  <a:cubicBezTo>
                    <a:pt x="5910" y="847354"/>
                    <a:pt x="0" y="853264"/>
                    <a:pt x="0" y="860510"/>
                  </a:cubicBezTo>
                  <a:lnTo>
                    <a:pt x="0" y="1034215"/>
                  </a:lnTo>
                  <a:cubicBezTo>
                    <a:pt x="0" y="1041461"/>
                    <a:pt x="5910" y="1047371"/>
                    <a:pt x="13156" y="1047371"/>
                  </a:cubicBezTo>
                  <a:lnTo>
                    <a:pt x="19026" y="1047371"/>
                  </a:lnTo>
                  <a:lnTo>
                    <a:pt x="19026" y="2560682"/>
                  </a:lnTo>
                  <a:cubicBezTo>
                    <a:pt x="19026" y="2675446"/>
                    <a:pt x="112376" y="2768796"/>
                    <a:pt x="227140" y="2768796"/>
                  </a:cubicBezTo>
                  <a:lnTo>
                    <a:pt x="1138657" y="2768796"/>
                  </a:lnTo>
                  <a:cubicBezTo>
                    <a:pt x="1253421" y="2768796"/>
                    <a:pt x="1346771" y="2675446"/>
                    <a:pt x="1346771" y="2560682"/>
                  </a:cubicBezTo>
                  <a:lnTo>
                    <a:pt x="1346771" y="801124"/>
                  </a:lnTo>
                  <a:lnTo>
                    <a:pt x="1350414" y="801124"/>
                  </a:lnTo>
                  <a:cubicBezTo>
                    <a:pt x="1357660" y="801124"/>
                    <a:pt x="1363570" y="795214"/>
                    <a:pt x="1363570" y="787968"/>
                  </a:cubicBezTo>
                  <a:lnTo>
                    <a:pt x="1363570" y="614263"/>
                  </a:lnTo>
                  <a:cubicBezTo>
                    <a:pt x="1363570" y="607016"/>
                    <a:pt x="1357660" y="601106"/>
                    <a:pt x="1350414" y="601106"/>
                  </a:cubicBezTo>
                  <a:lnTo>
                    <a:pt x="1350414" y="601106"/>
                  </a:lnTo>
                  <a:close/>
                  <a:moveTo>
                    <a:pt x="1298193" y="2421062"/>
                  </a:moveTo>
                  <a:lnTo>
                    <a:pt x="67563" y="2421062"/>
                  </a:lnTo>
                  <a:lnTo>
                    <a:pt x="67563" y="333525"/>
                  </a:lnTo>
                  <a:lnTo>
                    <a:pt x="1298193" y="333525"/>
                  </a:lnTo>
                  <a:lnTo>
                    <a:pt x="1298193" y="242110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2400"/>
            </a:p>
          </p:txBody>
        </p:sp>
        <p:sp>
          <p:nvSpPr>
            <p:cNvPr id="26" name="Freeform 25">
              <a:extLst>
                <a:ext uri="{FF2B5EF4-FFF2-40B4-BE49-F238E27FC236}">
                  <a16:creationId xmlns:a16="http://schemas.microsoft.com/office/drawing/2014/main" id="{5F27A178-73BA-65EC-8852-F08EBE8ED68E}"/>
                </a:ext>
              </a:extLst>
            </p:cNvPr>
            <p:cNvSpPr/>
            <p:nvPr/>
          </p:nvSpPr>
          <p:spPr>
            <a:xfrm>
              <a:off x="-3025706" y="2335507"/>
              <a:ext cx="203620" cy="203620"/>
            </a:xfrm>
            <a:custGeom>
              <a:avLst/>
              <a:gdLst>
                <a:gd name="connsiteX0" fmla="*/ 101810 w 203620"/>
                <a:gd name="connsiteY0" fmla="*/ 203621 h 203620"/>
                <a:gd name="connsiteX1" fmla="*/ 0 w 203620"/>
                <a:gd name="connsiteY1" fmla="*/ 101810 h 203620"/>
                <a:gd name="connsiteX2" fmla="*/ 101810 w 203620"/>
                <a:gd name="connsiteY2" fmla="*/ 0 h 203620"/>
                <a:gd name="connsiteX3" fmla="*/ 203620 w 203620"/>
                <a:gd name="connsiteY3" fmla="*/ 101810 h 203620"/>
                <a:gd name="connsiteX4" fmla="*/ 101810 w 203620"/>
                <a:gd name="connsiteY4" fmla="*/ 203621 h 203620"/>
                <a:gd name="connsiteX5" fmla="*/ 101810 w 203620"/>
                <a:gd name="connsiteY5" fmla="*/ 16152 h 203620"/>
                <a:gd name="connsiteX6" fmla="*/ 16193 w 203620"/>
                <a:gd name="connsiteY6" fmla="*/ 101770 h 203620"/>
                <a:gd name="connsiteX7" fmla="*/ 101810 w 203620"/>
                <a:gd name="connsiteY7" fmla="*/ 187388 h 203620"/>
                <a:gd name="connsiteX8" fmla="*/ 187428 w 203620"/>
                <a:gd name="connsiteY8" fmla="*/ 101770 h 203620"/>
                <a:gd name="connsiteX9" fmla="*/ 101810 w 203620"/>
                <a:gd name="connsiteY9" fmla="*/ 16152 h 20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20" h="203620">
                  <a:moveTo>
                    <a:pt x="101810" y="203621"/>
                  </a:moveTo>
                  <a:cubicBezTo>
                    <a:pt x="45662" y="203621"/>
                    <a:pt x="0" y="157958"/>
                    <a:pt x="0" y="101810"/>
                  </a:cubicBezTo>
                  <a:cubicBezTo>
                    <a:pt x="0" y="45663"/>
                    <a:pt x="45662" y="0"/>
                    <a:pt x="101810" y="0"/>
                  </a:cubicBezTo>
                  <a:cubicBezTo>
                    <a:pt x="157957" y="0"/>
                    <a:pt x="203620" y="45663"/>
                    <a:pt x="203620" y="101810"/>
                  </a:cubicBezTo>
                  <a:cubicBezTo>
                    <a:pt x="203620" y="157958"/>
                    <a:pt x="157957" y="203621"/>
                    <a:pt x="101810" y="203621"/>
                  </a:cubicBezTo>
                  <a:close/>
                  <a:moveTo>
                    <a:pt x="101810" y="16152"/>
                  </a:moveTo>
                  <a:cubicBezTo>
                    <a:pt x="54609" y="16152"/>
                    <a:pt x="16193" y="54569"/>
                    <a:pt x="16193" y="101770"/>
                  </a:cubicBezTo>
                  <a:cubicBezTo>
                    <a:pt x="16193" y="148971"/>
                    <a:pt x="54609" y="187388"/>
                    <a:pt x="101810" y="187388"/>
                  </a:cubicBezTo>
                  <a:cubicBezTo>
                    <a:pt x="149011" y="187388"/>
                    <a:pt x="187428" y="148971"/>
                    <a:pt x="187428" y="101770"/>
                  </a:cubicBezTo>
                  <a:cubicBezTo>
                    <a:pt x="187428" y="54569"/>
                    <a:pt x="149011" y="16152"/>
                    <a:pt x="101810" y="16152"/>
                  </a:cubicBezTo>
                  <a:close/>
                </a:path>
              </a:pathLst>
            </a:custGeom>
            <a:solidFill>
              <a:schemeClr val="tx1">
                <a:lumMod val="65000"/>
                <a:lumOff val="35000"/>
              </a:schemeClr>
            </a:solidFill>
            <a:ln w="4048" cap="flat">
              <a:noFill/>
              <a:prstDash val="solid"/>
              <a:miter/>
            </a:ln>
          </p:spPr>
          <p:txBody>
            <a:bodyPr rtlCol="0" anchor="ctr"/>
            <a:lstStyle/>
            <a:p>
              <a:endParaRPr lang="en-GB" sz="2400"/>
            </a:p>
          </p:txBody>
        </p:sp>
        <p:sp>
          <p:nvSpPr>
            <p:cNvPr id="27" name="Freeform 26">
              <a:extLst>
                <a:ext uri="{FF2B5EF4-FFF2-40B4-BE49-F238E27FC236}">
                  <a16:creationId xmlns:a16="http://schemas.microsoft.com/office/drawing/2014/main" id="{496BA5AE-C5BB-ADAC-69EB-D492ED1D6C73}"/>
                </a:ext>
              </a:extLst>
            </p:cNvPr>
            <p:cNvSpPr/>
            <p:nvPr/>
          </p:nvSpPr>
          <p:spPr>
            <a:xfrm>
              <a:off x="-3043720" y="33824"/>
              <a:ext cx="239689" cy="36433"/>
            </a:xfrm>
            <a:custGeom>
              <a:avLst/>
              <a:gdLst>
                <a:gd name="connsiteX0" fmla="*/ 221473 w 239689"/>
                <a:gd name="connsiteY0" fmla="*/ 36433 h 36433"/>
                <a:gd name="connsiteX1" fmla="*/ 18217 w 239689"/>
                <a:gd name="connsiteY1" fmla="*/ 36433 h 36433"/>
                <a:gd name="connsiteX2" fmla="*/ 0 w 239689"/>
                <a:gd name="connsiteY2" fmla="*/ 18217 h 36433"/>
                <a:gd name="connsiteX3" fmla="*/ 18217 w 239689"/>
                <a:gd name="connsiteY3" fmla="*/ 0 h 36433"/>
                <a:gd name="connsiteX4" fmla="*/ 221473 w 239689"/>
                <a:gd name="connsiteY4" fmla="*/ 0 h 36433"/>
                <a:gd name="connsiteX5" fmla="*/ 239690 w 239689"/>
                <a:gd name="connsiteY5" fmla="*/ 18217 h 36433"/>
                <a:gd name="connsiteX6" fmla="*/ 221473 w 239689"/>
                <a:gd name="connsiteY6"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689" h="36433">
                  <a:moveTo>
                    <a:pt x="221473" y="36433"/>
                  </a:moveTo>
                  <a:lnTo>
                    <a:pt x="18217" y="36433"/>
                  </a:lnTo>
                  <a:cubicBezTo>
                    <a:pt x="8137" y="36433"/>
                    <a:pt x="0" y="28296"/>
                    <a:pt x="0" y="18217"/>
                  </a:cubicBezTo>
                  <a:cubicBezTo>
                    <a:pt x="0" y="8137"/>
                    <a:pt x="8137" y="0"/>
                    <a:pt x="18217" y="0"/>
                  </a:cubicBezTo>
                  <a:lnTo>
                    <a:pt x="221473" y="0"/>
                  </a:lnTo>
                  <a:cubicBezTo>
                    <a:pt x="231553" y="0"/>
                    <a:pt x="239690" y="8137"/>
                    <a:pt x="239690" y="18217"/>
                  </a:cubicBezTo>
                  <a:cubicBezTo>
                    <a:pt x="239690" y="28296"/>
                    <a:pt x="231553" y="36433"/>
                    <a:pt x="221473" y="36433"/>
                  </a:cubicBezTo>
                  <a:close/>
                </a:path>
              </a:pathLst>
            </a:custGeom>
            <a:solidFill>
              <a:schemeClr val="tx1">
                <a:lumMod val="65000"/>
                <a:lumOff val="35000"/>
              </a:schemeClr>
            </a:solidFill>
            <a:ln w="4048" cap="flat">
              <a:noFill/>
              <a:prstDash val="solid"/>
              <a:miter/>
            </a:ln>
          </p:spPr>
          <p:txBody>
            <a:bodyPr rtlCol="0" anchor="ctr"/>
            <a:lstStyle/>
            <a:p>
              <a:endParaRPr lang="en-GB" sz="2400"/>
            </a:p>
          </p:txBody>
        </p:sp>
        <p:sp>
          <p:nvSpPr>
            <p:cNvPr id="28" name="Freeform 27">
              <a:extLst>
                <a:ext uri="{FF2B5EF4-FFF2-40B4-BE49-F238E27FC236}">
                  <a16:creationId xmlns:a16="http://schemas.microsoft.com/office/drawing/2014/main" id="{EABA1FE9-FA8A-34EC-1D71-653112AD96A6}"/>
                </a:ext>
              </a:extLst>
            </p:cNvPr>
            <p:cNvSpPr/>
            <p:nvPr/>
          </p:nvSpPr>
          <p:spPr>
            <a:xfrm>
              <a:off x="-3156825" y="33824"/>
              <a:ext cx="36433" cy="36433"/>
            </a:xfrm>
            <a:custGeom>
              <a:avLst/>
              <a:gdLst>
                <a:gd name="connsiteX0" fmla="*/ 18217 w 36433"/>
                <a:gd name="connsiteY0" fmla="*/ 36433 h 36433"/>
                <a:gd name="connsiteX1" fmla="*/ 5343 w 36433"/>
                <a:gd name="connsiteY1" fmla="*/ 31090 h 36433"/>
                <a:gd name="connsiteX2" fmla="*/ 3077 w 36433"/>
                <a:gd name="connsiteY2" fmla="*/ 28337 h 36433"/>
                <a:gd name="connsiteX3" fmla="*/ 1417 w 36433"/>
                <a:gd name="connsiteY3" fmla="*/ 25179 h 36433"/>
                <a:gd name="connsiteX4" fmla="*/ 364 w 36433"/>
                <a:gd name="connsiteY4" fmla="*/ 21779 h 36433"/>
                <a:gd name="connsiteX5" fmla="*/ 0 w 36433"/>
                <a:gd name="connsiteY5" fmla="*/ 18217 h 36433"/>
                <a:gd name="connsiteX6" fmla="*/ 364 w 36433"/>
                <a:gd name="connsiteY6" fmla="*/ 14654 h 36433"/>
                <a:gd name="connsiteX7" fmla="*/ 1417 w 36433"/>
                <a:gd name="connsiteY7" fmla="*/ 11254 h 36433"/>
                <a:gd name="connsiteX8" fmla="*/ 3077 w 36433"/>
                <a:gd name="connsiteY8" fmla="*/ 8096 h 36433"/>
                <a:gd name="connsiteX9" fmla="*/ 5343 w 36433"/>
                <a:gd name="connsiteY9" fmla="*/ 5343 h 36433"/>
                <a:gd name="connsiteX10" fmla="*/ 8096 w 36433"/>
                <a:gd name="connsiteY10" fmla="*/ 3077 h 36433"/>
                <a:gd name="connsiteX11" fmla="*/ 11253 w 36433"/>
                <a:gd name="connsiteY11" fmla="*/ 1417 h 36433"/>
                <a:gd name="connsiteX12" fmla="*/ 14654 w 36433"/>
                <a:gd name="connsiteY12" fmla="*/ 364 h 36433"/>
                <a:gd name="connsiteX13" fmla="*/ 21779 w 36433"/>
                <a:gd name="connsiteY13" fmla="*/ 364 h 36433"/>
                <a:gd name="connsiteX14" fmla="*/ 25179 w 36433"/>
                <a:gd name="connsiteY14" fmla="*/ 1417 h 36433"/>
                <a:gd name="connsiteX15" fmla="*/ 28337 w 36433"/>
                <a:gd name="connsiteY15" fmla="*/ 3077 h 36433"/>
                <a:gd name="connsiteX16" fmla="*/ 31089 w 36433"/>
                <a:gd name="connsiteY16" fmla="*/ 5343 h 36433"/>
                <a:gd name="connsiteX17" fmla="*/ 36433 w 36433"/>
                <a:gd name="connsiteY17" fmla="*/ 18217 h 36433"/>
                <a:gd name="connsiteX18" fmla="*/ 31089 w 36433"/>
                <a:gd name="connsiteY18" fmla="*/ 31090 h 36433"/>
                <a:gd name="connsiteX19" fmla="*/ 18217 w 36433"/>
                <a:gd name="connsiteY19" fmla="*/ 36433 h 36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33" h="36433">
                  <a:moveTo>
                    <a:pt x="18217" y="36433"/>
                  </a:moveTo>
                  <a:cubicBezTo>
                    <a:pt x="13440" y="36433"/>
                    <a:pt x="8744" y="34490"/>
                    <a:pt x="5343" y="31090"/>
                  </a:cubicBezTo>
                  <a:cubicBezTo>
                    <a:pt x="4493" y="30280"/>
                    <a:pt x="3724" y="29349"/>
                    <a:pt x="3077" y="28337"/>
                  </a:cubicBezTo>
                  <a:cubicBezTo>
                    <a:pt x="2429" y="27325"/>
                    <a:pt x="1862" y="26272"/>
                    <a:pt x="1417" y="25179"/>
                  </a:cubicBezTo>
                  <a:cubicBezTo>
                    <a:pt x="931" y="24086"/>
                    <a:pt x="607" y="22953"/>
                    <a:pt x="364" y="21779"/>
                  </a:cubicBezTo>
                  <a:cubicBezTo>
                    <a:pt x="121" y="20605"/>
                    <a:pt x="0" y="19390"/>
                    <a:pt x="0" y="18217"/>
                  </a:cubicBezTo>
                  <a:cubicBezTo>
                    <a:pt x="0" y="17043"/>
                    <a:pt x="121" y="15828"/>
                    <a:pt x="364" y="14654"/>
                  </a:cubicBezTo>
                  <a:cubicBezTo>
                    <a:pt x="607" y="13480"/>
                    <a:pt x="931" y="12347"/>
                    <a:pt x="1417" y="11254"/>
                  </a:cubicBezTo>
                  <a:cubicBezTo>
                    <a:pt x="1862" y="10161"/>
                    <a:pt x="2429" y="9108"/>
                    <a:pt x="3077" y="8096"/>
                  </a:cubicBezTo>
                  <a:cubicBezTo>
                    <a:pt x="3724" y="7125"/>
                    <a:pt x="4493" y="6194"/>
                    <a:pt x="5343" y="5343"/>
                  </a:cubicBezTo>
                  <a:cubicBezTo>
                    <a:pt x="6193" y="4493"/>
                    <a:pt x="7125" y="3724"/>
                    <a:pt x="8096" y="3077"/>
                  </a:cubicBezTo>
                  <a:cubicBezTo>
                    <a:pt x="9108" y="2429"/>
                    <a:pt x="10161" y="1862"/>
                    <a:pt x="11253" y="1417"/>
                  </a:cubicBezTo>
                  <a:cubicBezTo>
                    <a:pt x="12346" y="931"/>
                    <a:pt x="13521" y="607"/>
                    <a:pt x="14654" y="364"/>
                  </a:cubicBezTo>
                  <a:cubicBezTo>
                    <a:pt x="17002" y="-121"/>
                    <a:pt x="19431" y="-121"/>
                    <a:pt x="21779" y="364"/>
                  </a:cubicBezTo>
                  <a:cubicBezTo>
                    <a:pt x="22953" y="607"/>
                    <a:pt x="24086" y="931"/>
                    <a:pt x="25179" y="1417"/>
                  </a:cubicBezTo>
                  <a:cubicBezTo>
                    <a:pt x="26272" y="1862"/>
                    <a:pt x="27365" y="2429"/>
                    <a:pt x="28337" y="3077"/>
                  </a:cubicBezTo>
                  <a:cubicBezTo>
                    <a:pt x="29349" y="3724"/>
                    <a:pt x="30280" y="4493"/>
                    <a:pt x="31089" y="5343"/>
                  </a:cubicBezTo>
                  <a:cubicBezTo>
                    <a:pt x="34490" y="8744"/>
                    <a:pt x="36433" y="13440"/>
                    <a:pt x="36433" y="18217"/>
                  </a:cubicBezTo>
                  <a:cubicBezTo>
                    <a:pt x="36433" y="22993"/>
                    <a:pt x="34490" y="27689"/>
                    <a:pt x="31089" y="31090"/>
                  </a:cubicBezTo>
                  <a:cubicBezTo>
                    <a:pt x="27730" y="34490"/>
                    <a:pt x="23034" y="36433"/>
                    <a:pt x="18217" y="36433"/>
                  </a:cubicBezTo>
                  <a:close/>
                </a:path>
              </a:pathLst>
            </a:custGeom>
            <a:solidFill>
              <a:schemeClr val="tx1">
                <a:lumMod val="65000"/>
                <a:lumOff val="35000"/>
              </a:schemeClr>
            </a:solidFill>
            <a:ln w="4048"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3613844392"/>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7 Mockup Samsung Xcover 5">
    <p:bg>
      <p:bgPr>
        <a:solidFill>
          <a:srgbClr val="EBF2F3"/>
        </a:solidFill>
        <a:effectLst/>
      </p:bgPr>
    </p:bg>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7539A5C1-D35D-699A-EDB3-89B231932F8F}"/>
              </a:ext>
            </a:extLst>
          </p:cNvPr>
          <p:cNvSpPr>
            <a:spLocks noGrp="1"/>
          </p:cNvSpPr>
          <p:nvPr>
            <p:ph type="pic" sz="quarter" idx="12" hasCustomPrompt="1"/>
          </p:nvPr>
        </p:nvSpPr>
        <p:spPr>
          <a:xfrm>
            <a:off x="7846927" y="964952"/>
            <a:ext cx="2352851" cy="4752000"/>
          </a:xfrm>
          <a:custGeom>
            <a:avLst/>
            <a:gdLst>
              <a:gd name="connsiteX0" fmla="*/ 0 w 1919002"/>
              <a:gd name="connsiteY0" fmla="*/ 0 h 3241550"/>
              <a:gd name="connsiteX1" fmla="*/ 1919002 w 1919002"/>
              <a:gd name="connsiteY1" fmla="*/ 0 h 3241550"/>
              <a:gd name="connsiteX2" fmla="*/ 1919002 w 1919002"/>
              <a:gd name="connsiteY2" fmla="*/ 3241550 h 3241550"/>
              <a:gd name="connsiteX3" fmla="*/ 0 w 1919002"/>
              <a:gd name="connsiteY3" fmla="*/ 3241550 h 3241550"/>
            </a:gdLst>
            <a:ahLst/>
            <a:cxnLst>
              <a:cxn ang="0">
                <a:pos x="connsiteX0" y="connsiteY0"/>
              </a:cxn>
              <a:cxn ang="0">
                <a:pos x="connsiteX1" y="connsiteY1"/>
              </a:cxn>
              <a:cxn ang="0">
                <a:pos x="connsiteX2" y="connsiteY2"/>
              </a:cxn>
              <a:cxn ang="0">
                <a:pos x="connsiteX3" y="connsiteY3"/>
              </a:cxn>
            </a:cxnLst>
            <a:rect l="l" t="t" r="r" b="b"/>
            <a:pathLst>
              <a:path w="1919002" h="3241550">
                <a:moveTo>
                  <a:pt x="0" y="0"/>
                </a:moveTo>
                <a:lnTo>
                  <a:pt x="1919002" y="0"/>
                </a:lnTo>
                <a:lnTo>
                  <a:pt x="1919002" y="3241550"/>
                </a:lnTo>
                <a:lnTo>
                  <a:pt x="0" y="3241550"/>
                </a:lnTo>
                <a:close/>
              </a:path>
            </a:pathLst>
          </a:custGeom>
          <a:blipFill dpi="0" rotWithShape="1">
            <a:blip r:embed="rId2"/>
            <a:srcRect/>
            <a:tile tx="0" ty="0" sx="100000" sy="100000" flip="none" algn="tl"/>
          </a:blipFill>
        </p:spPr>
        <p:txBody>
          <a:bodyPr wrap="square">
            <a:noAutofit/>
          </a:bodyPr>
          <a:lstStyle>
            <a:lvl1pPr marL="6351" indent="-6351" algn="ctr">
              <a:buFont typeface="Arial" panose="020B0604020202020204" pitchFamily="34" charset="0"/>
              <a:buNone/>
              <a:tabLst/>
              <a:defRPr sz="1067"/>
            </a:lvl1pPr>
          </a:lstStyle>
          <a:p>
            <a:r>
              <a:rPr lang="en-GB" noProof="0"/>
              <a:t>Click on the icon to add screenshot</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0"/>
            <a:ext cx="5568951"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799" y="368302"/>
            <a:ext cx="5568103"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144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0C0D25B7-A448-0147-8F14-D3520D23AF41}" type="datetime1">
              <a:rPr lang="sv-SE" noProof="0" smtClean="0"/>
              <a:t>2025-04-07</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grpSp>
        <p:nvGrpSpPr>
          <p:cNvPr id="17" name="Group 16">
            <a:extLst>
              <a:ext uri="{FF2B5EF4-FFF2-40B4-BE49-F238E27FC236}">
                <a16:creationId xmlns:a16="http://schemas.microsoft.com/office/drawing/2014/main" id="{A79F5513-0E4F-4253-6618-A9E04F5666E7}"/>
              </a:ext>
            </a:extLst>
          </p:cNvPr>
          <p:cNvGrpSpPr/>
          <p:nvPr/>
        </p:nvGrpSpPr>
        <p:grpSpPr>
          <a:xfrm>
            <a:off x="7597579" y="445434"/>
            <a:ext cx="2863675" cy="5780580"/>
            <a:chOff x="-3756800" y="792460"/>
            <a:chExt cx="1380694" cy="2787053"/>
          </a:xfrm>
        </p:grpSpPr>
        <p:sp>
          <p:nvSpPr>
            <p:cNvPr id="5" name="Freeform 4">
              <a:extLst>
                <a:ext uri="{FF2B5EF4-FFF2-40B4-BE49-F238E27FC236}">
                  <a16:creationId xmlns:a16="http://schemas.microsoft.com/office/drawing/2014/main" id="{1F168B19-C08A-4D70-F49F-751CCD6AE924}"/>
                </a:ext>
              </a:extLst>
            </p:cNvPr>
            <p:cNvSpPr/>
            <p:nvPr/>
          </p:nvSpPr>
          <p:spPr>
            <a:xfrm>
              <a:off x="-3756800" y="792460"/>
              <a:ext cx="1380694" cy="2787053"/>
            </a:xfrm>
            <a:custGeom>
              <a:avLst/>
              <a:gdLst>
                <a:gd name="connsiteX0" fmla="*/ 1367497 w 1380694"/>
                <a:gd name="connsiteY0" fmla="*/ 604507 h 2787053"/>
                <a:gd name="connsiteX1" fmla="*/ 1380654 w 1380694"/>
                <a:gd name="connsiteY1" fmla="*/ 591350 h 2787053"/>
                <a:gd name="connsiteX2" fmla="*/ 1380654 w 1380694"/>
                <a:gd name="connsiteY2" fmla="*/ 417605 h 2787053"/>
                <a:gd name="connsiteX3" fmla="*/ 1367497 w 1380694"/>
                <a:gd name="connsiteY3" fmla="*/ 404448 h 2787053"/>
                <a:gd name="connsiteX4" fmla="*/ 1357903 w 1380694"/>
                <a:gd name="connsiteY4" fmla="*/ 404448 h 2787053"/>
                <a:gd name="connsiteX5" fmla="*/ 1357903 w 1380694"/>
                <a:gd name="connsiteY5" fmla="*/ 222161 h 2787053"/>
                <a:gd name="connsiteX6" fmla="*/ 1372233 w 1380694"/>
                <a:gd name="connsiteY6" fmla="*/ 179656 h 2787053"/>
                <a:gd name="connsiteX7" fmla="*/ 1372233 w 1380694"/>
                <a:gd name="connsiteY7" fmla="*/ 70640 h 2787053"/>
                <a:gd name="connsiteX8" fmla="*/ 1301594 w 1380694"/>
                <a:gd name="connsiteY8" fmla="*/ 0 h 2787053"/>
                <a:gd name="connsiteX9" fmla="*/ 1067207 w 1380694"/>
                <a:gd name="connsiteY9" fmla="*/ 0 h 2787053"/>
                <a:gd name="connsiteX10" fmla="*/ 1020573 w 1380694"/>
                <a:gd name="connsiteY10" fmla="*/ 17650 h 2787053"/>
                <a:gd name="connsiteX11" fmla="*/ 353199 w 1380694"/>
                <a:gd name="connsiteY11" fmla="*/ 17650 h 2787053"/>
                <a:gd name="connsiteX12" fmla="*/ 306564 w 1380694"/>
                <a:gd name="connsiteY12" fmla="*/ 0 h 2787053"/>
                <a:gd name="connsiteX13" fmla="*/ 72178 w 1380694"/>
                <a:gd name="connsiteY13" fmla="*/ 0 h 2787053"/>
                <a:gd name="connsiteX14" fmla="*/ 1538 w 1380694"/>
                <a:gd name="connsiteY14" fmla="*/ 70640 h 2787053"/>
                <a:gd name="connsiteX15" fmla="*/ 1538 w 1380694"/>
                <a:gd name="connsiteY15" fmla="*/ 179656 h 2787053"/>
                <a:gd name="connsiteX16" fmla="*/ 15869 w 1380694"/>
                <a:gd name="connsiteY16" fmla="*/ 222161 h 2787053"/>
                <a:gd name="connsiteX17" fmla="*/ 15869 w 1380694"/>
                <a:gd name="connsiteY17" fmla="*/ 808977 h 2787053"/>
                <a:gd name="connsiteX18" fmla="*/ 5708 w 1380694"/>
                <a:gd name="connsiteY18" fmla="*/ 808977 h 2787053"/>
                <a:gd name="connsiteX19" fmla="*/ 0 w 1380694"/>
                <a:gd name="connsiteY19" fmla="*/ 814685 h 2787053"/>
                <a:gd name="connsiteX20" fmla="*/ 0 w 1380694"/>
                <a:gd name="connsiteY20" fmla="*/ 1179664 h 2787053"/>
                <a:gd name="connsiteX21" fmla="*/ 5708 w 1380694"/>
                <a:gd name="connsiteY21" fmla="*/ 1185372 h 2787053"/>
                <a:gd name="connsiteX22" fmla="*/ 15869 w 1380694"/>
                <a:gd name="connsiteY22" fmla="*/ 1185372 h 2787053"/>
                <a:gd name="connsiteX23" fmla="*/ 15869 w 1380694"/>
                <a:gd name="connsiteY23" fmla="*/ 2564892 h 2787053"/>
                <a:gd name="connsiteX24" fmla="*/ 1538 w 1380694"/>
                <a:gd name="connsiteY24" fmla="*/ 2607397 h 2787053"/>
                <a:gd name="connsiteX25" fmla="*/ 1538 w 1380694"/>
                <a:gd name="connsiteY25" fmla="*/ 2716413 h 2787053"/>
                <a:gd name="connsiteX26" fmla="*/ 72178 w 1380694"/>
                <a:gd name="connsiteY26" fmla="*/ 2787053 h 2787053"/>
                <a:gd name="connsiteX27" fmla="*/ 306564 w 1380694"/>
                <a:gd name="connsiteY27" fmla="*/ 2787053 h 2787053"/>
                <a:gd name="connsiteX28" fmla="*/ 349474 w 1380694"/>
                <a:gd name="connsiteY28" fmla="*/ 2772440 h 2787053"/>
                <a:gd name="connsiteX29" fmla="*/ 1024337 w 1380694"/>
                <a:gd name="connsiteY29" fmla="*/ 2772440 h 2787053"/>
                <a:gd name="connsiteX30" fmla="*/ 1067248 w 1380694"/>
                <a:gd name="connsiteY30" fmla="*/ 2787053 h 2787053"/>
                <a:gd name="connsiteX31" fmla="*/ 1301634 w 1380694"/>
                <a:gd name="connsiteY31" fmla="*/ 2787053 h 2787053"/>
                <a:gd name="connsiteX32" fmla="*/ 1372274 w 1380694"/>
                <a:gd name="connsiteY32" fmla="*/ 2716413 h 2787053"/>
                <a:gd name="connsiteX33" fmla="*/ 1372274 w 1380694"/>
                <a:gd name="connsiteY33" fmla="*/ 2607397 h 2787053"/>
                <a:gd name="connsiteX34" fmla="*/ 1357944 w 1380694"/>
                <a:gd name="connsiteY34" fmla="*/ 2564892 h 2787053"/>
                <a:gd name="connsiteX35" fmla="*/ 1357944 w 1380694"/>
                <a:gd name="connsiteY35" fmla="*/ 1198852 h 2787053"/>
                <a:gd name="connsiteX36" fmla="*/ 1367538 w 1380694"/>
                <a:gd name="connsiteY36" fmla="*/ 1198852 h 2787053"/>
                <a:gd name="connsiteX37" fmla="*/ 1380694 w 1380694"/>
                <a:gd name="connsiteY37" fmla="*/ 1185696 h 2787053"/>
                <a:gd name="connsiteX38" fmla="*/ 1380694 w 1380694"/>
                <a:gd name="connsiteY38" fmla="*/ 1011991 h 2787053"/>
                <a:gd name="connsiteX39" fmla="*/ 1367538 w 1380694"/>
                <a:gd name="connsiteY39" fmla="*/ 998834 h 2787053"/>
                <a:gd name="connsiteX40" fmla="*/ 1357944 w 1380694"/>
                <a:gd name="connsiteY40" fmla="*/ 998834 h 2787053"/>
                <a:gd name="connsiteX41" fmla="*/ 1357944 w 1380694"/>
                <a:gd name="connsiteY41" fmla="*/ 811811 h 2787053"/>
                <a:gd name="connsiteX42" fmla="*/ 1367538 w 1380694"/>
                <a:gd name="connsiteY42" fmla="*/ 811811 h 2787053"/>
                <a:gd name="connsiteX43" fmla="*/ 1380694 w 1380694"/>
                <a:gd name="connsiteY43" fmla="*/ 798655 h 2787053"/>
                <a:gd name="connsiteX44" fmla="*/ 1380694 w 1380694"/>
                <a:gd name="connsiteY44" fmla="*/ 624950 h 2787053"/>
                <a:gd name="connsiteX45" fmla="*/ 1367538 w 1380694"/>
                <a:gd name="connsiteY45" fmla="*/ 611793 h 2787053"/>
                <a:gd name="connsiteX46" fmla="*/ 1357944 w 1380694"/>
                <a:gd name="connsiteY46" fmla="*/ 611793 h 2787053"/>
                <a:gd name="connsiteX47" fmla="*/ 1357944 w 1380694"/>
                <a:gd name="connsiteY47" fmla="*/ 604587 h 2787053"/>
                <a:gd name="connsiteX48" fmla="*/ 1367538 w 1380694"/>
                <a:gd name="connsiteY48" fmla="*/ 604587 h 2787053"/>
                <a:gd name="connsiteX49" fmla="*/ 1367538 w 1380694"/>
                <a:gd name="connsiteY49" fmla="*/ 604507 h 2787053"/>
                <a:gd name="connsiteX50" fmla="*/ 1274917 w 1380694"/>
                <a:gd name="connsiteY50" fmla="*/ 2569588 h 2787053"/>
                <a:gd name="connsiteX51" fmla="*/ 105615 w 1380694"/>
                <a:gd name="connsiteY51" fmla="*/ 2569588 h 2787053"/>
                <a:gd name="connsiteX52" fmla="*/ 105615 w 1380694"/>
                <a:gd name="connsiteY52" fmla="*/ 217465 h 2787053"/>
                <a:gd name="connsiteX53" fmla="*/ 1274917 w 1380694"/>
                <a:gd name="connsiteY53" fmla="*/ 217465 h 2787053"/>
                <a:gd name="connsiteX54" fmla="*/ 1274917 w 1380694"/>
                <a:gd name="connsiteY54" fmla="*/ 2569588 h 278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80694" h="2787053">
                  <a:moveTo>
                    <a:pt x="1367497" y="604507"/>
                  </a:moveTo>
                  <a:cubicBezTo>
                    <a:pt x="1374743" y="604507"/>
                    <a:pt x="1380654" y="598596"/>
                    <a:pt x="1380654" y="591350"/>
                  </a:cubicBezTo>
                  <a:lnTo>
                    <a:pt x="1380654" y="417605"/>
                  </a:lnTo>
                  <a:cubicBezTo>
                    <a:pt x="1380654" y="410358"/>
                    <a:pt x="1374743" y="404448"/>
                    <a:pt x="1367497" y="404448"/>
                  </a:cubicBezTo>
                  <a:lnTo>
                    <a:pt x="1357903" y="404448"/>
                  </a:lnTo>
                  <a:lnTo>
                    <a:pt x="1357903" y="222161"/>
                  </a:lnTo>
                  <a:cubicBezTo>
                    <a:pt x="1366849" y="210341"/>
                    <a:pt x="1372233" y="195646"/>
                    <a:pt x="1372233" y="179656"/>
                  </a:cubicBezTo>
                  <a:lnTo>
                    <a:pt x="1372233" y="70640"/>
                  </a:lnTo>
                  <a:cubicBezTo>
                    <a:pt x="1372233" y="31616"/>
                    <a:pt x="1340618" y="0"/>
                    <a:pt x="1301594" y="0"/>
                  </a:cubicBezTo>
                  <a:lnTo>
                    <a:pt x="1067207" y="0"/>
                  </a:lnTo>
                  <a:cubicBezTo>
                    <a:pt x="1049314" y="0"/>
                    <a:pt x="1033041" y="6720"/>
                    <a:pt x="1020573" y="17650"/>
                  </a:cubicBezTo>
                  <a:lnTo>
                    <a:pt x="353199" y="17650"/>
                  </a:lnTo>
                  <a:cubicBezTo>
                    <a:pt x="340731" y="6679"/>
                    <a:pt x="324457" y="0"/>
                    <a:pt x="306564" y="0"/>
                  </a:cubicBezTo>
                  <a:lnTo>
                    <a:pt x="72178" y="0"/>
                  </a:lnTo>
                  <a:cubicBezTo>
                    <a:pt x="33154" y="0"/>
                    <a:pt x="1538" y="31616"/>
                    <a:pt x="1538" y="70640"/>
                  </a:cubicBezTo>
                  <a:lnTo>
                    <a:pt x="1538" y="179656"/>
                  </a:lnTo>
                  <a:cubicBezTo>
                    <a:pt x="1538" y="195646"/>
                    <a:pt x="6922" y="210341"/>
                    <a:pt x="15869" y="222161"/>
                  </a:cubicBezTo>
                  <a:lnTo>
                    <a:pt x="15869" y="808977"/>
                  </a:lnTo>
                  <a:lnTo>
                    <a:pt x="5708" y="808977"/>
                  </a:lnTo>
                  <a:cubicBezTo>
                    <a:pt x="2550" y="808977"/>
                    <a:pt x="0" y="811568"/>
                    <a:pt x="0" y="814685"/>
                  </a:cubicBezTo>
                  <a:lnTo>
                    <a:pt x="0" y="1179664"/>
                  </a:lnTo>
                  <a:cubicBezTo>
                    <a:pt x="0" y="1182822"/>
                    <a:pt x="2550" y="1185372"/>
                    <a:pt x="5708" y="1185372"/>
                  </a:cubicBezTo>
                  <a:lnTo>
                    <a:pt x="15869" y="1185372"/>
                  </a:lnTo>
                  <a:lnTo>
                    <a:pt x="15869" y="2564892"/>
                  </a:lnTo>
                  <a:cubicBezTo>
                    <a:pt x="6922" y="2576713"/>
                    <a:pt x="1538" y="2591407"/>
                    <a:pt x="1538" y="2607397"/>
                  </a:cubicBezTo>
                  <a:lnTo>
                    <a:pt x="1538" y="2716413"/>
                  </a:lnTo>
                  <a:cubicBezTo>
                    <a:pt x="1538" y="2755437"/>
                    <a:pt x="33154" y="2787053"/>
                    <a:pt x="72178" y="2787053"/>
                  </a:cubicBezTo>
                  <a:lnTo>
                    <a:pt x="306564" y="2787053"/>
                  </a:lnTo>
                  <a:cubicBezTo>
                    <a:pt x="322716" y="2787053"/>
                    <a:pt x="337573" y="2781588"/>
                    <a:pt x="349474" y="2772440"/>
                  </a:cubicBezTo>
                  <a:lnTo>
                    <a:pt x="1024337" y="2772440"/>
                  </a:lnTo>
                  <a:cubicBezTo>
                    <a:pt x="1036239" y="2781548"/>
                    <a:pt x="1051096" y="2787053"/>
                    <a:pt x="1067248" y="2787053"/>
                  </a:cubicBezTo>
                  <a:lnTo>
                    <a:pt x="1301634" y="2787053"/>
                  </a:lnTo>
                  <a:cubicBezTo>
                    <a:pt x="1340658" y="2787053"/>
                    <a:pt x="1372274" y="2755437"/>
                    <a:pt x="1372274" y="2716413"/>
                  </a:cubicBezTo>
                  <a:lnTo>
                    <a:pt x="1372274" y="2607397"/>
                  </a:lnTo>
                  <a:cubicBezTo>
                    <a:pt x="1372274" y="2591407"/>
                    <a:pt x="1366890" y="2576713"/>
                    <a:pt x="1357944" y="2564892"/>
                  </a:cubicBezTo>
                  <a:lnTo>
                    <a:pt x="1357944" y="1198852"/>
                  </a:lnTo>
                  <a:lnTo>
                    <a:pt x="1367538" y="1198852"/>
                  </a:lnTo>
                  <a:cubicBezTo>
                    <a:pt x="1374783" y="1198852"/>
                    <a:pt x="1380694" y="1192942"/>
                    <a:pt x="1380694" y="1185696"/>
                  </a:cubicBezTo>
                  <a:lnTo>
                    <a:pt x="1380694" y="1011991"/>
                  </a:lnTo>
                  <a:cubicBezTo>
                    <a:pt x="1380694" y="1004745"/>
                    <a:pt x="1374783" y="998834"/>
                    <a:pt x="1367538" y="998834"/>
                  </a:cubicBezTo>
                  <a:lnTo>
                    <a:pt x="1357944" y="998834"/>
                  </a:lnTo>
                  <a:lnTo>
                    <a:pt x="1357944" y="811811"/>
                  </a:lnTo>
                  <a:lnTo>
                    <a:pt x="1367538" y="811811"/>
                  </a:lnTo>
                  <a:cubicBezTo>
                    <a:pt x="1374783" y="811811"/>
                    <a:pt x="1380694" y="805901"/>
                    <a:pt x="1380694" y="798655"/>
                  </a:cubicBezTo>
                  <a:lnTo>
                    <a:pt x="1380694" y="624950"/>
                  </a:lnTo>
                  <a:cubicBezTo>
                    <a:pt x="1380694" y="617703"/>
                    <a:pt x="1374783" y="611793"/>
                    <a:pt x="1367538" y="611793"/>
                  </a:cubicBezTo>
                  <a:lnTo>
                    <a:pt x="1357944" y="611793"/>
                  </a:lnTo>
                  <a:lnTo>
                    <a:pt x="1357944" y="604587"/>
                  </a:lnTo>
                  <a:lnTo>
                    <a:pt x="1367538" y="604587"/>
                  </a:lnTo>
                  <a:lnTo>
                    <a:pt x="1367538" y="604507"/>
                  </a:lnTo>
                  <a:close/>
                  <a:moveTo>
                    <a:pt x="1274917" y="2569588"/>
                  </a:moveTo>
                  <a:lnTo>
                    <a:pt x="105615" y="2569588"/>
                  </a:lnTo>
                  <a:lnTo>
                    <a:pt x="105615" y="217465"/>
                  </a:lnTo>
                  <a:lnTo>
                    <a:pt x="1274917" y="217465"/>
                  </a:lnTo>
                  <a:lnTo>
                    <a:pt x="1274917" y="2569588"/>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2400"/>
            </a:p>
          </p:txBody>
        </p:sp>
        <p:sp>
          <p:nvSpPr>
            <p:cNvPr id="14" name="Freeform 13">
              <a:extLst>
                <a:ext uri="{FF2B5EF4-FFF2-40B4-BE49-F238E27FC236}">
                  <a16:creationId xmlns:a16="http://schemas.microsoft.com/office/drawing/2014/main" id="{70F328C2-B196-7A9A-5181-3F620259FBA0}"/>
                </a:ext>
              </a:extLst>
            </p:cNvPr>
            <p:cNvSpPr/>
            <p:nvPr/>
          </p:nvSpPr>
          <p:spPr>
            <a:xfrm>
              <a:off x="-3692597" y="857838"/>
              <a:ext cx="1245364" cy="2656298"/>
            </a:xfrm>
            <a:custGeom>
              <a:avLst/>
              <a:gdLst>
                <a:gd name="connsiteX0" fmla="*/ 1129184 w 1245364"/>
                <a:gd name="connsiteY0" fmla="*/ 0 h 2656298"/>
                <a:gd name="connsiteX1" fmla="*/ 116181 w 1245364"/>
                <a:gd name="connsiteY1" fmla="*/ 0 h 2656298"/>
                <a:gd name="connsiteX2" fmla="*/ 0 w 1245364"/>
                <a:gd name="connsiteY2" fmla="*/ 116181 h 2656298"/>
                <a:gd name="connsiteX3" fmla="*/ 0 w 1245364"/>
                <a:gd name="connsiteY3" fmla="*/ 2540118 h 2656298"/>
                <a:gd name="connsiteX4" fmla="*/ 116181 w 1245364"/>
                <a:gd name="connsiteY4" fmla="*/ 2656299 h 2656298"/>
                <a:gd name="connsiteX5" fmla="*/ 1129184 w 1245364"/>
                <a:gd name="connsiteY5" fmla="*/ 2656299 h 2656298"/>
                <a:gd name="connsiteX6" fmla="*/ 1245365 w 1245364"/>
                <a:gd name="connsiteY6" fmla="*/ 2540118 h 2656298"/>
                <a:gd name="connsiteX7" fmla="*/ 1245365 w 1245364"/>
                <a:gd name="connsiteY7" fmla="*/ 116181 h 2656298"/>
                <a:gd name="connsiteX8" fmla="*/ 1129184 w 1245364"/>
                <a:gd name="connsiteY8" fmla="*/ 0 h 2656298"/>
                <a:gd name="connsiteX9" fmla="*/ 1185048 w 1245364"/>
                <a:gd name="connsiteY9" fmla="*/ 2453973 h 2656298"/>
                <a:gd name="connsiteX10" fmla="*/ 1167115 w 1245364"/>
                <a:gd name="connsiteY10" fmla="*/ 2471907 h 2656298"/>
                <a:gd name="connsiteX11" fmla="*/ 78291 w 1245364"/>
                <a:gd name="connsiteY11" fmla="*/ 2471907 h 2656298"/>
                <a:gd name="connsiteX12" fmla="*/ 60357 w 1245364"/>
                <a:gd name="connsiteY12" fmla="*/ 2453973 h 2656298"/>
                <a:gd name="connsiteX13" fmla="*/ 60357 w 1245364"/>
                <a:gd name="connsiteY13" fmla="*/ 206130 h 2656298"/>
                <a:gd name="connsiteX14" fmla="*/ 78291 w 1245364"/>
                <a:gd name="connsiteY14" fmla="*/ 188197 h 2656298"/>
                <a:gd name="connsiteX15" fmla="*/ 1167115 w 1245364"/>
                <a:gd name="connsiteY15" fmla="*/ 188197 h 2656298"/>
                <a:gd name="connsiteX16" fmla="*/ 1185048 w 1245364"/>
                <a:gd name="connsiteY16" fmla="*/ 206130 h 2656298"/>
                <a:gd name="connsiteX17" fmla="*/ 1185048 w 1245364"/>
                <a:gd name="connsiteY17" fmla="*/ 2453933 h 2656298"/>
                <a:gd name="connsiteX18" fmla="*/ 1185048 w 1245364"/>
                <a:gd name="connsiteY18" fmla="*/ 2453933 h 265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5364" h="2656298">
                  <a:moveTo>
                    <a:pt x="1129184" y="0"/>
                  </a:moveTo>
                  <a:lnTo>
                    <a:pt x="116181" y="0"/>
                  </a:lnTo>
                  <a:cubicBezTo>
                    <a:pt x="52018" y="0"/>
                    <a:pt x="0" y="52018"/>
                    <a:pt x="0" y="116181"/>
                  </a:cubicBezTo>
                  <a:lnTo>
                    <a:pt x="0" y="2540118"/>
                  </a:lnTo>
                  <a:cubicBezTo>
                    <a:pt x="0" y="2604280"/>
                    <a:pt x="52018" y="2656299"/>
                    <a:pt x="116181" y="2656299"/>
                  </a:cubicBezTo>
                  <a:lnTo>
                    <a:pt x="1129184" y="2656299"/>
                  </a:lnTo>
                  <a:cubicBezTo>
                    <a:pt x="1193347" y="2656299"/>
                    <a:pt x="1245365" y="2604280"/>
                    <a:pt x="1245365" y="2540118"/>
                  </a:cubicBezTo>
                  <a:lnTo>
                    <a:pt x="1245365" y="116181"/>
                  </a:lnTo>
                  <a:cubicBezTo>
                    <a:pt x="1245365" y="52018"/>
                    <a:pt x="1193347" y="0"/>
                    <a:pt x="1129184" y="0"/>
                  </a:cubicBezTo>
                  <a:close/>
                  <a:moveTo>
                    <a:pt x="1185048" y="2453973"/>
                  </a:moveTo>
                  <a:cubicBezTo>
                    <a:pt x="1185048" y="2463891"/>
                    <a:pt x="1176992" y="2471907"/>
                    <a:pt x="1167115" y="2471907"/>
                  </a:cubicBezTo>
                  <a:lnTo>
                    <a:pt x="78291" y="2471907"/>
                  </a:lnTo>
                  <a:cubicBezTo>
                    <a:pt x="68373" y="2471907"/>
                    <a:pt x="60357" y="2463851"/>
                    <a:pt x="60357" y="2453973"/>
                  </a:cubicBezTo>
                  <a:lnTo>
                    <a:pt x="60357" y="206130"/>
                  </a:lnTo>
                  <a:cubicBezTo>
                    <a:pt x="60357" y="196213"/>
                    <a:pt x="68413" y="188197"/>
                    <a:pt x="78291" y="188197"/>
                  </a:cubicBezTo>
                  <a:lnTo>
                    <a:pt x="1167115" y="188197"/>
                  </a:lnTo>
                  <a:cubicBezTo>
                    <a:pt x="1177033" y="188197"/>
                    <a:pt x="1185048" y="196253"/>
                    <a:pt x="1185048" y="206130"/>
                  </a:cubicBezTo>
                  <a:lnTo>
                    <a:pt x="1185048" y="2453933"/>
                  </a:lnTo>
                  <a:lnTo>
                    <a:pt x="1185048" y="2453933"/>
                  </a:lnTo>
                  <a:close/>
                </a:path>
              </a:pathLst>
            </a:custGeom>
            <a:gradFill>
              <a:gsLst>
                <a:gs pos="0">
                  <a:schemeClr val="tx1">
                    <a:lumMod val="85000"/>
                    <a:lumOff val="15000"/>
                  </a:schemeClr>
                </a:gs>
                <a:gs pos="78000">
                  <a:schemeClr val="tx1">
                    <a:lumMod val="85000"/>
                    <a:lumOff val="15000"/>
                  </a:schemeClr>
                </a:gs>
                <a:gs pos="91000">
                  <a:schemeClr val="tx1">
                    <a:lumMod val="75000"/>
                    <a:lumOff val="25000"/>
                  </a:schemeClr>
                </a:gs>
                <a:gs pos="100000">
                  <a:schemeClr val="tx1">
                    <a:lumMod val="65000"/>
                    <a:lumOff val="35000"/>
                  </a:schemeClr>
                </a:gs>
              </a:gsLst>
              <a:lin ang="1800000" scaled="0"/>
            </a:gradFill>
            <a:ln w="4048" cap="flat">
              <a:noFill/>
              <a:prstDash val="solid"/>
              <a:miter/>
            </a:ln>
          </p:spPr>
          <p:txBody>
            <a:bodyPr rtlCol="0" anchor="ctr"/>
            <a:lstStyle/>
            <a:p>
              <a:endParaRPr lang="en-GB" sz="2400"/>
            </a:p>
          </p:txBody>
        </p:sp>
        <p:sp>
          <p:nvSpPr>
            <p:cNvPr id="15" name="Freeform 14">
              <a:extLst>
                <a:ext uri="{FF2B5EF4-FFF2-40B4-BE49-F238E27FC236}">
                  <a16:creationId xmlns:a16="http://schemas.microsoft.com/office/drawing/2014/main" id="{5BC40465-4EA4-E037-CE43-2DED209BB2C2}"/>
                </a:ext>
              </a:extLst>
            </p:cNvPr>
            <p:cNvSpPr/>
            <p:nvPr/>
          </p:nvSpPr>
          <p:spPr>
            <a:xfrm>
              <a:off x="-3092179" y="936118"/>
              <a:ext cx="44529" cy="44539"/>
            </a:xfrm>
            <a:custGeom>
              <a:avLst/>
              <a:gdLst>
                <a:gd name="connsiteX0" fmla="*/ 22265 w 44529"/>
                <a:gd name="connsiteY0" fmla="*/ 44539 h 44539"/>
                <a:gd name="connsiteX1" fmla="*/ 17893 w 44529"/>
                <a:gd name="connsiteY1" fmla="*/ 44094 h 44539"/>
                <a:gd name="connsiteX2" fmla="*/ 13723 w 44529"/>
                <a:gd name="connsiteY2" fmla="*/ 42839 h 44539"/>
                <a:gd name="connsiteX3" fmla="*/ 9918 w 44529"/>
                <a:gd name="connsiteY3" fmla="*/ 40775 h 44539"/>
                <a:gd name="connsiteX4" fmla="*/ 6517 w 44529"/>
                <a:gd name="connsiteY4" fmla="*/ 38022 h 44539"/>
                <a:gd name="connsiteX5" fmla="*/ 3724 w 44529"/>
                <a:gd name="connsiteY5" fmla="*/ 34622 h 44539"/>
                <a:gd name="connsiteX6" fmla="*/ 1700 w 44529"/>
                <a:gd name="connsiteY6" fmla="*/ 30776 h 44539"/>
                <a:gd name="connsiteX7" fmla="*/ 445 w 44529"/>
                <a:gd name="connsiteY7" fmla="*/ 26606 h 44539"/>
                <a:gd name="connsiteX8" fmla="*/ 0 w 44529"/>
                <a:gd name="connsiteY8" fmla="*/ 22275 h 44539"/>
                <a:gd name="connsiteX9" fmla="*/ 6517 w 44529"/>
                <a:gd name="connsiteY9" fmla="*/ 6528 h 44539"/>
                <a:gd name="connsiteX10" fmla="*/ 9918 w 44529"/>
                <a:gd name="connsiteY10" fmla="*/ 3775 h 44539"/>
                <a:gd name="connsiteX11" fmla="*/ 13723 w 44529"/>
                <a:gd name="connsiteY11" fmla="*/ 1710 h 44539"/>
                <a:gd name="connsiteX12" fmla="*/ 17893 w 44529"/>
                <a:gd name="connsiteY12" fmla="*/ 455 h 44539"/>
                <a:gd name="connsiteX13" fmla="*/ 26596 w 44529"/>
                <a:gd name="connsiteY13" fmla="*/ 455 h 44539"/>
                <a:gd name="connsiteX14" fmla="*/ 30766 w 44529"/>
                <a:gd name="connsiteY14" fmla="*/ 1710 h 44539"/>
                <a:gd name="connsiteX15" fmla="*/ 34611 w 44529"/>
                <a:gd name="connsiteY15" fmla="*/ 3775 h 44539"/>
                <a:gd name="connsiteX16" fmla="*/ 38012 w 44529"/>
                <a:gd name="connsiteY16" fmla="*/ 6528 h 44539"/>
                <a:gd name="connsiteX17" fmla="*/ 44529 w 44529"/>
                <a:gd name="connsiteY17" fmla="*/ 22275 h 44539"/>
                <a:gd name="connsiteX18" fmla="*/ 44084 w 44529"/>
                <a:gd name="connsiteY18" fmla="*/ 26606 h 44539"/>
                <a:gd name="connsiteX19" fmla="*/ 42829 w 44529"/>
                <a:gd name="connsiteY19" fmla="*/ 30776 h 44539"/>
                <a:gd name="connsiteX20" fmla="*/ 40765 w 44529"/>
                <a:gd name="connsiteY20" fmla="*/ 34622 h 44539"/>
                <a:gd name="connsiteX21" fmla="*/ 38012 w 44529"/>
                <a:gd name="connsiteY21" fmla="*/ 38022 h 44539"/>
                <a:gd name="connsiteX22" fmla="*/ 34611 w 44529"/>
                <a:gd name="connsiteY22" fmla="*/ 40775 h 44539"/>
                <a:gd name="connsiteX23" fmla="*/ 30766 w 44529"/>
                <a:gd name="connsiteY23" fmla="*/ 42839 h 44539"/>
                <a:gd name="connsiteX24" fmla="*/ 26596 w 44529"/>
                <a:gd name="connsiteY24" fmla="*/ 44094 h 44539"/>
                <a:gd name="connsiteX25" fmla="*/ 22265 w 44529"/>
                <a:gd name="connsiteY25" fmla="*/ 44539 h 4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529" h="44539">
                  <a:moveTo>
                    <a:pt x="22265" y="44539"/>
                  </a:moveTo>
                  <a:cubicBezTo>
                    <a:pt x="20807" y="44539"/>
                    <a:pt x="19350" y="44378"/>
                    <a:pt x="17893" y="44094"/>
                  </a:cubicBezTo>
                  <a:cubicBezTo>
                    <a:pt x="16476" y="43811"/>
                    <a:pt x="15099" y="43366"/>
                    <a:pt x="13723" y="42839"/>
                  </a:cubicBezTo>
                  <a:cubicBezTo>
                    <a:pt x="12387" y="42273"/>
                    <a:pt x="11092" y="41584"/>
                    <a:pt x="9918" y="40775"/>
                  </a:cubicBezTo>
                  <a:cubicBezTo>
                    <a:pt x="8663" y="39965"/>
                    <a:pt x="7529" y="39034"/>
                    <a:pt x="6517" y="38022"/>
                  </a:cubicBezTo>
                  <a:cubicBezTo>
                    <a:pt x="5505" y="36970"/>
                    <a:pt x="4574" y="35836"/>
                    <a:pt x="3724" y="34622"/>
                  </a:cubicBezTo>
                  <a:cubicBezTo>
                    <a:pt x="2955" y="33407"/>
                    <a:pt x="2267" y="32112"/>
                    <a:pt x="1700" y="30776"/>
                  </a:cubicBezTo>
                  <a:cubicBezTo>
                    <a:pt x="1133" y="29440"/>
                    <a:pt x="729" y="28023"/>
                    <a:pt x="445" y="26606"/>
                  </a:cubicBezTo>
                  <a:cubicBezTo>
                    <a:pt x="162" y="25189"/>
                    <a:pt x="0" y="23732"/>
                    <a:pt x="0" y="22275"/>
                  </a:cubicBezTo>
                  <a:cubicBezTo>
                    <a:pt x="0" y="16405"/>
                    <a:pt x="2388" y="10657"/>
                    <a:pt x="6517" y="6528"/>
                  </a:cubicBezTo>
                  <a:cubicBezTo>
                    <a:pt x="7529" y="5516"/>
                    <a:pt x="8663" y="4585"/>
                    <a:pt x="9918" y="3775"/>
                  </a:cubicBezTo>
                  <a:cubicBezTo>
                    <a:pt x="11092" y="2965"/>
                    <a:pt x="12387" y="2277"/>
                    <a:pt x="13723" y="1710"/>
                  </a:cubicBezTo>
                  <a:cubicBezTo>
                    <a:pt x="15099" y="1144"/>
                    <a:pt x="16476" y="739"/>
                    <a:pt x="17893" y="455"/>
                  </a:cubicBezTo>
                  <a:cubicBezTo>
                    <a:pt x="20767" y="-152"/>
                    <a:pt x="23722" y="-152"/>
                    <a:pt x="26596" y="455"/>
                  </a:cubicBezTo>
                  <a:cubicBezTo>
                    <a:pt x="28013" y="739"/>
                    <a:pt x="29430" y="1144"/>
                    <a:pt x="30766" y="1710"/>
                  </a:cubicBezTo>
                  <a:cubicBezTo>
                    <a:pt x="32102" y="2277"/>
                    <a:pt x="33397" y="2965"/>
                    <a:pt x="34611" y="3775"/>
                  </a:cubicBezTo>
                  <a:cubicBezTo>
                    <a:pt x="35826" y="4585"/>
                    <a:pt x="36959" y="5516"/>
                    <a:pt x="38012" y="6528"/>
                  </a:cubicBezTo>
                  <a:cubicBezTo>
                    <a:pt x="42141" y="10657"/>
                    <a:pt x="44529" y="16405"/>
                    <a:pt x="44529" y="22275"/>
                  </a:cubicBezTo>
                  <a:cubicBezTo>
                    <a:pt x="44529" y="23732"/>
                    <a:pt x="44367" y="25189"/>
                    <a:pt x="44084" y="26606"/>
                  </a:cubicBezTo>
                  <a:cubicBezTo>
                    <a:pt x="43801" y="28023"/>
                    <a:pt x="43396" y="29440"/>
                    <a:pt x="42829" y="30776"/>
                  </a:cubicBezTo>
                  <a:cubicBezTo>
                    <a:pt x="42262" y="32112"/>
                    <a:pt x="41574" y="33407"/>
                    <a:pt x="40765" y="34622"/>
                  </a:cubicBezTo>
                  <a:cubicBezTo>
                    <a:pt x="39955" y="35836"/>
                    <a:pt x="39024" y="36970"/>
                    <a:pt x="38012" y="38022"/>
                  </a:cubicBezTo>
                  <a:cubicBezTo>
                    <a:pt x="36959" y="39034"/>
                    <a:pt x="35826" y="39965"/>
                    <a:pt x="34611" y="40775"/>
                  </a:cubicBezTo>
                  <a:cubicBezTo>
                    <a:pt x="33397" y="41584"/>
                    <a:pt x="32102" y="42273"/>
                    <a:pt x="30766" y="42839"/>
                  </a:cubicBezTo>
                  <a:cubicBezTo>
                    <a:pt x="29430" y="43366"/>
                    <a:pt x="28013" y="43811"/>
                    <a:pt x="26596" y="44094"/>
                  </a:cubicBezTo>
                  <a:cubicBezTo>
                    <a:pt x="25179" y="44378"/>
                    <a:pt x="23722" y="44539"/>
                    <a:pt x="22265" y="44539"/>
                  </a:cubicBezTo>
                  <a:close/>
                </a:path>
              </a:pathLst>
            </a:custGeom>
            <a:solidFill>
              <a:schemeClr val="tx1">
                <a:lumMod val="65000"/>
                <a:lumOff val="35000"/>
              </a:schemeClr>
            </a:solidFill>
            <a:ln w="4048" cap="flat">
              <a:noFill/>
              <a:prstDash val="solid"/>
              <a:miter/>
            </a:ln>
          </p:spPr>
          <p:txBody>
            <a:bodyPr rtlCol="0" anchor="ctr"/>
            <a:lstStyle/>
            <a:p>
              <a:endParaRPr lang="en-GB" sz="2400"/>
            </a:p>
          </p:txBody>
        </p:sp>
      </p:grpSp>
    </p:spTree>
    <p:extLst>
      <p:ext uri="{BB962C8B-B14F-4D97-AF65-F5344CB8AC3E}">
        <p14:creationId xmlns:p14="http://schemas.microsoft.com/office/powerpoint/2010/main" val="402471216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E5C7A5-E5E4-11F3-D2A8-6739A648B92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3530EF-1079-263E-8C89-DC2DBB7B79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39E2DF-52A8-6C1C-CE3B-47D4B19692B9}"/>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FB6DB2F4-B2B7-1B14-0E04-BC1A22A681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5E4C20-D9B2-1E51-91DD-77A7EE7DFA78}"/>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18295882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7 Mockup Tablet">
    <p:bg>
      <p:bgPr>
        <a:solidFill>
          <a:srgbClr val="EBF2F3"/>
        </a:solidFill>
        <a:effectLst/>
      </p:bgPr>
    </p:bg>
    <p:spTree>
      <p:nvGrpSpPr>
        <p:cNvPr id="1" name=""/>
        <p:cNvGrpSpPr/>
        <p:nvPr/>
      </p:nvGrpSpPr>
      <p:grpSpPr>
        <a:xfrm>
          <a:off x="0" y="0"/>
          <a:ext cx="0" cy="0"/>
          <a:chOff x="0" y="0"/>
          <a:chExt cx="0" cy="0"/>
        </a:xfrm>
      </p:grpSpPr>
      <p:pic>
        <p:nvPicPr>
          <p:cNvPr id="10" name="Tablet">
            <a:extLst>
              <a:ext uri="{FF2B5EF4-FFF2-40B4-BE49-F238E27FC236}">
                <a16:creationId xmlns:a16="http://schemas.microsoft.com/office/drawing/2014/main" id="{AF73F0F7-6D96-1749-82B9-04BEF52611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802041" y="371187"/>
            <a:ext cx="4527809" cy="5910979"/>
          </a:xfrm>
          <a:prstGeom prst="rect">
            <a:avLst/>
          </a:prstGeom>
        </p:spPr>
      </p:pic>
      <p:sp>
        <p:nvSpPr>
          <p:cNvPr id="11" name="Image">
            <a:extLst>
              <a:ext uri="{FF2B5EF4-FFF2-40B4-BE49-F238E27FC236}">
                <a16:creationId xmlns:a16="http://schemas.microsoft.com/office/drawing/2014/main" id="{6F11483D-338A-6C45-BE0B-6154483356E5}"/>
              </a:ext>
            </a:extLst>
          </p:cNvPr>
          <p:cNvSpPr>
            <a:spLocks noGrp="1" noChangeAspect="1"/>
          </p:cNvSpPr>
          <p:nvPr>
            <p:ph type="pic" sz="quarter" idx="12" hasCustomPrompt="1"/>
          </p:nvPr>
        </p:nvSpPr>
        <p:spPr>
          <a:xfrm>
            <a:off x="7046025" y="639594"/>
            <a:ext cx="4058243" cy="5398349"/>
          </a:xfrm>
          <a:prstGeom prst="roundRect">
            <a:avLst>
              <a:gd name="adj" fmla="val 3275"/>
            </a:avLst>
          </a:prstGeom>
          <a:blipFill>
            <a:blip r:embed="rId3"/>
            <a:tile tx="0" ty="0" sx="100000" sy="100000" flip="none" algn="tl"/>
          </a:blipFill>
        </p:spPr>
        <p:txBody>
          <a:bodyPr tIns="72000"/>
          <a:lstStyle>
            <a:lvl1pPr marL="6351" indent="-6351" algn="ctr">
              <a:buFont typeface="Arial" panose="020B0604020202020204" pitchFamily="34" charset="0"/>
              <a:buNone/>
              <a:tabLst/>
              <a:defRPr sz="1067"/>
            </a:lvl1pPr>
          </a:lstStyle>
          <a:p>
            <a:r>
              <a:rPr lang="en-GB" noProof="0"/>
              <a:t>Click on the icon to add screenshot or image</a:t>
            </a:r>
          </a:p>
        </p:txBody>
      </p:sp>
      <p:sp>
        <p:nvSpPr>
          <p:cNvPr id="9" name="Title">
            <a:extLst>
              <a:ext uri="{FF2B5EF4-FFF2-40B4-BE49-F238E27FC236}">
                <a16:creationId xmlns:a16="http://schemas.microsoft.com/office/drawing/2014/main" id="{71D01A38-7EA0-9741-A480-491359BD4009}"/>
              </a:ext>
            </a:extLst>
          </p:cNvPr>
          <p:cNvSpPr>
            <a:spLocks noGrp="1"/>
          </p:cNvSpPr>
          <p:nvPr>
            <p:ph type="title" hasCustomPrompt="1"/>
          </p:nvPr>
        </p:nvSpPr>
        <p:spPr>
          <a:xfrm>
            <a:off x="431801" y="700800"/>
            <a:ext cx="5568951" cy="1997752"/>
          </a:xfrm>
        </p:spPr>
        <p:txBody>
          <a:bodyPr rIns="144000"/>
          <a:lstStyle>
            <a:lvl1pPr>
              <a:defRPr sz="4000" spc="-67" baseline="0"/>
            </a:lvl1pPr>
          </a:lstStyle>
          <a:p>
            <a:r>
              <a:rPr lang="en-GB" noProof="0"/>
              <a:t>Click to add a headline of maximum three lines</a:t>
            </a:r>
          </a:p>
        </p:txBody>
      </p:sp>
      <p:sp>
        <p:nvSpPr>
          <p:cNvPr id="13" name="Navigation">
            <a:extLst>
              <a:ext uri="{FF2B5EF4-FFF2-40B4-BE49-F238E27FC236}">
                <a16:creationId xmlns:a16="http://schemas.microsoft.com/office/drawing/2014/main" id="{2493BE16-B666-1E43-A384-DA7DE8218D85}"/>
              </a:ext>
            </a:extLst>
          </p:cNvPr>
          <p:cNvSpPr>
            <a:spLocks noGrp="1"/>
          </p:cNvSpPr>
          <p:nvPr>
            <p:ph type="body" sz="quarter" idx="14" hasCustomPrompt="1"/>
          </p:nvPr>
        </p:nvSpPr>
        <p:spPr>
          <a:xfrm>
            <a:off x="431799" y="368302"/>
            <a:ext cx="5568103"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43795203-DBC8-FC4C-AF8A-DF750A2789A5}"/>
              </a:ext>
            </a:extLst>
          </p:cNvPr>
          <p:cNvSpPr>
            <a:spLocks noGrp="1"/>
          </p:cNvSpPr>
          <p:nvPr>
            <p:ph type="body" sz="quarter" idx="13" hasCustomPrompt="1"/>
          </p:nvPr>
        </p:nvSpPr>
        <p:spPr>
          <a:xfrm>
            <a:off x="431802" y="2804585"/>
            <a:ext cx="5568949" cy="3456516"/>
          </a:xfrm>
        </p:spPr>
        <p:txBody>
          <a:bodyPr rIns="144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2" name="Date">
            <a:extLst>
              <a:ext uri="{FF2B5EF4-FFF2-40B4-BE49-F238E27FC236}">
                <a16:creationId xmlns:a16="http://schemas.microsoft.com/office/drawing/2014/main" id="{DF0D76B5-70ED-1348-8C16-2BDFEAE1A309}"/>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E71F8AB4-3125-134E-AC62-CB278DFC8B23}" type="datetime1">
              <a:rPr lang="sv-SE" noProof="0" smtClean="0"/>
              <a:t>2025-04-07</a:t>
            </a:fld>
            <a:endParaRPr lang="en-GB" noProof="0"/>
          </a:p>
        </p:txBody>
      </p:sp>
      <p:sp>
        <p:nvSpPr>
          <p:cNvPr id="33" name="Number">
            <a:extLst>
              <a:ext uri="{FF2B5EF4-FFF2-40B4-BE49-F238E27FC236}">
                <a16:creationId xmlns:a16="http://schemas.microsoft.com/office/drawing/2014/main" id="{988F092B-A42E-1446-B7CB-74A043F2D8EA}"/>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5" name="Footer">
            <a:extLst>
              <a:ext uri="{FF2B5EF4-FFF2-40B4-BE49-F238E27FC236}">
                <a16:creationId xmlns:a16="http://schemas.microsoft.com/office/drawing/2014/main" id="{E7CD3979-AE70-E348-8121-A449C6EA75CA}"/>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69061921"/>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7 Mockup Computer">
    <p:bg>
      <p:bgPr>
        <a:solidFill>
          <a:srgbClr val="EBF2F3"/>
        </a:solidFill>
        <a:effectLst/>
      </p:bgPr>
    </p:bg>
    <p:spTree>
      <p:nvGrpSpPr>
        <p:cNvPr id="1" name=""/>
        <p:cNvGrpSpPr/>
        <p:nvPr/>
      </p:nvGrpSpPr>
      <p:grpSpPr>
        <a:xfrm>
          <a:off x="0" y="0"/>
          <a:ext cx="0" cy="0"/>
          <a:chOff x="0" y="0"/>
          <a:chExt cx="0" cy="0"/>
        </a:xfrm>
      </p:grpSpPr>
      <p:pic>
        <p:nvPicPr>
          <p:cNvPr id="9" name="Screen">
            <a:extLst>
              <a:ext uri="{FF2B5EF4-FFF2-40B4-BE49-F238E27FC236}">
                <a16:creationId xmlns:a16="http://schemas.microsoft.com/office/drawing/2014/main" id="{137F2073-042D-6544-88ED-5E6D429D6B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471734" y="506537"/>
            <a:ext cx="7197733" cy="5792513"/>
          </a:xfrm>
          <a:prstGeom prst="rect">
            <a:avLst/>
          </a:prstGeom>
        </p:spPr>
      </p:pic>
      <p:sp>
        <p:nvSpPr>
          <p:cNvPr id="12" name="Image">
            <a:extLst>
              <a:ext uri="{FF2B5EF4-FFF2-40B4-BE49-F238E27FC236}">
                <a16:creationId xmlns:a16="http://schemas.microsoft.com/office/drawing/2014/main" id="{050DA14F-0160-BC46-A9E4-34119508B77D}"/>
              </a:ext>
            </a:extLst>
          </p:cNvPr>
          <p:cNvSpPr>
            <a:spLocks noGrp="1"/>
          </p:cNvSpPr>
          <p:nvPr>
            <p:ph type="pic" sz="quarter" idx="13" hasCustomPrompt="1"/>
          </p:nvPr>
        </p:nvSpPr>
        <p:spPr>
          <a:xfrm>
            <a:off x="2759170" y="800538"/>
            <a:ext cx="6634597" cy="3753977"/>
          </a:xfrm>
          <a:prstGeom prst="rect">
            <a:avLst/>
          </a:prstGeom>
          <a:blipFill>
            <a:blip r:embed="rId3"/>
            <a:tile tx="0" ty="0" sx="100000" sy="100000" flip="none" algn="tl"/>
          </a:blipFill>
        </p:spPr>
        <p:txBody>
          <a:bodyPr tIns="72000"/>
          <a:lstStyle>
            <a:lvl1pPr marL="6351" indent="-6351" algn="ctr">
              <a:buFont typeface="Arial" panose="020B0604020202020204" pitchFamily="34" charset="0"/>
              <a:buNone/>
              <a:tabLst/>
              <a:defRPr sz="1067"/>
            </a:lvl1pPr>
          </a:lstStyle>
          <a:p>
            <a:r>
              <a:rPr lang="en-GB" noProof="0"/>
              <a:t>Click on the icon to add screenshot or image</a:t>
            </a:r>
          </a:p>
        </p:txBody>
      </p:sp>
      <p:sp>
        <p:nvSpPr>
          <p:cNvPr id="28" name="Date">
            <a:extLst>
              <a:ext uri="{FF2B5EF4-FFF2-40B4-BE49-F238E27FC236}">
                <a16:creationId xmlns:a16="http://schemas.microsoft.com/office/drawing/2014/main" id="{CE0F962E-4019-5544-9B35-C562B9C61B7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E761100-4DEA-6B4A-A8A6-708A566F34BF}" type="datetime1">
              <a:rPr lang="sv-SE" noProof="0" smtClean="0"/>
              <a:t>2025-04-07</a:t>
            </a:fld>
            <a:endParaRPr lang="en-GB" noProof="0"/>
          </a:p>
        </p:txBody>
      </p:sp>
      <p:sp>
        <p:nvSpPr>
          <p:cNvPr id="29" name="Slide">
            <a:extLst>
              <a:ext uri="{FF2B5EF4-FFF2-40B4-BE49-F238E27FC236}">
                <a16:creationId xmlns:a16="http://schemas.microsoft.com/office/drawing/2014/main" id="{BAB857CC-B70E-E249-8AC6-5136D617525E}"/>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8" name="Footer">
            <a:extLst>
              <a:ext uri="{FF2B5EF4-FFF2-40B4-BE49-F238E27FC236}">
                <a16:creationId xmlns:a16="http://schemas.microsoft.com/office/drawing/2014/main" id="{654484ED-3028-044E-B530-A3D199365A29}"/>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Title 2">
            <a:extLst>
              <a:ext uri="{FF2B5EF4-FFF2-40B4-BE49-F238E27FC236}">
                <a16:creationId xmlns:a16="http://schemas.microsoft.com/office/drawing/2014/main" id="{7CFFD843-07C6-3985-A7DC-AEAD61FA2959}"/>
              </a:ext>
            </a:extLst>
          </p:cNvPr>
          <p:cNvSpPr>
            <a:spLocks noGrp="1"/>
          </p:cNvSpPr>
          <p:nvPr>
            <p:ph type="title" hasCustomPrompt="1"/>
          </p:nvPr>
        </p:nvSpPr>
        <p:spPr>
          <a:xfrm>
            <a:off x="431800" y="-10207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3832112090"/>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7 Mockup Smartphone Video">
    <p:bg>
      <p:bgPr>
        <a:solidFill>
          <a:srgbClr val="EBF2F3"/>
        </a:solidFill>
        <a:effectLst/>
      </p:bgPr>
    </p:bg>
    <p:spTree>
      <p:nvGrpSpPr>
        <p:cNvPr id="1" name=""/>
        <p:cNvGrpSpPr/>
        <p:nvPr/>
      </p:nvGrpSpPr>
      <p:grpSpPr>
        <a:xfrm>
          <a:off x="0" y="0"/>
          <a:ext cx="0" cy="0"/>
          <a:chOff x="0" y="0"/>
          <a:chExt cx="0" cy="0"/>
        </a:xfrm>
      </p:grpSpPr>
      <p:sp>
        <p:nvSpPr>
          <p:cNvPr id="5" name="Video">
            <a:extLst>
              <a:ext uri="{FF2B5EF4-FFF2-40B4-BE49-F238E27FC236}">
                <a16:creationId xmlns:a16="http://schemas.microsoft.com/office/drawing/2014/main" id="{67CBEA9B-3BE9-E947-8B03-3DF0656F83BF}"/>
              </a:ext>
            </a:extLst>
          </p:cNvPr>
          <p:cNvSpPr>
            <a:spLocks noGrp="1"/>
          </p:cNvSpPr>
          <p:nvPr>
            <p:ph type="media" sz="quarter" idx="16" hasCustomPrompt="1"/>
          </p:nvPr>
        </p:nvSpPr>
        <p:spPr>
          <a:xfrm>
            <a:off x="7742323" y="598241"/>
            <a:ext cx="2496000" cy="5481600"/>
          </a:xfrm>
          <a:prstGeom prst="roundRect">
            <a:avLst>
              <a:gd name="adj" fmla="val 7961"/>
            </a:avLst>
          </a:prstGeo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1067" dirty="0">
                <a:solidFill>
                  <a:schemeClr val="bg1">
                    <a:lumMod val="75000"/>
                  </a:schemeClr>
                </a:solidFill>
              </a:defRPr>
            </a:lvl1pPr>
          </a:lstStyle>
          <a:p>
            <a:pPr marL="228594" lvl="0" indent="-228594"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0"/>
            <a:ext cx="5568951"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799" y="368302"/>
            <a:ext cx="5568103"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144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FED9A850-451C-994B-9CEF-A2B324B2852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1AB88767-75D5-4544-AD58-673F2D2A4B3F}" type="datetime1">
              <a:rPr lang="sv-SE" noProof="0" smtClean="0"/>
              <a:t>2025-04-07</a:t>
            </a:fld>
            <a:endParaRPr lang="en-GB" noProof="0"/>
          </a:p>
        </p:txBody>
      </p:sp>
      <p:sp>
        <p:nvSpPr>
          <p:cNvPr id="36" name="Number">
            <a:extLst>
              <a:ext uri="{FF2B5EF4-FFF2-40B4-BE49-F238E27FC236}">
                <a16:creationId xmlns:a16="http://schemas.microsoft.com/office/drawing/2014/main" id="{3D6301AA-5E2B-7F46-BF55-64A8320A6BF9}"/>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DC643E75-61AD-CE44-8B9B-514A1A088DD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 name="Freeform 1">
            <a:extLst>
              <a:ext uri="{FF2B5EF4-FFF2-40B4-BE49-F238E27FC236}">
                <a16:creationId xmlns:a16="http://schemas.microsoft.com/office/drawing/2014/main" id="{9EFA168E-8779-B2B1-E0E9-6FE719DEEE5C}"/>
              </a:ext>
            </a:extLst>
          </p:cNvPr>
          <p:cNvSpPr/>
          <p:nvPr/>
        </p:nvSpPr>
        <p:spPr>
          <a:xfrm>
            <a:off x="7643647" y="485935"/>
            <a:ext cx="2707357" cy="5700269"/>
          </a:xfrm>
          <a:custGeom>
            <a:avLst/>
            <a:gdLst>
              <a:gd name="connsiteX0" fmla="*/ 1308395 w 1308394"/>
              <a:gd name="connsiteY0" fmla="*/ 1065750 h 2754789"/>
              <a:gd name="connsiteX1" fmla="*/ 1308395 w 1308394"/>
              <a:gd name="connsiteY1" fmla="*/ 702997 h 2754789"/>
              <a:gd name="connsiteX2" fmla="*/ 1301796 w 1308394"/>
              <a:gd name="connsiteY2" fmla="*/ 702997 h 2754789"/>
              <a:gd name="connsiteX3" fmla="*/ 1301796 w 1308394"/>
              <a:gd name="connsiteY3" fmla="*/ 157594 h 2754789"/>
              <a:gd name="connsiteX4" fmla="*/ 1144203 w 1308394"/>
              <a:gd name="connsiteY4" fmla="*/ 0 h 2754789"/>
              <a:gd name="connsiteX5" fmla="*/ 157593 w 1308394"/>
              <a:gd name="connsiteY5" fmla="*/ 0 h 2754789"/>
              <a:gd name="connsiteX6" fmla="*/ 0 w 1308394"/>
              <a:gd name="connsiteY6" fmla="*/ 157594 h 2754789"/>
              <a:gd name="connsiteX7" fmla="*/ 0 w 1308394"/>
              <a:gd name="connsiteY7" fmla="*/ 2597196 h 2754789"/>
              <a:gd name="connsiteX8" fmla="*/ 157593 w 1308394"/>
              <a:gd name="connsiteY8" fmla="*/ 2754790 h 2754789"/>
              <a:gd name="connsiteX9" fmla="*/ 1144203 w 1308394"/>
              <a:gd name="connsiteY9" fmla="*/ 2754790 h 2754789"/>
              <a:gd name="connsiteX10" fmla="*/ 1301796 w 1308394"/>
              <a:gd name="connsiteY10" fmla="*/ 2597196 h 2754789"/>
              <a:gd name="connsiteX11" fmla="*/ 1301796 w 1308394"/>
              <a:gd name="connsiteY11" fmla="*/ 1368631 h 2754789"/>
              <a:gd name="connsiteX12" fmla="*/ 1308395 w 1308394"/>
              <a:gd name="connsiteY12" fmla="*/ 1368631 h 2754789"/>
              <a:gd name="connsiteX13" fmla="*/ 1308395 w 1308394"/>
              <a:gd name="connsiteY13" fmla="*/ 1196019 h 2754789"/>
              <a:gd name="connsiteX14" fmla="*/ 1301796 w 1308394"/>
              <a:gd name="connsiteY14" fmla="*/ 1196019 h 2754789"/>
              <a:gd name="connsiteX15" fmla="*/ 1301796 w 1308394"/>
              <a:gd name="connsiteY15" fmla="*/ 1065709 h 2754789"/>
              <a:gd name="connsiteX16" fmla="*/ 1308395 w 1308394"/>
              <a:gd name="connsiteY16" fmla="*/ 1065709 h 2754789"/>
              <a:gd name="connsiteX17" fmla="*/ 1246580 w 1308394"/>
              <a:gd name="connsiteY17" fmla="*/ 2589424 h 2754789"/>
              <a:gd name="connsiteX18" fmla="*/ 1138495 w 1308394"/>
              <a:gd name="connsiteY18" fmla="*/ 2697509 h 2754789"/>
              <a:gd name="connsiteX19" fmla="*/ 163301 w 1308394"/>
              <a:gd name="connsiteY19" fmla="*/ 2697509 h 2754789"/>
              <a:gd name="connsiteX20" fmla="*/ 55216 w 1308394"/>
              <a:gd name="connsiteY20" fmla="*/ 2589424 h 2754789"/>
              <a:gd name="connsiteX21" fmla="*/ 55216 w 1308394"/>
              <a:gd name="connsiteY21" fmla="*/ 165447 h 2754789"/>
              <a:gd name="connsiteX22" fmla="*/ 163301 w 1308394"/>
              <a:gd name="connsiteY22" fmla="*/ 57362 h 2754789"/>
              <a:gd name="connsiteX23" fmla="*/ 1138495 w 1308394"/>
              <a:gd name="connsiteY23" fmla="*/ 57362 h 2754789"/>
              <a:gd name="connsiteX24" fmla="*/ 1246580 w 1308394"/>
              <a:gd name="connsiteY24" fmla="*/ 165447 h 2754789"/>
              <a:gd name="connsiteX25" fmla="*/ 1246580 w 1308394"/>
              <a:gd name="connsiteY25" fmla="*/ 2589383 h 275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08394" h="2754789">
                <a:moveTo>
                  <a:pt x="1308395" y="1065750"/>
                </a:moveTo>
                <a:lnTo>
                  <a:pt x="1308395" y="702997"/>
                </a:lnTo>
                <a:lnTo>
                  <a:pt x="1301796" y="702997"/>
                </a:lnTo>
                <a:lnTo>
                  <a:pt x="1301796" y="157594"/>
                </a:lnTo>
                <a:cubicBezTo>
                  <a:pt x="1301796" y="70680"/>
                  <a:pt x="1231075" y="0"/>
                  <a:pt x="1144203" y="0"/>
                </a:cubicBezTo>
                <a:lnTo>
                  <a:pt x="157593" y="0"/>
                </a:lnTo>
                <a:cubicBezTo>
                  <a:pt x="70680" y="0"/>
                  <a:pt x="0" y="70721"/>
                  <a:pt x="0" y="157594"/>
                </a:cubicBezTo>
                <a:lnTo>
                  <a:pt x="0" y="2597196"/>
                </a:lnTo>
                <a:cubicBezTo>
                  <a:pt x="0" y="2684109"/>
                  <a:pt x="70721" y="2754790"/>
                  <a:pt x="157593" y="2754790"/>
                </a:cubicBezTo>
                <a:lnTo>
                  <a:pt x="1144203" y="2754790"/>
                </a:lnTo>
                <a:cubicBezTo>
                  <a:pt x="1231116" y="2754790"/>
                  <a:pt x="1301796" y="2684069"/>
                  <a:pt x="1301796" y="2597196"/>
                </a:cubicBezTo>
                <a:lnTo>
                  <a:pt x="1301796" y="1368631"/>
                </a:lnTo>
                <a:lnTo>
                  <a:pt x="1308395" y="1368631"/>
                </a:lnTo>
                <a:lnTo>
                  <a:pt x="1308395" y="1196019"/>
                </a:lnTo>
                <a:lnTo>
                  <a:pt x="1301796" y="1196019"/>
                </a:lnTo>
                <a:lnTo>
                  <a:pt x="1301796" y="1065709"/>
                </a:lnTo>
                <a:lnTo>
                  <a:pt x="1308395" y="1065709"/>
                </a:lnTo>
                <a:close/>
                <a:moveTo>
                  <a:pt x="1246580" y="2589424"/>
                </a:moveTo>
                <a:cubicBezTo>
                  <a:pt x="1246580" y="2649012"/>
                  <a:pt x="1198083" y="2697509"/>
                  <a:pt x="1138495" y="2697509"/>
                </a:cubicBezTo>
                <a:lnTo>
                  <a:pt x="163301" y="2697509"/>
                </a:lnTo>
                <a:cubicBezTo>
                  <a:pt x="103672" y="2697509"/>
                  <a:pt x="55216" y="2649012"/>
                  <a:pt x="55216" y="2589424"/>
                </a:cubicBezTo>
                <a:lnTo>
                  <a:pt x="55216" y="165447"/>
                </a:lnTo>
                <a:cubicBezTo>
                  <a:pt x="55216" y="105818"/>
                  <a:pt x="103713" y="57362"/>
                  <a:pt x="163301" y="57362"/>
                </a:cubicBezTo>
                <a:lnTo>
                  <a:pt x="1138495" y="57362"/>
                </a:lnTo>
                <a:cubicBezTo>
                  <a:pt x="1198083" y="57362"/>
                  <a:pt x="1246580" y="105859"/>
                  <a:pt x="1246580" y="165447"/>
                </a:cubicBezTo>
                <a:lnTo>
                  <a:pt x="1246580" y="2589383"/>
                </a:lnTo>
                <a:close/>
              </a:path>
            </a:pathLst>
          </a:custGeom>
          <a:gradFill>
            <a:gsLst>
              <a:gs pos="0">
                <a:schemeClr val="tx1"/>
              </a:gs>
              <a:gs pos="78000">
                <a:schemeClr val="tx1">
                  <a:lumMod val="85000"/>
                  <a:lumOff val="15000"/>
                </a:schemeClr>
              </a:gs>
              <a:gs pos="87000">
                <a:schemeClr val="tx1">
                  <a:lumMod val="75000"/>
                  <a:lumOff val="25000"/>
                </a:schemeClr>
              </a:gs>
              <a:gs pos="100000">
                <a:schemeClr val="bg1">
                  <a:lumMod val="50000"/>
                </a:schemeClr>
              </a:gs>
            </a:gsLst>
            <a:lin ang="3600000" scaled="0"/>
          </a:gradFill>
          <a:ln w="4048" cap="flat">
            <a:noFill/>
            <a:prstDash val="solid"/>
            <a:miter/>
          </a:ln>
        </p:spPr>
        <p:txBody>
          <a:bodyPr rtlCol="0" anchor="ctr"/>
          <a:lstStyle/>
          <a:p>
            <a:endParaRPr lang="en-GB" sz="2400"/>
          </a:p>
        </p:txBody>
      </p:sp>
    </p:spTree>
    <p:extLst>
      <p:ext uri="{BB962C8B-B14F-4D97-AF65-F5344CB8AC3E}">
        <p14:creationId xmlns:p14="http://schemas.microsoft.com/office/powerpoint/2010/main" val="3743009980"/>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1560A13A-DB3F-4AD5-B6AF-BDA0278A0A39}" type="datetimeFigureOut">
              <a:rPr lang="sv-SE" smtClean="0"/>
              <a:t>2025-04-07</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F7C2F05B-BAF9-488D-83DE-20A7CCFAC190}" type="slidenum">
              <a:rPr lang="sv-SE" smtClean="0"/>
              <a:t>‹#›</a:t>
            </a:fld>
            <a:endParaRPr lang="sv-SE"/>
          </a:p>
        </p:txBody>
      </p:sp>
    </p:spTree>
    <p:extLst>
      <p:ext uri="{BB962C8B-B14F-4D97-AF65-F5344CB8AC3E}">
        <p14:creationId xmlns:p14="http://schemas.microsoft.com/office/powerpoint/2010/main" val="31638800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 Simple Bullets and Image">
    <p:spTree>
      <p:nvGrpSpPr>
        <p:cNvPr id="1" name=""/>
        <p:cNvGrpSpPr/>
        <p:nvPr/>
      </p:nvGrpSpPr>
      <p:grpSpPr>
        <a:xfrm>
          <a:off x="0" y="0"/>
          <a:ext cx="0" cy="0"/>
          <a:chOff x="0" y="0"/>
          <a:chExt cx="0" cy="0"/>
        </a:xfrm>
      </p:grpSpPr>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1" y="369603"/>
            <a:ext cx="7488763"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801" y="6148801"/>
            <a:ext cx="7488767"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4"/>
            <a:ext cx="7488763" cy="988605"/>
          </a:xfrm>
        </p:spPr>
        <p:txBody>
          <a:bodyPr rIns="216000"/>
          <a:lstStyle>
            <a:lvl1pPr>
              <a:defRPr spc="-67" baseline="0"/>
            </a:lvl1pPr>
          </a:lstStyle>
          <a:p>
            <a:r>
              <a:rPr lang="en-GB" noProof="0"/>
              <a:t>Click to add a headline of maximum two lines</a:t>
            </a:r>
          </a:p>
        </p:txBody>
      </p:sp>
      <p:sp>
        <p:nvSpPr>
          <p:cNvPr id="14" name="Platshållare för bild 3">
            <a:extLst>
              <a:ext uri="{FF2B5EF4-FFF2-40B4-BE49-F238E27FC236}">
                <a16:creationId xmlns:a16="http://schemas.microsoft.com/office/drawing/2014/main" id="{F5C3C095-2530-E045-81C5-702F3F64FC3B}"/>
              </a:ext>
            </a:extLst>
          </p:cNvPr>
          <p:cNvSpPr>
            <a:spLocks noGrp="1"/>
          </p:cNvSpPr>
          <p:nvPr>
            <p:ph type="pic" sz="quarter" idx="16" hasCustomPrompt="1"/>
          </p:nvPr>
        </p:nvSpPr>
        <p:spPr>
          <a:xfrm>
            <a:off x="8113186" y="211669"/>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5" name="Platshållare för text 11">
            <a:extLst>
              <a:ext uri="{FF2B5EF4-FFF2-40B4-BE49-F238E27FC236}">
                <a16:creationId xmlns:a16="http://schemas.microsoft.com/office/drawing/2014/main" id="{1D880C39-01D1-6145-8803-71635B3AA79E}"/>
              </a:ext>
            </a:extLst>
          </p:cNvPr>
          <p:cNvSpPr>
            <a:spLocks noGrp="1"/>
          </p:cNvSpPr>
          <p:nvPr>
            <p:ph type="body" sz="quarter" idx="13" hasCustomPrompt="1"/>
          </p:nvPr>
        </p:nvSpPr>
        <p:spPr>
          <a:xfrm>
            <a:off x="431801" y="1911456"/>
            <a:ext cx="7488763" cy="4219445"/>
          </a:xfrm>
        </p:spPr>
        <p:txBody>
          <a:bodyPr rIns="216000"/>
          <a:lstStyle>
            <a:lvl1pPr marL="355574" indent="-355574">
              <a:lnSpc>
                <a:spcPct val="100000"/>
              </a:lnSpc>
              <a:spcBef>
                <a:spcPts val="0"/>
              </a:spcBef>
              <a:spcAft>
                <a:spcPts val="2133"/>
              </a:spcAft>
              <a:buFontTx/>
              <a:buBlip>
                <a:blip r:embed="rId3">
                  <a:extLst>
                    <a:ext uri="{96DAC541-7B7A-43D3-8B79-37D633B846F1}">
                      <asvg:svgBlip xmlns:asvg="http://schemas.microsoft.com/office/drawing/2016/SVG/main" r:embed="rId4"/>
                    </a:ext>
                  </a:extLst>
                </a:blip>
              </a:buBlip>
              <a:tabLst/>
              <a:defRPr sz="2133" b="1"/>
            </a:lvl1pPr>
            <a:lvl2pPr marL="21166" indent="-21166">
              <a:tabLst/>
              <a:defRPr sz="3200" b="1"/>
            </a:lvl2pPr>
            <a:lvl3pPr marL="21166" indent="-21166">
              <a:tabLst/>
              <a:defRPr sz="3200" b="1"/>
            </a:lvl3pPr>
            <a:lvl4pPr marL="21166" indent="-21166">
              <a:tabLst/>
              <a:defRPr sz="3200" b="1"/>
            </a:lvl4pPr>
            <a:lvl5pPr marL="21166" indent="-21166">
              <a:tabLst/>
              <a:defRPr sz="3200" b="1"/>
            </a:lvl5pPr>
          </a:lstStyle>
          <a:p>
            <a:pPr lvl="0"/>
            <a:r>
              <a:rPr lang="en-GB" noProof="0"/>
              <a:t>Click to add text</a:t>
            </a:r>
          </a:p>
        </p:txBody>
      </p:sp>
      <p:sp>
        <p:nvSpPr>
          <p:cNvPr id="10" name="textruta 9">
            <a:extLst>
              <a:ext uri="{FF2B5EF4-FFF2-40B4-BE49-F238E27FC236}">
                <a16:creationId xmlns:a16="http://schemas.microsoft.com/office/drawing/2014/main" id="{FB326077-2191-A14E-A41D-31444FFC593D}"/>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2" name="Platshållare för datum 3">
            <a:extLst>
              <a:ext uri="{FF2B5EF4-FFF2-40B4-BE49-F238E27FC236}">
                <a16:creationId xmlns:a16="http://schemas.microsoft.com/office/drawing/2014/main" id="{F66FB105-40E4-4896-812F-53AA8D61B9DF}"/>
              </a:ext>
            </a:extLst>
          </p:cNvPr>
          <p:cNvSpPr>
            <a:spLocks noGrp="1"/>
          </p:cNvSpPr>
          <p:nvPr>
            <p:ph type="dt" sz="half" idx="2"/>
          </p:nvPr>
        </p:nvSpPr>
        <p:spPr>
          <a:xfrm>
            <a:off x="239183" y="6331200"/>
            <a:ext cx="1243020" cy="180000"/>
          </a:xfrm>
          <a:prstGeom prst="rect">
            <a:avLst/>
          </a:prstGeom>
        </p:spPr>
        <p:txBody>
          <a:bodyPr vert="horz" lIns="0" tIns="0" rIns="0" bIns="0" rtlCol="0" anchor="b" anchorCtr="0"/>
          <a:lstStyle>
            <a:lvl1pPr algn="l">
              <a:lnSpc>
                <a:spcPts val="1200"/>
              </a:lnSpc>
              <a:defRPr sz="773">
                <a:solidFill>
                  <a:schemeClr val="tx1">
                    <a:tint val="75000"/>
                  </a:schemeClr>
                </a:solidFill>
              </a:defRPr>
            </a:lvl1pPr>
          </a:lstStyle>
          <a:p>
            <a:fld id="{82F2F773-27E9-4200-804E-FF60E5305D00}" type="datetime1">
              <a:rPr lang="sv-SE" smtClean="0"/>
              <a:t>2025-04-07</a:t>
            </a:fld>
            <a:endParaRPr lang="en-GB"/>
          </a:p>
        </p:txBody>
      </p:sp>
      <p:sp>
        <p:nvSpPr>
          <p:cNvPr id="13" name="Platshållare för sidfot 4">
            <a:extLst>
              <a:ext uri="{FF2B5EF4-FFF2-40B4-BE49-F238E27FC236}">
                <a16:creationId xmlns:a16="http://schemas.microsoft.com/office/drawing/2014/main" id="{F63527F5-B3BF-4F5C-9D12-9D595595941A}"/>
              </a:ext>
            </a:extLst>
          </p:cNvPr>
          <p:cNvSpPr>
            <a:spLocks noGrp="1"/>
          </p:cNvSpPr>
          <p:nvPr>
            <p:ph type="ftr" sz="quarter" idx="3"/>
          </p:nvPr>
        </p:nvSpPr>
        <p:spPr>
          <a:xfrm>
            <a:off x="239183" y="6475200"/>
            <a:ext cx="3494400" cy="180000"/>
          </a:xfrm>
          <a:prstGeom prst="rect">
            <a:avLst/>
          </a:prstGeom>
        </p:spPr>
        <p:txBody>
          <a:bodyPr vert="horz" lIns="0" tIns="0" rIns="0" bIns="0" rtlCol="0" anchor="b" anchorCtr="0"/>
          <a:lstStyle>
            <a:lvl1pPr algn="l">
              <a:lnSpc>
                <a:spcPts val="1200"/>
              </a:lnSpc>
              <a:defRPr sz="773">
                <a:solidFill>
                  <a:schemeClr val="tx1">
                    <a:tint val="75000"/>
                  </a:schemeClr>
                </a:solidFill>
              </a:defRPr>
            </a:lvl1pPr>
          </a:lstStyle>
          <a:p>
            <a:r>
              <a:rPr lang="en-GB"/>
              <a:t>C3 - Restricted</a:t>
            </a:r>
          </a:p>
        </p:txBody>
      </p:sp>
      <p:sp>
        <p:nvSpPr>
          <p:cNvPr id="17" name="Platshållare för bildnummer 5">
            <a:extLst>
              <a:ext uri="{FF2B5EF4-FFF2-40B4-BE49-F238E27FC236}">
                <a16:creationId xmlns:a16="http://schemas.microsoft.com/office/drawing/2014/main" id="{77AD9E2A-B7BD-4A41-B97A-0578EFD140CD}"/>
              </a:ext>
            </a:extLst>
          </p:cNvPr>
          <p:cNvSpPr>
            <a:spLocks noGrp="1"/>
          </p:cNvSpPr>
          <p:nvPr>
            <p:ph type="sldNum" sz="quarter" idx="4"/>
          </p:nvPr>
        </p:nvSpPr>
        <p:spPr>
          <a:xfrm>
            <a:off x="11467200" y="6408000"/>
            <a:ext cx="499200" cy="240000"/>
          </a:xfrm>
          <a:prstGeom prst="rect">
            <a:avLst/>
          </a:prstGeom>
        </p:spPr>
        <p:txBody>
          <a:bodyPr vert="horz" lIns="0" tIns="0" rIns="0" bIns="0" rtlCol="0" anchor="b" anchorCtr="0"/>
          <a:lstStyle>
            <a:lvl1pPr algn="r">
              <a:lnSpc>
                <a:spcPts val="1200"/>
              </a:lnSpc>
              <a:defRPr sz="773">
                <a:solidFill>
                  <a:schemeClr val="tx1">
                    <a:tint val="75000"/>
                  </a:schemeClr>
                </a:solidFill>
              </a:defRPr>
            </a:lvl1pPr>
          </a:lstStyle>
          <a:p>
            <a:fld id="{B2EE7C49-7037-4002-9F37-A6993397F8F3}" type="slidenum">
              <a:rPr lang="en-GB" smtClean="0"/>
              <a:t>‹#›</a:t>
            </a:fld>
            <a:endParaRPr lang="en-GB"/>
          </a:p>
        </p:txBody>
      </p:sp>
    </p:spTree>
    <p:extLst>
      <p:ext uri="{BB962C8B-B14F-4D97-AF65-F5344CB8AC3E}">
        <p14:creationId xmlns:p14="http://schemas.microsoft.com/office/powerpoint/2010/main" val="1266257617"/>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 Headline only">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440355CB-8BC2-4BA9-A5FB-E3FF8A76B6F6}"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224000" cy="369332"/>
          </a:xfrm>
        </p:spPr>
        <p:txBody>
          <a:bodyPr lIns="1116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8800"/>
            <a:ext cx="7488767"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1576893"/>
          </a:xfrm>
        </p:spPr>
        <p:txBody>
          <a:bodyPr/>
          <a:lstStyle>
            <a:lvl1pPr>
              <a:defRPr spc="-67" baseline="0"/>
            </a:lvl1pPr>
          </a:lstStyle>
          <a:p>
            <a:r>
              <a:rPr lang="en-GB" noProof="0"/>
              <a:t>Click to add a headline of maximum three lines</a:t>
            </a:r>
          </a:p>
        </p:txBody>
      </p:sp>
      <p:sp>
        <p:nvSpPr>
          <p:cNvPr id="11" name="Platshållare för sidfot 6">
            <a:extLst>
              <a:ext uri="{FF2B5EF4-FFF2-40B4-BE49-F238E27FC236}">
                <a16:creationId xmlns:a16="http://schemas.microsoft.com/office/drawing/2014/main" id="{A552DAA9-741B-4541-B739-5E18BB32D240}"/>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93896589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 Text and Image three column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799" y="727101"/>
            <a:ext cx="7488767" cy="1069951"/>
          </a:xfrm>
        </p:spPr>
        <p:txBody>
          <a:bodyPr rIns="216000"/>
          <a:lstStyle>
            <a:lvl1pPr>
              <a:defRPr spc="-67" baseline="0"/>
            </a:lvl1pPr>
          </a:lstStyle>
          <a:p>
            <a:r>
              <a:rPr lang="en-GB" noProof="0"/>
              <a:t>Click to add a headline of maximum two lines</a:t>
            </a:r>
            <a:br>
              <a:rPr lang="en-GB" noProof="0"/>
            </a:br>
            <a:endParaRPr lang="en-GB" noProof="0"/>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1A83BA7F-9CAD-4194-94F0-AF53028EE1DA}"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798" y="368302"/>
            <a:ext cx="748876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5" name="Platshållare för bild 3">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8113184"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4" name="Platshållare för text 7">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431800" y="1927334"/>
            <a:ext cx="3649133" cy="4333767"/>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latshållare för text 7">
            <a:extLst>
              <a:ext uri="{FF2B5EF4-FFF2-40B4-BE49-F238E27FC236}">
                <a16:creationId xmlns:a16="http://schemas.microsoft.com/office/drawing/2014/main" id="{C54E6412-F416-B54F-8039-31E518204B4E}"/>
              </a:ext>
            </a:extLst>
          </p:cNvPr>
          <p:cNvSpPr>
            <a:spLocks noGrp="1"/>
          </p:cNvSpPr>
          <p:nvPr>
            <p:ph type="body" sz="quarter" idx="21" hasCustomPrompt="1"/>
          </p:nvPr>
        </p:nvSpPr>
        <p:spPr>
          <a:xfrm>
            <a:off x="4271434" y="1927334"/>
            <a:ext cx="3649133" cy="4333767"/>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ruta 10">
            <a:extLst>
              <a:ext uri="{FF2B5EF4-FFF2-40B4-BE49-F238E27FC236}">
                <a16:creationId xmlns:a16="http://schemas.microsoft.com/office/drawing/2014/main" id="{4EFE0558-AA4C-1E4C-A81E-9B60423950C3}"/>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2" name="Platshållare för sidfot 6">
            <a:extLst>
              <a:ext uri="{FF2B5EF4-FFF2-40B4-BE49-F238E27FC236}">
                <a16:creationId xmlns:a16="http://schemas.microsoft.com/office/drawing/2014/main" id="{069A7DAD-056B-3C43-ADEE-4DC11BE3247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079725027"/>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elsida">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3825" y="4717"/>
            <a:ext cx="12191999"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pic>
        <p:nvPicPr>
          <p:cNvPr id="14" name="Bildobjekt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384563"/>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sida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1" y="0"/>
            <a:ext cx="12191999"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pic>
        <p:nvPicPr>
          <p:cNvPr id="14" name="Bildobjekt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9007025"/>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elsida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0" y="0"/>
            <a:ext cx="12192000"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pic>
        <p:nvPicPr>
          <p:cNvPr id="11" name="Bildobjekt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spTree>
    <p:extLst>
      <p:ext uri="{BB962C8B-B14F-4D97-AF65-F5344CB8AC3E}">
        <p14:creationId xmlns:p14="http://schemas.microsoft.com/office/powerpoint/2010/main" val="244778311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144580958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elsida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0" y="0"/>
            <a:ext cx="12192000"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pic>
        <p:nvPicPr>
          <p:cNvPr id="14" name="Bildobjekt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6809303"/>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elsida 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0" y="0"/>
            <a:ext cx="12191999" cy="6858000"/>
          </a:xfrm>
          <a:prstGeom prst="rect">
            <a:avLst/>
          </a:prstGeom>
          <a:solidFill>
            <a:schemeClr val="tx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pic>
        <p:nvPicPr>
          <p:cNvPr id="14" name="Bildobjekt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9402162"/>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elsida flera avsändar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858000"/>
          </a:xfrm>
          <a:prstGeom prst="rect">
            <a:avLst/>
          </a:prstGeom>
        </p:spPr>
      </p:pic>
      <p:sp>
        <p:nvSpPr>
          <p:cNvPr id="8" name="Rektangel 2"/>
          <p:cNvSpPr/>
          <p:nvPr userDrawn="1"/>
        </p:nvSpPr>
        <p:spPr>
          <a:xfrm>
            <a:off x="1" y="0"/>
            <a:ext cx="12191999"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grpSp>
        <p:nvGrpSpPr>
          <p:cNvPr id="7" name="Grupp 1"/>
          <p:cNvGrpSpPr/>
          <p:nvPr userDrawn="1"/>
        </p:nvGrpSpPr>
        <p:grpSpPr>
          <a:xfrm>
            <a:off x="3132000" y="5580000"/>
            <a:ext cx="5928192" cy="701938"/>
            <a:chOff x="2969424" y="5295959"/>
            <a:chExt cx="5928192" cy="701938"/>
          </a:xfrm>
        </p:grpSpPr>
        <p:pic>
          <p:nvPicPr>
            <p:cNvPr id="9" name="Bildobjekt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9424" y="5475960"/>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ildobjekt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5133023" y="5475960"/>
              <a:ext cx="1732054" cy="503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objekt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a:off x="7585076" y="5295959"/>
              <a:ext cx="1312540"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390077793"/>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elsida 5">
    <p:spTree>
      <p:nvGrpSpPr>
        <p:cNvPr id="1" name=""/>
        <p:cNvGrpSpPr/>
        <p:nvPr/>
      </p:nvGrpSpPr>
      <p:grpSpPr>
        <a:xfrm>
          <a:off x="0" y="0"/>
          <a:ext cx="0" cy="0"/>
          <a:chOff x="0" y="0"/>
          <a:chExt cx="0" cy="0"/>
        </a:xfrm>
      </p:grpSpPr>
      <p:sp>
        <p:nvSpPr>
          <p:cNvPr id="3" name="Rectangle 2"/>
          <p:cNvSpPr/>
          <p:nvPr userDrawn="1"/>
        </p:nvSpPr>
        <p:spPr>
          <a:xfrm>
            <a:off x="0"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343049"/>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för att ändra text</a:t>
            </a:r>
            <a:endParaRPr lang="sv-SE" noProof="0"/>
          </a:p>
        </p:txBody>
      </p:sp>
      <p:pic>
        <p:nvPicPr>
          <p:cNvPr id="9" name="Bildobjekt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70375" y="5760001"/>
            <a:ext cx="1443600" cy="52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7240629"/>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elsida eget foto">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a:xfrm>
            <a:off x="0" y="-1588"/>
            <a:ext cx="12192000" cy="6859588"/>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sv-SE" sz="2400"/>
          </a:p>
        </p:txBody>
      </p:sp>
      <p:sp>
        <p:nvSpPr>
          <p:cNvPr id="14" name="Picture Placeholder 3"/>
          <p:cNvSpPr>
            <a:spLocks noGrp="1"/>
          </p:cNvSpPr>
          <p:nvPr>
            <p:ph type="pic" sz="quarter" idx="17" hasCustomPrompt="1"/>
          </p:nvPr>
        </p:nvSpPr>
        <p:spPr>
          <a:xfrm>
            <a:off x="0" y="-1588"/>
            <a:ext cx="12192000" cy="6859588"/>
          </a:xfrm>
          <a:solidFill>
            <a:schemeClr val="tx1"/>
          </a:solidFill>
        </p:spPr>
        <p:txBody>
          <a:bodyPr tIns="0" rIns="2880000" anchor="ctr" anchorCtr="0"/>
          <a:lstStyle>
            <a:lvl1pPr marL="0" indent="0" algn="r">
              <a:buFontTx/>
              <a:buNone/>
              <a:defRPr sz="1800">
                <a:solidFill>
                  <a:schemeClr val="bg1"/>
                </a:solidFill>
              </a:defRPr>
            </a:lvl1pPr>
          </a:lstStyle>
          <a:p>
            <a:r>
              <a:rPr lang="sv-SE"/>
              <a:t> Klicka på ikon för att infoga foto</a:t>
            </a:r>
          </a:p>
        </p:txBody>
      </p:sp>
      <p:sp>
        <p:nvSpPr>
          <p:cNvPr id="17" name="Title 1"/>
          <p:cNvSpPr>
            <a:spLocks noGrp="1"/>
          </p:cNvSpPr>
          <p:nvPr>
            <p:ph type="ctrTitle" hasCustomPrompt="1"/>
          </p:nvPr>
        </p:nvSpPr>
        <p:spPr>
          <a:xfrm>
            <a:off x="1631951" y="1671251"/>
            <a:ext cx="8928100" cy="1643010"/>
          </a:xfrm>
          <a:noFill/>
        </p:spPr>
        <p:txBody>
          <a:bodyPr lIns="0" rIns="0" anchor="b">
            <a:noAutofit/>
          </a:bodyPr>
          <a:lstStyle>
            <a:lvl1pPr algn="ctr">
              <a:lnSpc>
                <a:spcPct val="80000"/>
              </a:lnSpc>
              <a:spcBef>
                <a:spcPts val="600"/>
              </a:spcBef>
              <a:defRPr sz="6000" b="0" i="0">
                <a:solidFill>
                  <a:schemeClr val="bg1"/>
                </a:solidFill>
                <a:latin typeface="+mj-lt"/>
                <a:ea typeface="Calibri Light" charset="0"/>
                <a:cs typeface="Calibri Light" charset="0"/>
              </a:defRPr>
            </a:lvl1pPr>
          </a:lstStyle>
          <a:p>
            <a:r>
              <a:rPr lang="sv-SE" noProof="0"/>
              <a:t>Klicka för att ändra text</a:t>
            </a:r>
          </a:p>
        </p:txBody>
      </p:sp>
      <p:sp>
        <p:nvSpPr>
          <p:cNvPr id="18" name="Subtitle 2"/>
          <p:cNvSpPr>
            <a:spLocks noGrp="1"/>
          </p:cNvSpPr>
          <p:nvPr>
            <p:ph type="subTitle" idx="1" hasCustomPrompt="1"/>
          </p:nvPr>
        </p:nvSpPr>
        <p:spPr>
          <a:xfrm>
            <a:off x="1631951" y="3549783"/>
            <a:ext cx="8928100" cy="745153"/>
          </a:xfrm>
          <a:noFill/>
        </p:spPr>
        <p:txBody>
          <a:bodyPr lIns="0" rIns="0">
            <a:noAutofit/>
          </a:bodyPr>
          <a:lstStyle>
            <a:lvl1pPr marL="0" indent="0" algn="ctr">
              <a:lnSpc>
                <a:spcPct val="90000"/>
              </a:lnSpc>
              <a:spcBef>
                <a:spcPts val="6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noProof="0"/>
              <a:t>Klicka för att ändra text</a:t>
            </a:r>
          </a:p>
        </p:txBody>
      </p:sp>
      <p:sp>
        <p:nvSpPr>
          <p:cNvPr id="4" name="Picture Placeholder 3"/>
          <p:cNvSpPr>
            <a:spLocks noGrp="1"/>
          </p:cNvSpPr>
          <p:nvPr>
            <p:ph type="pic" sz="quarter" idx="18"/>
          </p:nvPr>
        </p:nvSpPr>
        <p:spPr>
          <a:xfrm>
            <a:off x="5370375" y="5760001"/>
            <a:ext cx="1443600" cy="522000"/>
          </a:xfrm>
          <a:blipFill>
            <a:blip r:embed="rId2"/>
            <a:stretch>
              <a:fillRect/>
            </a:stretch>
          </a:blipFill>
        </p:spPr>
        <p:txBody>
          <a:bodyPr/>
          <a:lstStyle>
            <a:lvl1pPr>
              <a:defRPr sz="100"/>
            </a:lvl1pPr>
          </a:lstStyle>
          <a:p>
            <a:endParaRPr lang="en-GB"/>
          </a:p>
        </p:txBody>
      </p:sp>
      <p:sp>
        <p:nvSpPr>
          <p:cNvPr id="3" name="Rectangle 2"/>
          <p:cNvSpPr/>
          <p:nvPr userDrawn="1"/>
        </p:nvSpPr>
        <p:spPr>
          <a:xfrm>
            <a:off x="12434063" y="0"/>
            <a:ext cx="2779776" cy="2617940"/>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bIns="180000" rtlCol="0" anchor="ctr"/>
          <a:lstStyle/>
          <a:p>
            <a:pPr algn="l">
              <a:lnSpc>
                <a:spcPct val="90000"/>
              </a:lnSpc>
              <a:spcBef>
                <a:spcPts val="600"/>
              </a:spcBef>
            </a:pPr>
            <a:r>
              <a:rPr lang="sv-SE" sz="1800" b="1">
                <a:solidFill>
                  <a:schemeClr val="tx1"/>
                </a:solidFill>
              </a:rPr>
              <a:t>Instruktioner för foto</a:t>
            </a:r>
          </a:p>
          <a:p>
            <a:pPr algn="l">
              <a:lnSpc>
                <a:spcPct val="90000"/>
              </a:lnSpc>
              <a:spcBef>
                <a:spcPts val="600"/>
              </a:spcBef>
            </a:pPr>
            <a:r>
              <a:rPr lang="sv-SE" sz="1600">
                <a:solidFill>
                  <a:schemeClr val="tx1"/>
                </a:solidFill>
              </a:rPr>
              <a:t>Infoga eget foto enlig foto </a:t>
            </a:r>
            <a:r>
              <a:rPr lang="sv-SE" sz="1600" err="1">
                <a:solidFill>
                  <a:schemeClr val="tx1"/>
                </a:solidFill>
              </a:rPr>
              <a:t>guidelines</a:t>
            </a:r>
            <a:r>
              <a:rPr lang="sv-SE" sz="1600">
                <a:solidFill>
                  <a:schemeClr val="tx1"/>
                </a:solidFill>
              </a:rPr>
              <a:t>. Klicka på ikonen </a:t>
            </a:r>
            <a:br>
              <a:rPr lang="sv-SE" sz="1600">
                <a:solidFill>
                  <a:schemeClr val="tx1"/>
                </a:solidFill>
              </a:rPr>
            </a:br>
            <a:r>
              <a:rPr lang="sv-SE" sz="1600">
                <a:solidFill>
                  <a:schemeClr val="tx1"/>
                </a:solidFill>
              </a:rPr>
              <a:t>i mitten för att infoga fotot.</a:t>
            </a:r>
          </a:p>
          <a:p>
            <a:pPr algn="l">
              <a:lnSpc>
                <a:spcPct val="90000"/>
              </a:lnSpc>
              <a:spcBef>
                <a:spcPts val="600"/>
              </a:spcBef>
            </a:pPr>
            <a:r>
              <a:rPr lang="sv-SE" sz="1600">
                <a:solidFill>
                  <a:schemeClr val="tx1"/>
                </a:solidFill>
              </a:rPr>
              <a:t>Högerklicka på det infogade fotot och välj formatera foto </a:t>
            </a:r>
            <a:br>
              <a:rPr lang="sv-SE" sz="1600">
                <a:solidFill>
                  <a:schemeClr val="tx1"/>
                </a:solidFill>
              </a:rPr>
            </a:br>
            <a:r>
              <a:rPr lang="sv-SE" sz="1600">
                <a:solidFill>
                  <a:schemeClr val="tx1"/>
                </a:solidFill>
              </a:rPr>
              <a:t>i menyn. Till höger i menyn sänks ljusstyrkan till </a:t>
            </a:r>
            <a:r>
              <a:rPr lang="sv-SE" sz="1600" b="0">
                <a:solidFill>
                  <a:schemeClr val="tx1"/>
                </a:solidFill>
              </a:rPr>
              <a:t>-33% </a:t>
            </a:r>
            <a:r>
              <a:rPr lang="sv-SE" sz="1600">
                <a:solidFill>
                  <a:schemeClr val="tx1"/>
                </a:solidFill>
              </a:rPr>
              <a:t>på foto för att få rätt kontrast.</a:t>
            </a:r>
          </a:p>
        </p:txBody>
      </p:sp>
      <p:grpSp>
        <p:nvGrpSpPr>
          <p:cNvPr id="6" name="Group 5"/>
          <p:cNvGrpSpPr/>
          <p:nvPr userDrawn="1"/>
        </p:nvGrpSpPr>
        <p:grpSpPr>
          <a:xfrm>
            <a:off x="12434063" y="2729266"/>
            <a:ext cx="2779776" cy="2850462"/>
            <a:chOff x="-3021837" y="2324314"/>
            <a:chExt cx="2779776" cy="2850462"/>
          </a:xfrm>
        </p:grpSpPr>
        <p:pic>
          <p:nvPicPr>
            <p:cNvPr id="9" name="Picture 8"/>
            <p:cNvPicPr>
              <a:picLocks noChangeAspect="1"/>
            </p:cNvPicPr>
            <p:nvPr userDrawn="1"/>
          </p:nvPicPr>
          <p:blipFill rotWithShape="1">
            <a:blip r:embed="rId3"/>
            <a:srcRect l="82965" t="17066" b="54295"/>
            <a:stretch/>
          </p:blipFill>
          <p:spPr>
            <a:xfrm>
              <a:off x="-3021837" y="2324314"/>
              <a:ext cx="2779776" cy="2850462"/>
            </a:xfrm>
            <a:prstGeom prst="rect">
              <a:avLst/>
            </a:prstGeom>
            <a:ln>
              <a:solidFill>
                <a:schemeClr val="bg1"/>
              </a:solidFill>
            </a:ln>
          </p:spPr>
        </p:pic>
        <p:sp>
          <p:nvSpPr>
            <p:cNvPr id="5" name="Rectangle 4"/>
            <p:cNvSpPr/>
            <p:nvPr userDrawn="1"/>
          </p:nvSpPr>
          <p:spPr>
            <a:xfrm>
              <a:off x="-2779295" y="4435197"/>
              <a:ext cx="2195096" cy="198967"/>
            </a:xfrm>
            <a:prstGeom prst="rect">
              <a:avLst/>
            </a:prstGeom>
            <a:no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sv-SE"/>
            </a:p>
          </p:txBody>
        </p:sp>
      </p:grpSp>
      <p:sp>
        <p:nvSpPr>
          <p:cNvPr id="7" name="TextBox 6"/>
          <p:cNvSpPr txBox="1"/>
          <p:nvPr userDrawn="1"/>
        </p:nvSpPr>
        <p:spPr>
          <a:xfrm>
            <a:off x="14266690" y="4885605"/>
            <a:ext cx="313154" cy="110800"/>
          </a:xfrm>
          <a:prstGeom prst="rect">
            <a:avLst/>
          </a:prstGeom>
          <a:solidFill>
            <a:schemeClr val="bg1">
              <a:lumMod val="85000"/>
            </a:schemeClr>
          </a:solidFill>
        </p:spPr>
        <p:txBody>
          <a:bodyPr wrap="none" lIns="36000" tIns="0" rIns="36000" bIns="0" rtlCol="0">
            <a:spAutoFit/>
          </a:bodyPr>
          <a:lstStyle/>
          <a:p>
            <a:pPr>
              <a:lnSpc>
                <a:spcPct val="90000"/>
              </a:lnSpc>
              <a:spcBef>
                <a:spcPts val="600"/>
              </a:spcBef>
            </a:pPr>
            <a:r>
              <a:rPr lang="sv-SE" sz="800">
                <a:latin typeface="Arial" panose="020B0604020202020204" pitchFamily="34" charset="0"/>
                <a:cs typeface="Arial" panose="020B0604020202020204" pitchFamily="34" charset="0"/>
              </a:rPr>
              <a:t>-33%</a:t>
            </a:r>
          </a:p>
        </p:txBody>
      </p:sp>
      <p:sp>
        <p:nvSpPr>
          <p:cNvPr id="12" name="TextBox 11"/>
          <p:cNvSpPr txBox="1"/>
          <p:nvPr userDrawn="1"/>
        </p:nvSpPr>
        <p:spPr>
          <a:xfrm>
            <a:off x="14266690" y="4191338"/>
            <a:ext cx="221783" cy="110800"/>
          </a:xfrm>
          <a:prstGeom prst="rect">
            <a:avLst/>
          </a:prstGeom>
          <a:solidFill>
            <a:schemeClr val="bg1">
              <a:lumMod val="85000"/>
            </a:schemeClr>
          </a:solidFill>
        </p:spPr>
        <p:txBody>
          <a:bodyPr wrap="none" lIns="36000" tIns="0" rIns="36000" bIns="0" rtlCol="0">
            <a:spAutoFit/>
          </a:bodyPr>
          <a:lstStyle/>
          <a:p>
            <a:pPr>
              <a:lnSpc>
                <a:spcPct val="90000"/>
              </a:lnSpc>
              <a:spcBef>
                <a:spcPts val="600"/>
              </a:spcBef>
            </a:pPr>
            <a:r>
              <a:rPr lang="sv-SE" sz="800">
                <a:latin typeface="Arial" panose="020B0604020202020204" pitchFamily="34" charset="0"/>
                <a:cs typeface="Arial" panose="020B0604020202020204" pitchFamily="34" charset="0"/>
              </a:rPr>
              <a:t>0%</a:t>
            </a:r>
          </a:p>
        </p:txBody>
      </p:sp>
      <p:sp>
        <p:nvSpPr>
          <p:cNvPr id="13" name="TextBox 12"/>
          <p:cNvSpPr txBox="1"/>
          <p:nvPr userDrawn="1"/>
        </p:nvSpPr>
        <p:spPr>
          <a:xfrm>
            <a:off x="14266690" y="5118439"/>
            <a:ext cx="221783" cy="110800"/>
          </a:xfrm>
          <a:prstGeom prst="rect">
            <a:avLst/>
          </a:prstGeom>
          <a:solidFill>
            <a:schemeClr val="bg1">
              <a:lumMod val="85000"/>
            </a:schemeClr>
          </a:solidFill>
        </p:spPr>
        <p:txBody>
          <a:bodyPr wrap="none" lIns="36000" tIns="0" rIns="36000" bIns="0" rtlCol="0">
            <a:spAutoFit/>
          </a:bodyPr>
          <a:lstStyle/>
          <a:p>
            <a:pPr>
              <a:lnSpc>
                <a:spcPct val="90000"/>
              </a:lnSpc>
              <a:spcBef>
                <a:spcPts val="600"/>
              </a:spcBef>
            </a:pPr>
            <a:r>
              <a:rPr lang="sv-SE" sz="800">
                <a:latin typeface="Arial" panose="020B0604020202020204" pitchFamily="34" charset="0"/>
                <a:cs typeface="Arial" panose="020B0604020202020204" pitchFamily="34" charset="0"/>
              </a:rPr>
              <a:t>0%</a:t>
            </a:r>
          </a:p>
        </p:txBody>
      </p:sp>
    </p:spTree>
    <p:extLst>
      <p:ext uri="{BB962C8B-B14F-4D97-AF65-F5344CB8AC3E}">
        <p14:creationId xmlns:p14="http://schemas.microsoft.com/office/powerpoint/2010/main" val="2312296229"/>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Kapitelindelning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2000" cy="6353175"/>
          </a:xfrm>
          <a:prstGeom prst="rect">
            <a:avLst/>
          </a:prstGeom>
        </p:spPr>
      </p:pic>
      <p:sp>
        <p:nvSpPr>
          <p:cNvPr id="9" name="Rektangel 2"/>
          <p:cNvSpPr/>
          <p:nvPr userDrawn="1"/>
        </p:nvSpPr>
        <p:spPr>
          <a:xfrm>
            <a:off x="0" y="0"/>
            <a:ext cx="12191999" cy="6354003"/>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 name="Title 1"/>
          <p:cNvSpPr>
            <a:spLocks noGrp="1"/>
          </p:cNvSpPr>
          <p:nvPr>
            <p:ph type="title" hasCustomPrompt="1"/>
          </p:nvPr>
        </p:nvSpPr>
        <p:spPr>
          <a:xfrm>
            <a:off x="878303" y="892771"/>
            <a:ext cx="8587241" cy="1248849"/>
          </a:xfrm>
        </p:spPr>
        <p:txBody>
          <a:bodyPr anchor="t" anchorCtr="0"/>
          <a:lstStyle>
            <a:lvl1pPr algn="l">
              <a:defRPr sz="4800" b="0" cap="none">
                <a:solidFill>
                  <a:schemeClr val="bg1"/>
                </a:solidFill>
                <a:latin typeface="+mj-lt"/>
              </a:defRPr>
            </a:lvl1pPr>
          </a:lstStyle>
          <a:p>
            <a:r>
              <a:rPr lang="sv-SE" noProof="0"/>
              <a:t>Klicka här för att ändra text</a:t>
            </a:r>
          </a:p>
        </p:txBody>
      </p:sp>
      <p:sp>
        <p:nvSpPr>
          <p:cNvPr id="5" name="Date Placeholder 3"/>
          <p:cNvSpPr>
            <a:spLocks noGrp="1"/>
          </p:cNvSpPr>
          <p:nvPr>
            <p:ph type="dt" sz="half" idx="14"/>
          </p:nvPr>
        </p:nvSpPr>
        <p:spPr/>
        <p:txBody>
          <a:bodyPr/>
          <a:lstStyle>
            <a:lvl1pPr>
              <a:defRPr/>
            </a:lvl1pPr>
          </a:lstStyle>
          <a:p>
            <a:pPr>
              <a:defRPr/>
            </a:pPr>
            <a:fld id="{17F8E493-614E-4316-9FA4-16A02AB44C5F}"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Tree>
    <p:extLst>
      <p:ext uri="{BB962C8B-B14F-4D97-AF65-F5344CB8AC3E}">
        <p14:creationId xmlns:p14="http://schemas.microsoft.com/office/powerpoint/2010/main" val="2185556610"/>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apitelindelning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1905"/>
            <a:ext cx="12192000" cy="6355080"/>
          </a:xfrm>
          <a:prstGeom prst="rect">
            <a:avLst/>
          </a:prstGeom>
        </p:spPr>
      </p:pic>
      <p:sp>
        <p:nvSpPr>
          <p:cNvPr id="9" name="Rektangel 2"/>
          <p:cNvSpPr/>
          <p:nvPr userDrawn="1"/>
        </p:nvSpPr>
        <p:spPr>
          <a:xfrm>
            <a:off x="0" y="0"/>
            <a:ext cx="12191999" cy="6354003"/>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2" name="Title 1"/>
          <p:cNvSpPr>
            <a:spLocks noGrp="1"/>
          </p:cNvSpPr>
          <p:nvPr>
            <p:ph type="title" hasCustomPrompt="1"/>
          </p:nvPr>
        </p:nvSpPr>
        <p:spPr>
          <a:xfrm>
            <a:off x="878303" y="892771"/>
            <a:ext cx="8587241" cy="1248849"/>
          </a:xfrm>
        </p:spPr>
        <p:txBody>
          <a:bodyPr anchor="t" anchorCtr="0"/>
          <a:lstStyle>
            <a:lvl1pPr algn="l">
              <a:defRPr sz="4800" b="0" cap="none">
                <a:solidFill>
                  <a:schemeClr val="bg1"/>
                </a:solidFill>
                <a:latin typeface="+mj-lt"/>
              </a:defRPr>
            </a:lvl1pPr>
          </a:lstStyle>
          <a:p>
            <a:r>
              <a:rPr lang="sv-SE" noProof="0"/>
              <a:t>Klicka här för att ändra text</a:t>
            </a:r>
          </a:p>
        </p:txBody>
      </p:sp>
      <p:sp>
        <p:nvSpPr>
          <p:cNvPr id="5" name="Date Placeholder 3"/>
          <p:cNvSpPr>
            <a:spLocks noGrp="1"/>
          </p:cNvSpPr>
          <p:nvPr>
            <p:ph type="dt" sz="half" idx="14"/>
          </p:nvPr>
        </p:nvSpPr>
        <p:spPr/>
        <p:txBody>
          <a:bodyPr/>
          <a:lstStyle>
            <a:lvl1pPr>
              <a:defRPr/>
            </a:lvl1pPr>
          </a:lstStyle>
          <a:p>
            <a:pPr>
              <a:defRPr/>
            </a:pPr>
            <a:fld id="{BF479953-6436-4979-A6AF-C7617BF863E4}"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Tree>
    <p:extLst>
      <p:ext uri="{BB962C8B-B14F-4D97-AF65-F5344CB8AC3E}">
        <p14:creationId xmlns:p14="http://schemas.microsoft.com/office/powerpoint/2010/main" val="3187949186"/>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apitelindelning grå">
    <p:spTree>
      <p:nvGrpSpPr>
        <p:cNvPr id="1" name=""/>
        <p:cNvGrpSpPr/>
        <p:nvPr/>
      </p:nvGrpSpPr>
      <p:grpSpPr>
        <a:xfrm>
          <a:off x="0" y="0"/>
          <a:ext cx="0" cy="0"/>
          <a:chOff x="0" y="0"/>
          <a:chExt cx="0" cy="0"/>
        </a:xfrm>
      </p:grpSpPr>
      <p:sp>
        <p:nvSpPr>
          <p:cNvPr id="3" name="Rectangle 2"/>
          <p:cNvSpPr/>
          <p:nvPr userDrawn="1"/>
        </p:nvSpPr>
        <p:spPr>
          <a:xfrm>
            <a:off x="0" y="0"/>
            <a:ext cx="12192000" cy="6353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sv-SE"/>
          </a:p>
        </p:txBody>
      </p:sp>
      <p:sp>
        <p:nvSpPr>
          <p:cNvPr id="2" name="Title 1"/>
          <p:cNvSpPr>
            <a:spLocks noGrp="1"/>
          </p:cNvSpPr>
          <p:nvPr>
            <p:ph type="title" hasCustomPrompt="1"/>
          </p:nvPr>
        </p:nvSpPr>
        <p:spPr>
          <a:xfrm>
            <a:off x="878303" y="892771"/>
            <a:ext cx="8587241" cy="1248849"/>
          </a:xfrm>
        </p:spPr>
        <p:txBody>
          <a:bodyPr anchor="t" anchorCtr="0"/>
          <a:lstStyle>
            <a:lvl1pPr algn="l">
              <a:defRPr sz="4800" b="0" cap="none">
                <a:solidFill>
                  <a:schemeClr val="bg1"/>
                </a:solidFill>
                <a:latin typeface="+mj-lt"/>
              </a:defRPr>
            </a:lvl1pPr>
          </a:lstStyle>
          <a:p>
            <a:r>
              <a:rPr lang="sv-SE" noProof="0"/>
              <a:t>Klicka här för att ändra text</a:t>
            </a:r>
          </a:p>
        </p:txBody>
      </p:sp>
      <p:sp>
        <p:nvSpPr>
          <p:cNvPr id="5" name="Date Placeholder 3"/>
          <p:cNvSpPr>
            <a:spLocks noGrp="1"/>
          </p:cNvSpPr>
          <p:nvPr>
            <p:ph type="dt" sz="half" idx="14"/>
          </p:nvPr>
        </p:nvSpPr>
        <p:spPr/>
        <p:txBody>
          <a:bodyPr/>
          <a:lstStyle>
            <a:lvl1pPr>
              <a:defRPr/>
            </a:lvl1pPr>
          </a:lstStyle>
          <a:p>
            <a:pPr>
              <a:defRPr/>
            </a:pPr>
            <a:fld id="{84774D3A-342F-4F67-B3F7-23BBA7770CF1}"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Tree>
    <p:extLst>
      <p:ext uri="{BB962C8B-B14F-4D97-AF65-F5344CB8AC3E}">
        <p14:creationId xmlns:p14="http://schemas.microsoft.com/office/powerpoint/2010/main" val="331301522"/>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Kapitelindelning Magenta">
    <p:spTree>
      <p:nvGrpSpPr>
        <p:cNvPr id="1" name=""/>
        <p:cNvGrpSpPr/>
        <p:nvPr/>
      </p:nvGrpSpPr>
      <p:grpSpPr>
        <a:xfrm>
          <a:off x="0" y="0"/>
          <a:ext cx="0" cy="0"/>
          <a:chOff x="0" y="0"/>
          <a:chExt cx="0" cy="0"/>
        </a:xfrm>
      </p:grpSpPr>
      <p:sp>
        <p:nvSpPr>
          <p:cNvPr id="3" name="Rectangle 2"/>
          <p:cNvSpPr/>
          <p:nvPr userDrawn="1"/>
        </p:nvSpPr>
        <p:spPr>
          <a:xfrm>
            <a:off x="0" y="0"/>
            <a:ext cx="12192000" cy="6353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sv-SE"/>
          </a:p>
        </p:txBody>
      </p:sp>
      <p:sp>
        <p:nvSpPr>
          <p:cNvPr id="2" name="Title 1"/>
          <p:cNvSpPr>
            <a:spLocks noGrp="1"/>
          </p:cNvSpPr>
          <p:nvPr>
            <p:ph type="title" hasCustomPrompt="1"/>
          </p:nvPr>
        </p:nvSpPr>
        <p:spPr>
          <a:xfrm>
            <a:off x="878303" y="892771"/>
            <a:ext cx="8587241" cy="1248849"/>
          </a:xfrm>
        </p:spPr>
        <p:txBody>
          <a:bodyPr anchor="t" anchorCtr="0"/>
          <a:lstStyle>
            <a:lvl1pPr algn="l">
              <a:defRPr sz="4800" b="0" cap="none">
                <a:solidFill>
                  <a:schemeClr val="bg1"/>
                </a:solidFill>
                <a:latin typeface="+mj-lt"/>
              </a:defRPr>
            </a:lvl1pPr>
          </a:lstStyle>
          <a:p>
            <a:r>
              <a:rPr lang="sv-SE" noProof="0"/>
              <a:t>Klicka här för att ändra text</a:t>
            </a:r>
          </a:p>
        </p:txBody>
      </p:sp>
      <p:sp>
        <p:nvSpPr>
          <p:cNvPr id="5" name="Date Placeholder 3"/>
          <p:cNvSpPr>
            <a:spLocks noGrp="1"/>
          </p:cNvSpPr>
          <p:nvPr>
            <p:ph type="dt" sz="half" idx="14"/>
          </p:nvPr>
        </p:nvSpPr>
        <p:spPr/>
        <p:txBody>
          <a:bodyPr/>
          <a:lstStyle>
            <a:lvl1pPr>
              <a:defRPr/>
            </a:lvl1pPr>
          </a:lstStyle>
          <a:p>
            <a:pPr>
              <a:defRPr/>
            </a:pPr>
            <a:fld id="{D424E352-0F95-4126-BFAD-3D7C27F02302}"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Tree>
    <p:extLst>
      <p:ext uri="{BB962C8B-B14F-4D97-AF65-F5344CB8AC3E}">
        <p14:creationId xmlns:p14="http://schemas.microsoft.com/office/powerpoint/2010/main" val="1612272097"/>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ldsida">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1905"/>
            <a:ext cx="12192000" cy="6355080"/>
          </a:xfrm>
          <a:prstGeom prst="rect">
            <a:avLst/>
          </a:prstGeom>
        </p:spPr>
      </p:pic>
      <p:sp>
        <p:nvSpPr>
          <p:cNvPr id="5" name="Date Placeholder 3"/>
          <p:cNvSpPr>
            <a:spLocks noGrp="1"/>
          </p:cNvSpPr>
          <p:nvPr>
            <p:ph type="dt" sz="half" idx="14"/>
          </p:nvPr>
        </p:nvSpPr>
        <p:spPr/>
        <p:txBody>
          <a:bodyPr/>
          <a:lstStyle>
            <a:lvl1pPr>
              <a:defRPr/>
            </a:lvl1pPr>
          </a:lstStyle>
          <a:p>
            <a:pPr>
              <a:defRPr/>
            </a:pPr>
            <a:fld id="{F49653F1-B7A6-401B-859E-38FE1A6AB865}"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
        <p:nvSpPr>
          <p:cNvPr id="7"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2935386249"/>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13943993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ldsida eget foto">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0" y="-1588"/>
            <a:ext cx="12192000" cy="6354763"/>
          </a:xfrm>
          <a:solidFill>
            <a:schemeClr val="bg1">
              <a:lumMod val="85000"/>
            </a:schemeClr>
          </a:solidFill>
        </p:spPr>
        <p:txBody>
          <a:bodyPr tIns="936000" anchor="ctr" anchorCtr="0"/>
          <a:lstStyle>
            <a:lvl1pPr marL="0" indent="0" algn="ctr">
              <a:buFontTx/>
              <a:buNone/>
              <a:defRPr sz="1800"/>
            </a:lvl1pPr>
          </a:lstStyle>
          <a:p>
            <a:r>
              <a:rPr lang="sv-SE"/>
              <a:t>Klicka på ikon för att infoga foto</a:t>
            </a:r>
          </a:p>
        </p:txBody>
      </p:sp>
      <p:sp>
        <p:nvSpPr>
          <p:cNvPr id="5" name="Date Placeholder 3"/>
          <p:cNvSpPr>
            <a:spLocks noGrp="1"/>
          </p:cNvSpPr>
          <p:nvPr>
            <p:ph type="dt" sz="half" idx="14"/>
          </p:nvPr>
        </p:nvSpPr>
        <p:spPr/>
        <p:txBody>
          <a:bodyPr/>
          <a:lstStyle>
            <a:lvl1pPr>
              <a:defRPr/>
            </a:lvl1pPr>
          </a:lstStyle>
          <a:p>
            <a:pPr>
              <a:defRPr/>
            </a:pPr>
            <a:fld id="{B5CEFDBC-8F73-434C-96A9-2BC256A38A0A}"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
        <p:nvSpPr>
          <p:cNvPr id="3"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165306671"/>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ldsida med rubrik">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0" y="-1588"/>
            <a:ext cx="12192000" cy="6354763"/>
          </a:xfrm>
          <a:solidFill>
            <a:schemeClr val="bg1">
              <a:lumMod val="85000"/>
            </a:schemeClr>
          </a:solidFill>
        </p:spPr>
        <p:txBody>
          <a:bodyPr tIns="936000" anchor="ctr" anchorCtr="0"/>
          <a:lstStyle>
            <a:lvl1pPr marL="0" indent="0" algn="ctr">
              <a:buFontTx/>
              <a:buNone/>
              <a:defRPr sz="1800"/>
            </a:lvl1pPr>
          </a:lstStyle>
          <a:p>
            <a:r>
              <a:rPr lang="sv-SE"/>
              <a:t>Klicka på ikon för att infoga foto</a:t>
            </a:r>
          </a:p>
        </p:txBody>
      </p:sp>
      <p:sp>
        <p:nvSpPr>
          <p:cNvPr id="5" name="Date Placeholder 3"/>
          <p:cNvSpPr>
            <a:spLocks noGrp="1"/>
          </p:cNvSpPr>
          <p:nvPr>
            <p:ph type="dt" sz="half" idx="14"/>
          </p:nvPr>
        </p:nvSpPr>
        <p:spPr/>
        <p:txBody>
          <a:bodyPr/>
          <a:lstStyle>
            <a:lvl1pPr>
              <a:defRPr/>
            </a:lvl1pPr>
          </a:lstStyle>
          <a:p>
            <a:pPr>
              <a:defRPr/>
            </a:pPr>
            <a:fld id="{326C65DB-950E-4B93-95FB-3EFBFDE9EDC7}" type="datetime1">
              <a:rPr lang="sv-SE" smtClean="0"/>
              <a:t>2025-04-07</a:t>
            </a:fld>
            <a:endParaRPr lang="sv-SE"/>
          </a:p>
        </p:txBody>
      </p:sp>
      <p:sp>
        <p:nvSpPr>
          <p:cNvPr id="6" name="Footer Placeholder 4"/>
          <p:cNvSpPr>
            <a:spLocks noGrp="1"/>
          </p:cNvSpPr>
          <p:nvPr>
            <p:ph type="ftr" sz="quarter" idx="15"/>
          </p:nvPr>
        </p:nvSpPr>
        <p:spPr/>
        <p:txBody>
          <a:bodyPr/>
          <a:lstStyle>
            <a:lvl1pPr>
              <a:defRPr/>
            </a:lvl1pPr>
          </a:lstStyle>
          <a:p>
            <a:pPr>
              <a:defRPr/>
            </a:pPr>
            <a:r>
              <a:rPr lang="sv-SE"/>
              <a:t>Presentation</a:t>
            </a:r>
          </a:p>
        </p:txBody>
      </p:sp>
      <p:sp>
        <p:nvSpPr>
          <p:cNvPr id="8" name="Slide Number Placeholder 5"/>
          <p:cNvSpPr>
            <a:spLocks noGrp="1"/>
          </p:cNvSpPr>
          <p:nvPr>
            <p:ph type="sldNum" sz="quarter" idx="16"/>
          </p:nvPr>
        </p:nvSpPr>
        <p:spPr/>
        <p:txBody>
          <a:bodyPr/>
          <a:lstStyle>
            <a:lvl1pPr>
              <a:defRPr/>
            </a:lvl1pPr>
          </a:lstStyle>
          <a:p>
            <a:pPr>
              <a:defRPr/>
            </a:pPr>
            <a:fld id="{9BE3BFEF-D0F0-5947-84C4-ED8DA18B5127}" type="slidenum">
              <a:rPr lang="sv-SE"/>
              <a:pPr>
                <a:defRPr/>
              </a:pPr>
              <a:t>‹#›</a:t>
            </a:fld>
            <a:endParaRPr lang="sv-SE"/>
          </a:p>
        </p:txBody>
      </p:sp>
      <p:sp>
        <p:nvSpPr>
          <p:cNvPr id="2" name="Title 1"/>
          <p:cNvSpPr>
            <a:spLocks noGrp="1"/>
          </p:cNvSpPr>
          <p:nvPr>
            <p:ph type="title" hasCustomPrompt="1"/>
          </p:nvPr>
        </p:nvSpPr>
        <p:spPr/>
        <p:txBody>
          <a:bodyPr/>
          <a:lstStyle>
            <a:lvl1pPr>
              <a:defRPr>
                <a:solidFill>
                  <a:schemeClr val="bg1"/>
                </a:solidFill>
              </a:defRPr>
            </a:lvl1pPr>
          </a:lstStyle>
          <a:p>
            <a:r>
              <a:rPr lang="sv-SE"/>
              <a:t>Klicka här för att ändra text</a:t>
            </a:r>
          </a:p>
        </p:txBody>
      </p:sp>
      <p:sp>
        <p:nvSpPr>
          <p:cNvPr id="7"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1947572813"/>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ubrik och bullet tex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695324" y="1720850"/>
            <a:ext cx="8677275" cy="4371975"/>
          </a:xfrm>
        </p:spPr>
        <p:txBody>
          <a:bodyPr/>
          <a:lstStyle>
            <a:lvl1pPr>
              <a:defRPr/>
            </a:lvl1pPr>
            <a:lvl2pPr>
              <a:defRPr/>
            </a:lvl2pPr>
          </a:lstStyle>
          <a:p>
            <a:pPr lvl="0"/>
            <a:r>
              <a:rPr lang="sv-SE"/>
              <a:t>Klicka här för att ändra text</a:t>
            </a:r>
          </a:p>
          <a:p>
            <a:pPr lvl="1"/>
            <a:r>
              <a:rPr lang="sv-SE"/>
              <a:t>Andra nivå</a:t>
            </a:r>
          </a:p>
        </p:txBody>
      </p:sp>
      <p:sp>
        <p:nvSpPr>
          <p:cNvPr id="6" name="Date Placeholder 3"/>
          <p:cNvSpPr>
            <a:spLocks noGrp="1"/>
          </p:cNvSpPr>
          <p:nvPr>
            <p:ph type="dt" sz="half" idx="11"/>
          </p:nvPr>
        </p:nvSpPr>
        <p:spPr/>
        <p:txBody>
          <a:bodyPr/>
          <a:lstStyle>
            <a:lvl1pPr>
              <a:defRPr/>
            </a:lvl1pPr>
          </a:lstStyle>
          <a:p>
            <a:pPr>
              <a:defRPr/>
            </a:pPr>
            <a:fld id="{9EC4E561-B2A0-43B9-9354-226792DEECED}"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4" name="Title 3"/>
          <p:cNvSpPr>
            <a:spLocks noGrp="1"/>
          </p:cNvSpPr>
          <p:nvPr>
            <p:ph type="title" hasCustomPrompt="1"/>
          </p:nvPr>
        </p:nvSpPr>
        <p:spPr/>
        <p:txBody>
          <a:bodyPr/>
          <a:lstStyle>
            <a:lvl1pPr>
              <a:defRPr/>
            </a:lvl1pPr>
          </a:lstStyle>
          <a:p>
            <a:r>
              <a:rPr lang="sv-SE"/>
              <a:t>Klicka här för att ändra text</a:t>
            </a:r>
          </a:p>
        </p:txBody>
      </p:sp>
      <p:sp>
        <p:nvSpPr>
          <p:cNvPr id="9"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3756246942"/>
      </p:ext>
    </p:extLst>
  </p:cSld>
  <p:clrMapOvr>
    <a:masterClrMapping/>
  </p:clrMapOvr>
  <p:transition spd="med">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ubrik och text">
    <p:spTree>
      <p:nvGrpSpPr>
        <p:cNvPr id="1" name=""/>
        <p:cNvGrpSpPr/>
        <p:nvPr/>
      </p:nvGrpSpPr>
      <p:grpSpPr>
        <a:xfrm>
          <a:off x="0" y="0"/>
          <a:ext cx="0" cy="0"/>
          <a:chOff x="0" y="0"/>
          <a:chExt cx="0" cy="0"/>
        </a:xfrm>
      </p:grpSpPr>
      <p:sp>
        <p:nvSpPr>
          <p:cNvPr id="6" name="Date Placeholder 3"/>
          <p:cNvSpPr>
            <a:spLocks noGrp="1"/>
          </p:cNvSpPr>
          <p:nvPr>
            <p:ph type="dt" sz="half" idx="11"/>
          </p:nvPr>
        </p:nvSpPr>
        <p:spPr/>
        <p:txBody>
          <a:bodyPr/>
          <a:lstStyle>
            <a:lvl1pPr>
              <a:defRPr/>
            </a:lvl1pPr>
          </a:lstStyle>
          <a:p>
            <a:pPr>
              <a:defRPr/>
            </a:pPr>
            <a:fld id="{DB39DE6A-55C0-4C4F-9889-E916206BDB1A}"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4" name="Title 3"/>
          <p:cNvSpPr>
            <a:spLocks noGrp="1"/>
          </p:cNvSpPr>
          <p:nvPr>
            <p:ph type="title" hasCustomPrompt="1"/>
          </p:nvPr>
        </p:nvSpPr>
        <p:spPr/>
        <p:txBody>
          <a:bodyPr/>
          <a:lstStyle>
            <a:lvl1pPr>
              <a:defRPr/>
            </a:lvl1pPr>
          </a:lstStyle>
          <a:p>
            <a:r>
              <a:rPr lang="sv-SE"/>
              <a:t>Klicka här för att ändra text</a:t>
            </a:r>
          </a:p>
        </p:txBody>
      </p:sp>
      <p:sp>
        <p:nvSpPr>
          <p:cNvPr id="9" name="Text Placeholder 4"/>
          <p:cNvSpPr>
            <a:spLocks noGrp="1"/>
          </p:cNvSpPr>
          <p:nvPr>
            <p:ph type="body" sz="quarter" idx="14" hasCustomPrompt="1"/>
          </p:nvPr>
        </p:nvSpPr>
        <p:spPr>
          <a:xfrm>
            <a:off x="695324" y="1720850"/>
            <a:ext cx="8677275" cy="4371975"/>
          </a:xfrm>
        </p:spPr>
        <p:txBody>
          <a:bodyPr/>
          <a:lstStyle>
            <a:lvl1pPr marL="0" indent="0">
              <a:buFontTx/>
              <a:buNone/>
              <a:defRPr/>
            </a:lvl1pPr>
            <a:lvl2pPr>
              <a:defRPr/>
            </a:lvl2pPr>
          </a:lstStyle>
          <a:p>
            <a:pPr lvl="0"/>
            <a:r>
              <a:rPr lang="sv-SE"/>
              <a:t>Klicka här för att ändra text</a:t>
            </a:r>
          </a:p>
        </p:txBody>
      </p:sp>
      <p:sp>
        <p:nvSpPr>
          <p:cNvPr id="10"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596684354"/>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Rubrik, bullettext med ikon">
    <p:spTree>
      <p:nvGrpSpPr>
        <p:cNvPr id="1" name=""/>
        <p:cNvGrpSpPr/>
        <p:nvPr/>
      </p:nvGrpSpPr>
      <p:grpSpPr>
        <a:xfrm>
          <a:off x="0" y="0"/>
          <a:ext cx="0" cy="0"/>
          <a:chOff x="0" y="0"/>
          <a:chExt cx="0" cy="0"/>
        </a:xfrm>
      </p:grpSpPr>
      <p:sp>
        <p:nvSpPr>
          <p:cNvPr id="10" name="Picture Placeholder 3"/>
          <p:cNvSpPr>
            <a:spLocks noGrp="1"/>
          </p:cNvSpPr>
          <p:nvPr>
            <p:ph type="pic" sz="quarter" idx="17" hasCustomPrompt="1"/>
          </p:nvPr>
        </p:nvSpPr>
        <p:spPr>
          <a:xfrm>
            <a:off x="7932600" y="1878841"/>
            <a:ext cx="2880000" cy="2880000"/>
          </a:xfrm>
          <a:noFill/>
        </p:spPr>
        <p:txBody>
          <a:bodyPr tIns="936000" anchor="ctr" anchorCtr="0"/>
          <a:lstStyle>
            <a:lvl1pPr marL="0" indent="0" algn="ctr">
              <a:buFontTx/>
              <a:buNone/>
              <a:defRPr sz="1800"/>
            </a:lvl1pPr>
          </a:lstStyle>
          <a:p>
            <a:r>
              <a:rPr lang="sv-SE"/>
              <a:t>Klicka på rutan och </a:t>
            </a:r>
            <a:br>
              <a:rPr lang="sv-SE"/>
            </a:br>
            <a:r>
              <a:rPr lang="sv-SE"/>
              <a:t>kopiera in ikon</a:t>
            </a:r>
          </a:p>
        </p:txBody>
      </p:sp>
      <p:sp>
        <p:nvSpPr>
          <p:cNvPr id="6" name="Date Placeholder 3"/>
          <p:cNvSpPr>
            <a:spLocks noGrp="1"/>
          </p:cNvSpPr>
          <p:nvPr>
            <p:ph type="dt" sz="half" idx="11"/>
          </p:nvPr>
        </p:nvSpPr>
        <p:spPr/>
        <p:txBody>
          <a:bodyPr/>
          <a:lstStyle>
            <a:lvl1pPr>
              <a:defRPr/>
            </a:lvl1pPr>
          </a:lstStyle>
          <a:p>
            <a:pPr>
              <a:defRPr/>
            </a:pPr>
            <a:fld id="{27FE1EE0-6A93-4FB9-9FC7-180F4AD0D5F1}"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2" name="Title 1"/>
          <p:cNvSpPr>
            <a:spLocks noGrp="1"/>
          </p:cNvSpPr>
          <p:nvPr>
            <p:ph type="title" hasCustomPrompt="1"/>
          </p:nvPr>
        </p:nvSpPr>
        <p:spPr>
          <a:xfrm>
            <a:off x="695325" y="540000"/>
            <a:ext cx="5400675" cy="981075"/>
          </a:xfrm>
        </p:spPr>
        <p:txBody>
          <a:bodyPr/>
          <a:lstStyle>
            <a:lvl1pPr>
              <a:defRPr/>
            </a:lvl1pPr>
          </a:lstStyle>
          <a:p>
            <a:r>
              <a:rPr lang="sv-SE"/>
              <a:t>Klicka här för att ändra text</a:t>
            </a:r>
          </a:p>
        </p:txBody>
      </p:sp>
      <p:sp>
        <p:nvSpPr>
          <p:cNvPr id="11" name="Text Placeholder 4"/>
          <p:cNvSpPr>
            <a:spLocks noGrp="1"/>
          </p:cNvSpPr>
          <p:nvPr>
            <p:ph type="body" sz="quarter" idx="14" hasCustomPrompt="1"/>
          </p:nvPr>
        </p:nvSpPr>
        <p:spPr>
          <a:xfrm>
            <a:off x="695325" y="1720850"/>
            <a:ext cx="5400676" cy="4371975"/>
          </a:xfrm>
        </p:spPr>
        <p:txBody>
          <a:bodyPr/>
          <a:lstStyle>
            <a:lvl1pPr>
              <a:defRPr/>
            </a:lvl1pPr>
            <a:lvl2pPr>
              <a:defRPr/>
            </a:lvl2pPr>
          </a:lstStyle>
          <a:p>
            <a:pPr lvl="0"/>
            <a:r>
              <a:rPr lang="sv-SE"/>
              <a:t>Klicka här för att ändra text</a:t>
            </a:r>
          </a:p>
          <a:p>
            <a:pPr lvl="1"/>
            <a:r>
              <a:rPr lang="sv-SE"/>
              <a:t>Andra nivå</a:t>
            </a:r>
          </a:p>
        </p:txBody>
      </p:sp>
      <p:sp>
        <p:nvSpPr>
          <p:cNvPr id="9"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357971055"/>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Rubrik, bullettext med foto">
    <p:spTree>
      <p:nvGrpSpPr>
        <p:cNvPr id="1" name=""/>
        <p:cNvGrpSpPr/>
        <p:nvPr/>
      </p:nvGrpSpPr>
      <p:grpSpPr>
        <a:xfrm>
          <a:off x="0" y="0"/>
          <a:ext cx="0" cy="0"/>
          <a:chOff x="0" y="0"/>
          <a:chExt cx="0" cy="0"/>
        </a:xfrm>
      </p:grpSpPr>
      <p:sp>
        <p:nvSpPr>
          <p:cNvPr id="10" name="Picture Placeholder 3"/>
          <p:cNvSpPr>
            <a:spLocks noGrp="1"/>
          </p:cNvSpPr>
          <p:nvPr>
            <p:ph type="pic" sz="quarter" idx="17" hasCustomPrompt="1"/>
          </p:nvPr>
        </p:nvSpPr>
        <p:spPr>
          <a:xfrm>
            <a:off x="6480000" y="612000"/>
            <a:ext cx="5040000" cy="5130000"/>
          </a:xfrm>
          <a:solidFill>
            <a:schemeClr val="bg1">
              <a:lumMod val="85000"/>
            </a:schemeClr>
          </a:solidFill>
        </p:spPr>
        <p:txBody>
          <a:bodyPr tIns="936000" anchor="ctr" anchorCtr="0"/>
          <a:lstStyle>
            <a:lvl1pPr marL="0" indent="0" algn="ctr">
              <a:buFontTx/>
              <a:buNone/>
              <a:defRPr sz="1800"/>
            </a:lvl1pPr>
          </a:lstStyle>
          <a:p>
            <a:r>
              <a:rPr lang="sv-SE"/>
              <a:t>Klicka på ikon för att infoga foto</a:t>
            </a:r>
          </a:p>
        </p:txBody>
      </p:sp>
      <p:sp>
        <p:nvSpPr>
          <p:cNvPr id="6" name="Date Placeholder 3"/>
          <p:cNvSpPr>
            <a:spLocks noGrp="1"/>
          </p:cNvSpPr>
          <p:nvPr>
            <p:ph type="dt" sz="half" idx="11"/>
          </p:nvPr>
        </p:nvSpPr>
        <p:spPr/>
        <p:txBody>
          <a:bodyPr/>
          <a:lstStyle>
            <a:lvl1pPr>
              <a:defRPr/>
            </a:lvl1pPr>
          </a:lstStyle>
          <a:p>
            <a:pPr>
              <a:defRPr/>
            </a:pPr>
            <a:fld id="{F84E33C8-A0FD-45C5-9E43-7A861BFCA182}"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2" name="Title 1"/>
          <p:cNvSpPr>
            <a:spLocks noGrp="1"/>
          </p:cNvSpPr>
          <p:nvPr>
            <p:ph type="title" hasCustomPrompt="1"/>
          </p:nvPr>
        </p:nvSpPr>
        <p:spPr>
          <a:xfrm>
            <a:off x="695325" y="540000"/>
            <a:ext cx="5400675" cy="981075"/>
          </a:xfrm>
        </p:spPr>
        <p:txBody>
          <a:bodyPr/>
          <a:lstStyle>
            <a:lvl1pPr>
              <a:defRPr/>
            </a:lvl1pPr>
          </a:lstStyle>
          <a:p>
            <a:r>
              <a:rPr lang="sv-SE"/>
              <a:t>Klicka här för att ändra text</a:t>
            </a:r>
          </a:p>
        </p:txBody>
      </p:sp>
      <p:sp>
        <p:nvSpPr>
          <p:cNvPr id="11" name="Text Placeholder 4"/>
          <p:cNvSpPr>
            <a:spLocks noGrp="1"/>
          </p:cNvSpPr>
          <p:nvPr>
            <p:ph type="body" sz="quarter" idx="18" hasCustomPrompt="1"/>
          </p:nvPr>
        </p:nvSpPr>
        <p:spPr>
          <a:xfrm>
            <a:off x="695324" y="1720850"/>
            <a:ext cx="5400676" cy="4371975"/>
          </a:xfrm>
        </p:spPr>
        <p:txBody>
          <a:bodyPr/>
          <a:lstStyle>
            <a:lvl1pPr>
              <a:defRPr/>
            </a:lvl1pPr>
            <a:lvl2pPr>
              <a:defRPr/>
            </a:lvl2pPr>
          </a:lstStyle>
          <a:p>
            <a:pPr lvl="0"/>
            <a:r>
              <a:rPr lang="sv-SE"/>
              <a:t>Klicka här för att ändra text</a:t>
            </a:r>
          </a:p>
          <a:p>
            <a:pPr lvl="1"/>
            <a:r>
              <a:rPr lang="sv-SE"/>
              <a:t>Andra nivå</a:t>
            </a:r>
          </a:p>
        </p:txBody>
      </p:sp>
      <p:sp>
        <p:nvSpPr>
          <p:cNvPr id="9" name="Text Placeholder 2"/>
          <p:cNvSpPr>
            <a:spLocks noGrp="1"/>
          </p:cNvSpPr>
          <p:nvPr>
            <p:ph type="body" sz="quarter" idx="19"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1155215200"/>
      </p:ext>
    </p:extLst>
  </p:cSld>
  <p:clrMapOvr>
    <a:masterClrMapping/>
  </p:clrMapOvr>
  <p:transition spd="med">
    <p:fade/>
  </p:transition>
  <p:extLst>
    <p:ext uri="{DCECCB84-F9BA-43D5-87BE-67443E8EF086}">
      <p15:sldGuideLst xmlns:p15="http://schemas.microsoft.com/office/powerpoint/2012/main">
        <p15:guide id="1" pos="576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ubrik, text med foto">
    <p:spTree>
      <p:nvGrpSpPr>
        <p:cNvPr id="1" name=""/>
        <p:cNvGrpSpPr/>
        <p:nvPr/>
      </p:nvGrpSpPr>
      <p:grpSpPr>
        <a:xfrm>
          <a:off x="0" y="0"/>
          <a:ext cx="0" cy="0"/>
          <a:chOff x="0" y="0"/>
          <a:chExt cx="0" cy="0"/>
        </a:xfrm>
      </p:grpSpPr>
      <p:sp>
        <p:nvSpPr>
          <p:cNvPr id="10" name="Picture Placeholder 3"/>
          <p:cNvSpPr>
            <a:spLocks noGrp="1"/>
          </p:cNvSpPr>
          <p:nvPr>
            <p:ph type="pic" sz="quarter" idx="17" hasCustomPrompt="1"/>
          </p:nvPr>
        </p:nvSpPr>
        <p:spPr>
          <a:xfrm>
            <a:off x="6480000" y="612000"/>
            <a:ext cx="5040000" cy="5130000"/>
          </a:xfrm>
          <a:solidFill>
            <a:schemeClr val="bg1">
              <a:lumMod val="85000"/>
            </a:schemeClr>
          </a:solidFill>
        </p:spPr>
        <p:txBody>
          <a:bodyPr tIns="936000" anchor="ctr" anchorCtr="0"/>
          <a:lstStyle>
            <a:lvl1pPr marL="0" indent="0" algn="ctr">
              <a:buFontTx/>
              <a:buNone/>
              <a:defRPr sz="1800"/>
            </a:lvl1pPr>
          </a:lstStyle>
          <a:p>
            <a:r>
              <a:rPr lang="sv-SE"/>
              <a:t>Klicka på ikon för att infoga foto</a:t>
            </a:r>
          </a:p>
        </p:txBody>
      </p:sp>
      <p:sp>
        <p:nvSpPr>
          <p:cNvPr id="6" name="Date Placeholder 3"/>
          <p:cNvSpPr>
            <a:spLocks noGrp="1"/>
          </p:cNvSpPr>
          <p:nvPr>
            <p:ph type="dt" sz="half" idx="11"/>
          </p:nvPr>
        </p:nvSpPr>
        <p:spPr/>
        <p:txBody>
          <a:bodyPr/>
          <a:lstStyle>
            <a:lvl1pPr>
              <a:defRPr/>
            </a:lvl1pPr>
          </a:lstStyle>
          <a:p>
            <a:pPr>
              <a:defRPr/>
            </a:pPr>
            <a:fld id="{F84E33C8-A0FD-45C5-9E43-7A861BFCA182}"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2" name="Title 1"/>
          <p:cNvSpPr>
            <a:spLocks noGrp="1"/>
          </p:cNvSpPr>
          <p:nvPr>
            <p:ph type="title" hasCustomPrompt="1"/>
          </p:nvPr>
        </p:nvSpPr>
        <p:spPr>
          <a:xfrm>
            <a:off x="695325" y="540000"/>
            <a:ext cx="5400675" cy="981075"/>
          </a:xfrm>
        </p:spPr>
        <p:txBody>
          <a:bodyPr/>
          <a:lstStyle>
            <a:lvl1pPr>
              <a:defRPr/>
            </a:lvl1pPr>
          </a:lstStyle>
          <a:p>
            <a:r>
              <a:rPr lang="sv-SE"/>
              <a:t>Klicka här för att ändra text</a:t>
            </a:r>
          </a:p>
        </p:txBody>
      </p:sp>
      <p:sp>
        <p:nvSpPr>
          <p:cNvPr id="9" name="Text Placeholder 4"/>
          <p:cNvSpPr>
            <a:spLocks noGrp="1"/>
          </p:cNvSpPr>
          <p:nvPr>
            <p:ph type="body" sz="quarter" idx="14" hasCustomPrompt="1"/>
          </p:nvPr>
        </p:nvSpPr>
        <p:spPr>
          <a:xfrm>
            <a:off x="695324" y="1720850"/>
            <a:ext cx="5279591" cy="4371975"/>
          </a:xfrm>
        </p:spPr>
        <p:txBody>
          <a:bodyPr/>
          <a:lstStyle>
            <a:lvl1pPr marL="0" indent="0">
              <a:buFontTx/>
              <a:buNone/>
              <a:defRPr/>
            </a:lvl1pPr>
            <a:lvl2pPr>
              <a:defRPr/>
            </a:lvl2pPr>
          </a:lstStyle>
          <a:p>
            <a:pPr lvl="0"/>
            <a:r>
              <a:rPr lang="sv-SE"/>
              <a:t>Klicka här för att ändra text</a:t>
            </a:r>
          </a:p>
        </p:txBody>
      </p:sp>
      <p:sp>
        <p:nvSpPr>
          <p:cNvPr id="11"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3975326588"/>
      </p:ext>
    </p:extLst>
  </p:cSld>
  <p:clrMapOvr>
    <a:masterClrMapping/>
  </p:clrMapOvr>
  <p:transition spd="med">
    <p:fade/>
  </p:transition>
  <p:extLst>
    <p:ext uri="{DCECCB84-F9BA-43D5-87BE-67443E8EF086}">
      <p15:sldGuideLst xmlns:p15="http://schemas.microsoft.com/office/powerpoint/2012/main">
        <p15:guide id="1" pos="576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Rubrik och bullettext två kolumner">
    <p:spTree>
      <p:nvGrpSpPr>
        <p:cNvPr id="1" name=""/>
        <p:cNvGrpSpPr/>
        <p:nvPr/>
      </p:nvGrpSpPr>
      <p:grpSpPr>
        <a:xfrm>
          <a:off x="0" y="0"/>
          <a:ext cx="0" cy="0"/>
          <a:chOff x="0" y="0"/>
          <a:chExt cx="0" cy="0"/>
        </a:xfrm>
      </p:grpSpPr>
      <p:sp>
        <p:nvSpPr>
          <p:cNvPr id="8" name="Text Placeholder 4"/>
          <p:cNvSpPr>
            <a:spLocks noGrp="1"/>
          </p:cNvSpPr>
          <p:nvPr>
            <p:ph type="body" sz="quarter" idx="17" hasCustomPrompt="1"/>
          </p:nvPr>
        </p:nvSpPr>
        <p:spPr>
          <a:xfrm>
            <a:off x="695324" y="1720850"/>
            <a:ext cx="4926275" cy="4371975"/>
          </a:xfrm>
        </p:spPr>
        <p:txBody>
          <a:bodyPr/>
          <a:lstStyle>
            <a:lvl1pPr>
              <a:defRPr/>
            </a:lvl1pPr>
            <a:lvl2pPr>
              <a:defRPr/>
            </a:lvl2pPr>
          </a:lstStyle>
          <a:p>
            <a:pPr lvl="0"/>
            <a:r>
              <a:rPr lang="sv-SE"/>
              <a:t>Klicka här för att ändra text</a:t>
            </a:r>
          </a:p>
          <a:p>
            <a:pPr lvl="1"/>
            <a:r>
              <a:rPr lang="sv-SE"/>
              <a:t>Andra nivå</a:t>
            </a:r>
          </a:p>
        </p:txBody>
      </p:sp>
      <p:sp>
        <p:nvSpPr>
          <p:cNvPr id="10" name="Text Placeholder 4"/>
          <p:cNvSpPr>
            <a:spLocks noGrp="1"/>
          </p:cNvSpPr>
          <p:nvPr>
            <p:ph type="body" sz="quarter" idx="18" hasCustomPrompt="1"/>
          </p:nvPr>
        </p:nvSpPr>
        <p:spPr>
          <a:xfrm>
            <a:off x="6332036" y="1720850"/>
            <a:ext cx="4926275" cy="4371975"/>
          </a:xfrm>
        </p:spPr>
        <p:txBody>
          <a:bodyPr/>
          <a:lstStyle>
            <a:lvl1pPr>
              <a:defRPr/>
            </a:lvl1pPr>
            <a:lvl2pPr>
              <a:defRPr/>
            </a:lvl2pPr>
          </a:lstStyle>
          <a:p>
            <a:pPr lvl="0"/>
            <a:r>
              <a:rPr lang="sv-SE"/>
              <a:t>Klicka här för att ändra text</a:t>
            </a:r>
          </a:p>
          <a:p>
            <a:pPr lvl="1"/>
            <a:r>
              <a:rPr lang="sv-SE"/>
              <a:t>Andra nivå</a:t>
            </a:r>
          </a:p>
        </p:txBody>
      </p:sp>
      <p:sp>
        <p:nvSpPr>
          <p:cNvPr id="6" name="Date Placeholder 3"/>
          <p:cNvSpPr>
            <a:spLocks noGrp="1"/>
          </p:cNvSpPr>
          <p:nvPr>
            <p:ph type="dt" sz="half" idx="14"/>
          </p:nvPr>
        </p:nvSpPr>
        <p:spPr/>
        <p:txBody>
          <a:bodyPr/>
          <a:lstStyle>
            <a:lvl1pPr>
              <a:defRPr/>
            </a:lvl1pPr>
          </a:lstStyle>
          <a:p>
            <a:pPr>
              <a:defRPr/>
            </a:pPr>
            <a:fld id="{BDC84850-2293-41F1-A61E-ECCACB155422}" type="datetime1">
              <a:rPr lang="sv-SE" smtClean="0"/>
              <a:t>2025-04-07</a:t>
            </a:fld>
            <a:endParaRPr lang="sv-SE"/>
          </a:p>
        </p:txBody>
      </p:sp>
      <p:sp>
        <p:nvSpPr>
          <p:cNvPr id="7" name="Footer Placeholder 4"/>
          <p:cNvSpPr>
            <a:spLocks noGrp="1"/>
          </p:cNvSpPr>
          <p:nvPr>
            <p:ph type="ftr" sz="quarter" idx="15"/>
          </p:nvPr>
        </p:nvSpPr>
        <p:spPr/>
        <p:txBody>
          <a:bodyPr/>
          <a:lstStyle>
            <a:lvl1pPr>
              <a:defRPr/>
            </a:lvl1pPr>
          </a:lstStyle>
          <a:p>
            <a:pPr>
              <a:defRPr/>
            </a:pPr>
            <a:r>
              <a:rPr lang="sv-SE"/>
              <a:t>Presentation</a:t>
            </a:r>
          </a:p>
        </p:txBody>
      </p:sp>
      <p:sp>
        <p:nvSpPr>
          <p:cNvPr id="9" name="Slide Number Placeholder 5"/>
          <p:cNvSpPr>
            <a:spLocks noGrp="1"/>
          </p:cNvSpPr>
          <p:nvPr>
            <p:ph type="sldNum" sz="quarter" idx="16"/>
          </p:nvPr>
        </p:nvSpPr>
        <p:spPr/>
        <p:txBody>
          <a:bodyPr/>
          <a:lstStyle>
            <a:lvl1pPr>
              <a:defRPr/>
            </a:lvl1pPr>
          </a:lstStyle>
          <a:p>
            <a:pPr>
              <a:defRPr/>
            </a:pPr>
            <a:fld id="{245DB79F-B776-D941-A667-7A4C6EA02704}" type="slidenum">
              <a:rPr lang="sv-SE"/>
              <a:pPr>
                <a:defRPr/>
              </a:pPr>
              <a:t>‹#›</a:t>
            </a:fld>
            <a:endParaRPr lang="sv-SE"/>
          </a:p>
        </p:txBody>
      </p:sp>
      <p:sp>
        <p:nvSpPr>
          <p:cNvPr id="5" name="Title 4"/>
          <p:cNvSpPr>
            <a:spLocks noGrp="1"/>
          </p:cNvSpPr>
          <p:nvPr>
            <p:ph type="title" hasCustomPrompt="1"/>
          </p:nvPr>
        </p:nvSpPr>
        <p:spPr/>
        <p:txBody>
          <a:bodyPr/>
          <a:lstStyle>
            <a:lvl1pPr>
              <a:defRPr/>
            </a:lvl1pPr>
          </a:lstStyle>
          <a:p>
            <a:r>
              <a:rPr lang="sv-SE"/>
              <a:t>Klicka här för att ändra text</a:t>
            </a:r>
          </a:p>
        </p:txBody>
      </p:sp>
      <p:sp>
        <p:nvSpPr>
          <p:cNvPr id="11" name="Text Placeholder 2"/>
          <p:cNvSpPr>
            <a:spLocks noGrp="1"/>
          </p:cNvSpPr>
          <p:nvPr>
            <p:ph type="body" sz="quarter" idx="19"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285467831"/>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Rubrik och bullettext två kolumner">
    <p:spTree>
      <p:nvGrpSpPr>
        <p:cNvPr id="1" name=""/>
        <p:cNvGrpSpPr/>
        <p:nvPr/>
      </p:nvGrpSpPr>
      <p:grpSpPr>
        <a:xfrm>
          <a:off x="0" y="0"/>
          <a:ext cx="0" cy="0"/>
          <a:chOff x="0" y="0"/>
          <a:chExt cx="0" cy="0"/>
        </a:xfrm>
      </p:grpSpPr>
      <p:sp>
        <p:nvSpPr>
          <p:cNvPr id="10" name="Text Placeholder 4"/>
          <p:cNvSpPr>
            <a:spLocks noGrp="1"/>
          </p:cNvSpPr>
          <p:nvPr>
            <p:ph type="body" sz="quarter" idx="19" hasCustomPrompt="1"/>
          </p:nvPr>
        </p:nvSpPr>
        <p:spPr>
          <a:xfrm>
            <a:off x="695325" y="2201779"/>
            <a:ext cx="4926014" cy="3891046"/>
          </a:xfrm>
        </p:spPr>
        <p:txBody>
          <a:bodyPr/>
          <a:lstStyle>
            <a:lvl1pPr>
              <a:defRPr/>
            </a:lvl1pPr>
            <a:lvl2pPr>
              <a:defRPr/>
            </a:lvl2pPr>
          </a:lstStyle>
          <a:p>
            <a:pPr lvl="0"/>
            <a:r>
              <a:rPr lang="sv-SE"/>
              <a:t>Klicka här för att ändra text</a:t>
            </a:r>
          </a:p>
          <a:p>
            <a:pPr lvl="1"/>
            <a:r>
              <a:rPr lang="sv-SE"/>
              <a:t>Andra nivå</a:t>
            </a:r>
          </a:p>
        </p:txBody>
      </p:sp>
      <p:sp>
        <p:nvSpPr>
          <p:cNvPr id="13" name="Text Placeholder 4"/>
          <p:cNvSpPr>
            <a:spLocks noGrp="1"/>
          </p:cNvSpPr>
          <p:nvPr>
            <p:ph type="body" sz="quarter" idx="20" hasCustomPrompt="1"/>
          </p:nvPr>
        </p:nvSpPr>
        <p:spPr>
          <a:xfrm>
            <a:off x="6332037" y="2201779"/>
            <a:ext cx="4967788" cy="3891046"/>
          </a:xfrm>
        </p:spPr>
        <p:txBody>
          <a:bodyPr/>
          <a:lstStyle>
            <a:lvl1pPr>
              <a:defRPr/>
            </a:lvl1pPr>
            <a:lvl2pPr>
              <a:defRPr/>
            </a:lvl2pPr>
          </a:lstStyle>
          <a:p>
            <a:pPr lvl="0"/>
            <a:r>
              <a:rPr lang="sv-SE"/>
              <a:t>Klicka här för att ändra text</a:t>
            </a:r>
          </a:p>
          <a:p>
            <a:pPr lvl="1"/>
            <a:r>
              <a:rPr lang="sv-SE"/>
              <a:t>Andra nivå</a:t>
            </a:r>
          </a:p>
        </p:txBody>
      </p:sp>
      <p:sp>
        <p:nvSpPr>
          <p:cNvPr id="6" name="Date Placeholder 3"/>
          <p:cNvSpPr>
            <a:spLocks noGrp="1"/>
          </p:cNvSpPr>
          <p:nvPr>
            <p:ph type="dt" sz="half" idx="14"/>
          </p:nvPr>
        </p:nvSpPr>
        <p:spPr/>
        <p:txBody>
          <a:bodyPr/>
          <a:lstStyle>
            <a:lvl1pPr>
              <a:defRPr/>
            </a:lvl1pPr>
          </a:lstStyle>
          <a:p>
            <a:pPr>
              <a:defRPr/>
            </a:pPr>
            <a:fld id="{C33D685E-4E95-44AE-A301-FED29A26EE66}" type="datetime1">
              <a:rPr lang="sv-SE" smtClean="0"/>
              <a:t>2025-04-07</a:t>
            </a:fld>
            <a:endParaRPr lang="sv-SE"/>
          </a:p>
        </p:txBody>
      </p:sp>
      <p:sp>
        <p:nvSpPr>
          <p:cNvPr id="7" name="Footer Placeholder 4"/>
          <p:cNvSpPr>
            <a:spLocks noGrp="1"/>
          </p:cNvSpPr>
          <p:nvPr>
            <p:ph type="ftr" sz="quarter" idx="15"/>
          </p:nvPr>
        </p:nvSpPr>
        <p:spPr/>
        <p:txBody>
          <a:bodyPr/>
          <a:lstStyle>
            <a:lvl1pPr>
              <a:defRPr/>
            </a:lvl1pPr>
          </a:lstStyle>
          <a:p>
            <a:pPr>
              <a:defRPr/>
            </a:pPr>
            <a:r>
              <a:rPr lang="sv-SE"/>
              <a:t>Presentation</a:t>
            </a:r>
          </a:p>
        </p:txBody>
      </p:sp>
      <p:sp>
        <p:nvSpPr>
          <p:cNvPr id="9" name="Slide Number Placeholder 5"/>
          <p:cNvSpPr>
            <a:spLocks noGrp="1"/>
          </p:cNvSpPr>
          <p:nvPr>
            <p:ph type="sldNum" sz="quarter" idx="16"/>
          </p:nvPr>
        </p:nvSpPr>
        <p:spPr/>
        <p:txBody>
          <a:bodyPr/>
          <a:lstStyle>
            <a:lvl1pPr>
              <a:defRPr/>
            </a:lvl1pPr>
          </a:lstStyle>
          <a:p>
            <a:pPr>
              <a:defRPr/>
            </a:pPr>
            <a:fld id="{245DB79F-B776-D941-A667-7A4C6EA02704}" type="slidenum">
              <a:rPr lang="sv-SE"/>
              <a:pPr>
                <a:defRPr/>
              </a:pPr>
              <a:t>‹#›</a:t>
            </a:fld>
            <a:endParaRPr lang="sv-SE"/>
          </a:p>
        </p:txBody>
      </p:sp>
      <p:sp>
        <p:nvSpPr>
          <p:cNvPr id="11" name="Text Placeholder 10"/>
          <p:cNvSpPr>
            <a:spLocks noGrp="1"/>
          </p:cNvSpPr>
          <p:nvPr>
            <p:ph type="body" sz="quarter" idx="17" hasCustomPrompt="1"/>
          </p:nvPr>
        </p:nvSpPr>
        <p:spPr>
          <a:xfrm>
            <a:off x="695325" y="1733215"/>
            <a:ext cx="4926013" cy="372311"/>
          </a:xfrm>
        </p:spPr>
        <p:txBody>
          <a:bodyPr/>
          <a:lstStyle>
            <a:lvl1pPr marL="0" indent="0">
              <a:buFontTx/>
              <a:buNone/>
              <a:defRPr b="0" i="1"/>
            </a:lvl1pPr>
          </a:lstStyle>
          <a:p>
            <a:pPr lvl="0"/>
            <a:r>
              <a:rPr lang="sv-SE" noProof="0"/>
              <a:t>Klicka här för att ändra text</a:t>
            </a:r>
            <a:endParaRPr lang="sv-SE"/>
          </a:p>
        </p:txBody>
      </p:sp>
      <p:sp>
        <p:nvSpPr>
          <p:cNvPr id="12" name="Text Placeholder 10"/>
          <p:cNvSpPr>
            <a:spLocks noGrp="1"/>
          </p:cNvSpPr>
          <p:nvPr>
            <p:ph type="body" sz="quarter" idx="18" hasCustomPrompt="1"/>
          </p:nvPr>
        </p:nvSpPr>
        <p:spPr>
          <a:xfrm>
            <a:off x="6332037" y="1733215"/>
            <a:ext cx="4967788" cy="372311"/>
          </a:xfrm>
        </p:spPr>
        <p:txBody>
          <a:bodyPr/>
          <a:lstStyle>
            <a:lvl1pPr marL="0" indent="0">
              <a:buFontTx/>
              <a:buNone/>
              <a:defRPr b="0" i="1"/>
            </a:lvl1pPr>
          </a:lstStyle>
          <a:p>
            <a:pPr lvl="0"/>
            <a:r>
              <a:rPr lang="sv-SE" noProof="0"/>
              <a:t>Klicka här för att ändra text</a:t>
            </a:r>
            <a:endParaRPr lang="sv-SE"/>
          </a:p>
        </p:txBody>
      </p:sp>
      <p:sp>
        <p:nvSpPr>
          <p:cNvPr id="2" name="Title 1"/>
          <p:cNvSpPr>
            <a:spLocks noGrp="1"/>
          </p:cNvSpPr>
          <p:nvPr>
            <p:ph type="title" hasCustomPrompt="1"/>
          </p:nvPr>
        </p:nvSpPr>
        <p:spPr/>
        <p:txBody>
          <a:bodyPr/>
          <a:lstStyle>
            <a:lvl1pPr>
              <a:defRPr/>
            </a:lvl1pPr>
          </a:lstStyle>
          <a:p>
            <a:r>
              <a:rPr lang="sv-SE"/>
              <a:t>Klicka här för att ändra text</a:t>
            </a:r>
          </a:p>
        </p:txBody>
      </p:sp>
      <p:sp>
        <p:nvSpPr>
          <p:cNvPr id="14" name="Text Placeholder 2"/>
          <p:cNvSpPr>
            <a:spLocks noGrp="1"/>
          </p:cNvSpPr>
          <p:nvPr>
            <p:ph type="body" sz="quarter" idx="21"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4213029437"/>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ate Placeholder 3"/>
          <p:cNvSpPr>
            <a:spLocks noGrp="1"/>
          </p:cNvSpPr>
          <p:nvPr>
            <p:ph type="dt" sz="half" idx="11"/>
          </p:nvPr>
        </p:nvSpPr>
        <p:spPr/>
        <p:txBody>
          <a:bodyPr/>
          <a:lstStyle>
            <a:lvl1pPr>
              <a:defRPr/>
            </a:lvl1pPr>
          </a:lstStyle>
          <a:p>
            <a:pPr>
              <a:defRPr/>
            </a:pPr>
            <a:fld id="{701328DA-D5FF-42EC-9A76-0EC123CFEE27}" type="datetime1">
              <a:rPr lang="sv-SE" smtClean="0"/>
              <a:t>2025-04-07</a:t>
            </a:fld>
            <a:endParaRPr lang="sv-SE"/>
          </a:p>
        </p:txBody>
      </p:sp>
      <p:sp>
        <p:nvSpPr>
          <p:cNvPr id="7" name="Footer Placeholder 4"/>
          <p:cNvSpPr>
            <a:spLocks noGrp="1"/>
          </p:cNvSpPr>
          <p:nvPr>
            <p:ph type="ftr" sz="quarter" idx="12"/>
          </p:nvPr>
        </p:nvSpPr>
        <p:spPr/>
        <p:txBody>
          <a:bodyPr/>
          <a:lstStyle>
            <a:lvl1pPr>
              <a:defRPr/>
            </a:lvl1pPr>
          </a:lstStyle>
          <a:p>
            <a:pPr>
              <a:defRPr/>
            </a:pPr>
            <a:r>
              <a:rPr lang="sv-SE"/>
              <a:t>Presentation</a:t>
            </a:r>
          </a:p>
        </p:txBody>
      </p:sp>
      <p:sp>
        <p:nvSpPr>
          <p:cNvPr id="8" name="Slide Number Placeholder 5"/>
          <p:cNvSpPr>
            <a:spLocks noGrp="1"/>
          </p:cNvSpPr>
          <p:nvPr>
            <p:ph type="sldNum" sz="quarter" idx="13"/>
          </p:nvPr>
        </p:nvSpPr>
        <p:spPr/>
        <p:txBody>
          <a:bodyPr/>
          <a:lstStyle>
            <a:lvl1pPr>
              <a:defRPr/>
            </a:lvl1pPr>
          </a:lstStyle>
          <a:p>
            <a:pPr>
              <a:defRPr/>
            </a:pPr>
            <a:fld id="{5BCA53D8-D7BF-ED48-A5DE-B35EC4CD5AE9}" type="slidenum">
              <a:rPr lang="sv-SE"/>
              <a:pPr>
                <a:defRPr/>
              </a:pPr>
              <a:t>‹#›</a:t>
            </a:fld>
            <a:endParaRPr lang="sv-SE"/>
          </a:p>
        </p:txBody>
      </p:sp>
      <p:sp>
        <p:nvSpPr>
          <p:cNvPr id="4" name="Title 3"/>
          <p:cNvSpPr>
            <a:spLocks noGrp="1"/>
          </p:cNvSpPr>
          <p:nvPr>
            <p:ph type="title" hasCustomPrompt="1"/>
          </p:nvPr>
        </p:nvSpPr>
        <p:spPr/>
        <p:txBody>
          <a:bodyPr/>
          <a:lstStyle>
            <a:lvl1pPr>
              <a:defRPr/>
            </a:lvl1pPr>
          </a:lstStyle>
          <a:p>
            <a:r>
              <a:rPr lang="sv-SE"/>
              <a:t>Klicka här för att ändra text</a:t>
            </a:r>
          </a:p>
        </p:txBody>
      </p:sp>
      <p:sp>
        <p:nvSpPr>
          <p:cNvPr id="9" name="Text Placeholder 2"/>
          <p:cNvSpPr>
            <a:spLocks noGrp="1"/>
          </p:cNvSpPr>
          <p:nvPr>
            <p:ph type="body" sz="quarter" idx="18" hasCustomPrompt="1"/>
          </p:nvPr>
        </p:nvSpPr>
        <p:spPr>
          <a:xfrm>
            <a:off x="405331" y="6092825"/>
            <a:ext cx="4446588" cy="213681"/>
          </a:xfrm>
        </p:spPr>
        <p:txBody>
          <a:bodyPr anchor="ctr" anchorCtr="0"/>
          <a:lstStyle>
            <a:lvl1pPr marL="0" indent="0">
              <a:buFontTx/>
              <a:buNone/>
              <a:defRPr sz="1200">
                <a:solidFill>
                  <a:schemeClr val="tx1">
                    <a:lumMod val="75000"/>
                    <a:lumOff val="25000"/>
                  </a:schemeClr>
                </a:solidFill>
              </a:defRPr>
            </a:lvl1pPr>
            <a:lvl2pPr marL="266700" indent="0">
              <a:buNone/>
              <a:defRPr/>
            </a:lvl2pPr>
          </a:lstStyle>
          <a:p>
            <a:pPr lvl="0"/>
            <a:r>
              <a:rPr lang="sv-SE"/>
              <a:t>Källa in här</a:t>
            </a:r>
          </a:p>
        </p:txBody>
      </p:sp>
    </p:spTree>
    <p:extLst>
      <p:ext uri="{BB962C8B-B14F-4D97-AF65-F5344CB8AC3E}">
        <p14:creationId xmlns:p14="http://schemas.microsoft.com/office/powerpoint/2010/main" val="1369452158"/>
      </p:ext>
    </p:extLst>
  </p:cSld>
  <p:clrMapOvr>
    <a:masterClrMapping/>
  </p:clrMapOvr>
  <p:transition spd="med">
    <p:fade/>
  </p:transition>
  <p:extLst>
    <p:ext uri="{DCECCB84-F9BA-43D5-87BE-67443E8EF086}">
      <p15:sldGuideLst xmlns:p15="http://schemas.microsoft.com/office/powerpoint/2012/main">
        <p15:guide id="1" orient="horz" pos="3566">
          <p15:clr>
            <a:srgbClr val="FBAE40"/>
          </p15:clr>
        </p15:guide>
        <p15:guide id="2" orient="horz" pos="15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pic>
        <p:nvPicPr>
          <p:cNvPr id="2" name="Picture 1" descr="A blue and orange text&#10;&#10;Description automatically generated">
            <a:extLst>
              <a:ext uri="{FF2B5EF4-FFF2-40B4-BE49-F238E27FC236}">
                <a16:creationId xmlns:a16="http://schemas.microsoft.com/office/drawing/2014/main" id="{83D6E7E3-0F4F-5A0F-24C6-35520069089A}"/>
              </a:ext>
            </a:extLst>
          </p:cNvPr>
          <p:cNvPicPr>
            <a:picLocks noChangeAspect="1"/>
          </p:cNvPicPr>
          <p:nvPr userDrawn="1"/>
        </p:nvPicPr>
        <p:blipFill>
          <a:blip r:embed="rId2"/>
          <a:stretch>
            <a:fillRect/>
          </a:stretch>
        </p:blipFill>
        <p:spPr>
          <a:xfrm>
            <a:off x="9853706" y="6280922"/>
            <a:ext cx="748553" cy="428599"/>
          </a:xfrm>
          <a:prstGeom prst="rect">
            <a:avLst/>
          </a:prstGeom>
        </p:spPr>
      </p:pic>
    </p:spTree>
    <p:extLst>
      <p:ext uri="{BB962C8B-B14F-4D97-AF65-F5344CB8AC3E}">
        <p14:creationId xmlns:p14="http://schemas.microsoft.com/office/powerpoint/2010/main" val="120304507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vslutningsbild 1">
    <p:spTree>
      <p:nvGrpSpPr>
        <p:cNvPr id="1" name=""/>
        <p:cNvGrpSpPr/>
        <p:nvPr/>
      </p:nvGrpSpPr>
      <p:grpSpPr>
        <a:xfrm>
          <a:off x="0" y="0"/>
          <a:ext cx="0" cy="0"/>
          <a:chOff x="0" y="0"/>
          <a:chExt cx="0" cy="0"/>
        </a:xfrm>
      </p:grpSpPr>
      <p:sp>
        <p:nvSpPr>
          <p:cNvPr id="2" name="Rectangle 4"/>
          <p:cNvSpPr/>
          <p:nvPr userDrawn="1"/>
        </p:nvSpPr>
        <p:spPr>
          <a:xfrm>
            <a:off x="0" y="0"/>
            <a:ext cx="12192000" cy="6353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sp>
        <p:nvSpPr>
          <p:cNvPr id="8" name="Text Placeholder 7"/>
          <p:cNvSpPr>
            <a:spLocks noGrp="1"/>
          </p:cNvSpPr>
          <p:nvPr>
            <p:ph type="body" sz="quarter" idx="14" hasCustomPrompt="1"/>
          </p:nvPr>
        </p:nvSpPr>
        <p:spPr>
          <a:xfrm>
            <a:off x="1631950" y="1528010"/>
            <a:ext cx="8928099" cy="1917151"/>
          </a:xfrm>
        </p:spPr>
        <p:txBody>
          <a:bodyPr/>
          <a:lstStyle>
            <a:lvl1pPr marL="0" indent="0" algn="ctr">
              <a:buFontTx/>
              <a:buNone/>
              <a:defRPr sz="6000">
                <a:solidFill>
                  <a:schemeClr val="accent1"/>
                </a:solidFill>
                <a:latin typeface="+mj-lt"/>
              </a:defRPr>
            </a:lvl1pPr>
            <a:lvl2pPr marL="266700" indent="0">
              <a:buNone/>
              <a:defRPr/>
            </a:lvl2pPr>
          </a:lstStyle>
          <a:p>
            <a:pPr lvl="0"/>
            <a:r>
              <a:rPr lang="sv-SE"/>
              <a:t>Klicka här för </a:t>
            </a:r>
            <a:br>
              <a:rPr lang="sv-SE"/>
            </a:br>
            <a:r>
              <a:rPr lang="sv-SE"/>
              <a:t>att ändra text</a:t>
            </a:r>
          </a:p>
        </p:txBody>
      </p:sp>
      <p:sp>
        <p:nvSpPr>
          <p:cNvPr id="3" name="Date Placeholder 1"/>
          <p:cNvSpPr>
            <a:spLocks noGrp="1"/>
          </p:cNvSpPr>
          <p:nvPr>
            <p:ph type="dt" sz="half" idx="10"/>
          </p:nvPr>
        </p:nvSpPr>
        <p:spPr/>
        <p:txBody>
          <a:bodyPr/>
          <a:lstStyle>
            <a:lvl1pPr>
              <a:defRPr/>
            </a:lvl1pPr>
          </a:lstStyle>
          <a:p>
            <a:pPr>
              <a:defRPr/>
            </a:pPr>
            <a:fld id="{F4A4093F-E990-4792-97AC-F74F724B44DB}" type="datetime1">
              <a:rPr lang="sv-SE" smtClean="0"/>
              <a:t>2025-04-07</a:t>
            </a:fld>
            <a:endParaRPr lang="sv-SE"/>
          </a:p>
        </p:txBody>
      </p:sp>
      <p:sp>
        <p:nvSpPr>
          <p:cNvPr id="4" name="Footer Placeholder 2"/>
          <p:cNvSpPr>
            <a:spLocks noGrp="1"/>
          </p:cNvSpPr>
          <p:nvPr>
            <p:ph type="ftr" sz="quarter" idx="11"/>
          </p:nvPr>
        </p:nvSpPr>
        <p:spPr/>
        <p:txBody>
          <a:bodyPr/>
          <a:lstStyle>
            <a:lvl1pPr>
              <a:defRPr/>
            </a:lvl1pPr>
          </a:lstStyle>
          <a:p>
            <a:pPr>
              <a:defRPr/>
            </a:pPr>
            <a:r>
              <a:rPr lang="sv-SE"/>
              <a:t>Presentation</a:t>
            </a:r>
          </a:p>
        </p:txBody>
      </p:sp>
      <p:sp>
        <p:nvSpPr>
          <p:cNvPr id="5" name="Slide Number Placeholder 3"/>
          <p:cNvSpPr>
            <a:spLocks noGrp="1"/>
          </p:cNvSpPr>
          <p:nvPr>
            <p:ph type="sldNum" sz="quarter" idx="12"/>
          </p:nvPr>
        </p:nvSpPr>
        <p:spPr/>
        <p:txBody>
          <a:bodyPr/>
          <a:lstStyle>
            <a:lvl1pPr>
              <a:defRPr/>
            </a:lvl1pPr>
          </a:lstStyle>
          <a:p>
            <a:pPr>
              <a:defRPr/>
            </a:pPr>
            <a:fld id="{C0815EA4-416D-1B44-8862-0EDC69BFAC2B}" type="slidenum">
              <a:rPr lang="sv-SE"/>
              <a:pPr>
                <a:defRPr/>
              </a:pPr>
              <a:t>‹#›</a:t>
            </a:fld>
            <a:endParaRPr lang="sv-SE"/>
          </a:p>
        </p:txBody>
      </p:sp>
      <p:sp>
        <p:nvSpPr>
          <p:cNvPr id="9" name="Text Placeholder 8"/>
          <p:cNvSpPr>
            <a:spLocks noGrp="1"/>
          </p:cNvSpPr>
          <p:nvPr>
            <p:ph type="body" sz="quarter" idx="13" hasCustomPrompt="1"/>
          </p:nvPr>
        </p:nvSpPr>
        <p:spPr>
          <a:xfrm>
            <a:off x="2823369" y="3918093"/>
            <a:ext cx="6545262" cy="1962150"/>
          </a:xfrm>
        </p:spPr>
        <p:txBody>
          <a:bodyPr/>
          <a:lstStyle>
            <a:lvl1pPr marL="0" indent="0" algn="ctr">
              <a:buFontTx/>
              <a:buNone/>
              <a:defRPr/>
            </a:lvl1pPr>
            <a:lvl3pPr marL="914400" indent="0">
              <a:buNone/>
              <a:defRPr/>
            </a:lvl3pPr>
          </a:lstStyle>
          <a:p>
            <a:pPr lvl="0"/>
            <a:r>
              <a:rPr lang="sv-SE"/>
              <a:t>Klicka här för att ändra text</a:t>
            </a:r>
          </a:p>
        </p:txBody>
      </p:sp>
    </p:spTree>
    <p:extLst>
      <p:ext uri="{BB962C8B-B14F-4D97-AF65-F5344CB8AC3E}">
        <p14:creationId xmlns:p14="http://schemas.microsoft.com/office/powerpoint/2010/main" val="3869363215"/>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vslutningsbild 2">
    <p:spTree>
      <p:nvGrpSpPr>
        <p:cNvPr id="1" name=""/>
        <p:cNvGrpSpPr/>
        <p:nvPr/>
      </p:nvGrpSpPr>
      <p:grpSpPr>
        <a:xfrm>
          <a:off x="0" y="0"/>
          <a:ext cx="0" cy="0"/>
          <a:chOff x="0" y="0"/>
          <a:chExt cx="0" cy="0"/>
        </a:xfrm>
      </p:grpSpPr>
      <p:sp>
        <p:nvSpPr>
          <p:cNvPr id="2" name="Rectangle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sp>
        <p:nvSpPr>
          <p:cNvPr id="3" name="Date Placeholder 1"/>
          <p:cNvSpPr>
            <a:spLocks noGrp="1"/>
          </p:cNvSpPr>
          <p:nvPr>
            <p:ph type="dt" sz="half" idx="10"/>
          </p:nvPr>
        </p:nvSpPr>
        <p:spPr/>
        <p:txBody>
          <a:bodyPr/>
          <a:lstStyle>
            <a:lvl1pPr>
              <a:defRPr/>
            </a:lvl1pPr>
          </a:lstStyle>
          <a:p>
            <a:pPr>
              <a:defRPr/>
            </a:pPr>
            <a:fld id="{E1341704-48A5-41F8-84B0-5E897C1E0A4C}" type="datetime1">
              <a:rPr lang="sv-SE" smtClean="0"/>
              <a:t>2025-04-07</a:t>
            </a:fld>
            <a:endParaRPr lang="sv-SE"/>
          </a:p>
        </p:txBody>
      </p:sp>
      <p:sp>
        <p:nvSpPr>
          <p:cNvPr id="4" name="Footer Placeholder 2"/>
          <p:cNvSpPr>
            <a:spLocks noGrp="1"/>
          </p:cNvSpPr>
          <p:nvPr>
            <p:ph type="ftr" sz="quarter" idx="11"/>
          </p:nvPr>
        </p:nvSpPr>
        <p:spPr/>
        <p:txBody>
          <a:bodyPr/>
          <a:lstStyle>
            <a:lvl1pPr>
              <a:defRPr/>
            </a:lvl1pPr>
          </a:lstStyle>
          <a:p>
            <a:pPr>
              <a:defRPr/>
            </a:pPr>
            <a:r>
              <a:rPr lang="sv-SE"/>
              <a:t>Presentation</a:t>
            </a:r>
          </a:p>
        </p:txBody>
      </p:sp>
      <p:sp>
        <p:nvSpPr>
          <p:cNvPr id="5" name="Slide Number Placeholder 3"/>
          <p:cNvSpPr>
            <a:spLocks noGrp="1"/>
          </p:cNvSpPr>
          <p:nvPr>
            <p:ph type="sldNum" sz="quarter" idx="12"/>
          </p:nvPr>
        </p:nvSpPr>
        <p:spPr/>
        <p:txBody>
          <a:bodyPr/>
          <a:lstStyle>
            <a:lvl1pPr>
              <a:defRPr/>
            </a:lvl1pPr>
          </a:lstStyle>
          <a:p>
            <a:pPr>
              <a:defRPr/>
            </a:pPr>
            <a:fld id="{C0815EA4-416D-1B44-8862-0EDC69BFAC2B}" type="slidenum">
              <a:rPr lang="sv-SE"/>
              <a:pPr>
                <a:defRPr/>
              </a:pPr>
              <a:t>‹#›</a:t>
            </a:fld>
            <a:endParaRPr lang="sv-SE"/>
          </a:p>
        </p:txBody>
      </p:sp>
      <p:sp>
        <p:nvSpPr>
          <p:cNvPr id="9" name="Text Placeholder 8"/>
          <p:cNvSpPr>
            <a:spLocks noGrp="1"/>
          </p:cNvSpPr>
          <p:nvPr>
            <p:ph type="body" sz="quarter" idx="13" hasCustomPrompt="1"/>
          </p:nvPr>
        </p:nvSpPr>
        <p:spPr>
          <a:xfrm>
            <a:off x="2823369" y="3918093"/>
            <a:ext cx="6545262" cy="1962150"/>
          </a:xfrm>
        </p:spPr>
        <p:txBody>
          <a:bodyPr/>
          <a:lstStyle>
            <a:lvl1pPr marL="0" indent="0" algn="ctr">
              <a:buFontTx/>
              <a:buNone/>
              <a:defRPr/>
            </a:lvl1pPr>
            <a:lvl3pPr marL="914400" indent="0">
              <a:buNone/>
              <a:defRPr/>
            </a:lvl3pPr>
          </a:lstStyle>
          <a:p>
            <a:pPr lvl="0"/>
            <a:r>
              <a:rPr lang="sv-SE"/>
              <a:t>Klicka här för att ändra text</a:t>
            </a:r>
          </a:p>
        </p:txBody>
      </p:sp>
      <p:sp>
        <p:nvSpPr>
          <p:cNvPr id="8" name="Text Placeholder 7"/>
          <p:cNvSpPr>
            <a:spLocks noGrp="1"/>
          </p:cNvSpPr>
          <p:nvPr>
            <p:ph type="body" sz="quarter" idx="14" hasCustomPrompt="1"/>
          </p:nvPr>
        </p:nvSpPr>
        <p:spPr>
          <a:xfrm>
            <a:off x="1631950" y="1528010"/>
            <a:ext cx="8928099" cy="1917151"/>
          </a:xfrm>
        </p:spPr>
        <p:txBody>
          <a:bodyPr/>
          <a:lstStyle>
            <a:lvl1pPr marL="0" indent="0" algn="ctr">
              <a:buFontTx/>
              <a:buNone/>
              <a:defRPr sz="6000">
                <a:solidFill>
                  <a:schemeClr val="accent1"/>
                </a:solidFill>
                <a:latin typeface="+mj-lt"/>
              </a:defRPr>
            </a:lvl1pPr>
            <a:lvl2pPr marL="266700" indent="0">
              <a:buNone/>
              <a:defRPr/>
            </a:lvl2pPr>
          </a:lstStyle>
          <a:p>
            <a:pPr lvl="0"/>
            <a:r>
              <a:rPr lang="sv-SE"/>
              <a:t>Klicka här för </a:t>
            </a:r>
            <a:br>
              <a:rPr lang="sv-SE"/>
            </a:br>
            <a:r>
              <a:rPr lang="sv-SE"/>
              <a:t>att ändra text</a:t>
            </a:r>
          </a:p>
        </p:txBody>
      </p:sp>
    </p:spTree>
    <p:extLst>
      <p:ext uri="{BB962C8B-B14F-4D97-AF65-F5344CB8AC3E}">
        <p14:creationId xmlns:p14="http://schemas.microsoft.com/office/powerpoint/2010/main" val="3898839653"/>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vslutningsbild 3">
    <p:spTree>
      <p:nvGrpSpPr>
        <p:cNvPr id="1" name=""/>
        <p:cNvGrpSpPr/>
        <p:nvPr/>
      </p:nvGrpSpPr>
      <p:grpSpPr>
        <a:xfrm>
          <a:off x="0" y="0"/>
          <a:ext cx="0" cy="0"/>
          <a:chOff x="0" y="0"/>
          <a:chExt cx="0" cy="0"/>
        </a:xfrm>
      </p:grpSpPr>
      <p:sp>
        <p:nvSpPr>
          <p:cNvPr id="7" name="Rectangle 6"/>
          <p:cNvSpPr/>
          <p:nvPr userDrawn="1"/>
        </p:nvSpPr>
        <p:spPr>
          <a:xfrm>
            <a:off x="0" y="0"/>
            <a:ext cx="12192000" cy="63531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pPr>
            <a:endParaRPr lang="sv-SE"/>
          </a:p>
        </p:txBody>
      </p:sp>
      <p:sp>
        <p:nvSpPr>
          <p:cNvPr id="3" name="Date Placeholder 1"/>
          <p:cNvSpPr>
            <a:spLocks noGrp="1"/>
          </p:cNvSpPr>
          <p:nvPr>
            <p:ph type="dt" sz="half" idx="10"/>
          </p:nvPr>
        </p:nvSpPr>
        <p:spPr/>
        <p:txBody>
          <a:bodyPr/>
          <a:lstStyle>
            <a:lvl1pPr>
              <a:defRPr/>
            </a:lvl1pPr>
          </a:lstStyle>
          <a:p>
            <a:pPr>
              <a:defRPr/>
            </a:pPr>
            <a:fld id="{1EFD1500-D09C-4F3D-ACA4-F72F11D2F411}" type="datetime1">
              <a:rPr lang="sv-SE" smtClean="0"/>
              <a:t>2025-04-07</a:t>
            </a:fld>
            <a:endParaRPr lang="sv-SE"/>
          </a:p>
        </p:txBody>
      </p:sp>
      <p:sp>
        <p:nvSpPr>
          <p:cNvPr id="4" name="Footer Placeholder 2"/>
          <p:cNvSpPr>
            <a:spLocks noGrp="1"/>
          </p:cNvSpPr>
          <p:nvPr>
            <p:ph type="ftr" sz="quarter" idx="11"/>
          </p:nvPr>
        </p:nvSpPr>
        <p:spPr/>
        <p:txBody>
          <a:bodyPr/>
          <a:lstStyle>
            <a:lvl1pPr>
              <a:defRPr/>
            </a:lvl1pPr>
          </a:lstStyle>
          <a:p>
            <a:pPr>
              <a:defRPr/>
            </a:pPr>
            <a:r>
              <a:rPr lang="sv-SE"/>
              <a:t>Presentation</a:t>
            </a:r>
          </a:p>
        </p:txBody>
      </p:sp>
      <p:sp>
        <p:nvSpPr>
          <p:cNvPr id="5" name="Slide Number Placeholder 3"/>
          <p:cNvSpPr>
            <a:spLocks noGrp="1"/>
          </p:cNvSpPr>
          <p:nvPr>
            <p:ph type="sldNum" sz="quarter" idx="12"/>
          </p:nvPr>
        </p:nvSpPr>
        <p:spPr/>
        <p:txBody>
          <a:bodyPr/>
          <a:lstStyle>
            <a:lvl1pPr>
              <a:defRPr/>
            </a:lvl1pPr>
          </a:lstStyle>
          <a:p>
            <a:pPr>
              <a:defRPr/>
            </a:pPr>
            <a:fld id="{C0815EA4-416D-1B44-8862-0EDC69BFAC2B}" type="slidenum">
              <a:rPr lang="sv-SE"/>
              <a:pPr>
                <a:defRPr/>
              </a:pPr>
              <a:t>‹#›</a:t>
            </a:fld>
            <a:endParaRPr lang="sv-SE"/>
          </a:p>
        </p:txBody>
      </p:sp>
      <p:sp>
        <p:nvSpPr>
          <p:cNvPr id="9" name="Text Placeholder 8"/>
          <p:cNvSpPr>
            <a:spLocks noGrp="1"/>
          </p:cNvSpPr>
          <p:nvPr>
            <p:ph type="body" sz="quarter" idx="13" hasCustomPrompt="1"/>
          </p:nvPr>
        </p:nvSpPr>
        <p:spPr>
          <a:xfrm>
            <a:off x="2823369" y="3918093"/>
            <a:ext cx="6545262" cy="1962150"/>
          </a:xfrm>
        </p:spPr>
        <p:txBody>
          <a:bodyPr/>
          <a:lstStyle>
            <a:lvl1pPr marL="0" indent="0" algn="ctr">
              <a:buFontTx/>
              <a:buNone/>
              <a:defRPr>
                <a:solidFill>
                  <a:schemeClr val="bg1"/>
                </a:solidFill>
              </a:defRPr>
            </a:lvl1pPr>
            <a:lvl3pPr marL="914400" indent="0">
              <a:buNone/>
              <a:defRPr/>
            </a:lvl3pPr>
          </a:lstStyle>
          <a:p>
            <a:pPr lvl="0"/>
            <a:r>
              <a:rPr lang="sv-SE"/>
              <a:t>Klicka här för att ändra text</a:t>
            </a:r>
          </a:p>
        </p:txBody>
      </p:sp>
      <p:sp>
        <p:nvSpPr>
          <p:cNvPr id="8" name="Text Placeholder 7"/>
          <p:cNvSpPr>
            <a:spLocks noGrp="1"/>
          </p:cNvSpPr>
          <p:nvPr>
            <p:ph type="body" sz="quarter" idx="14" hasCustomPrompt="1"/>
          </p:nvPr>
        </p:nvSpPr>
        <p:spPr>
          <a:xfrm>
            <a:off x="1631950" y="1528010"/>
            <a:ext cx="8928099" cy="1917151"/>
          </a:xfrm>
        </p:spPr>
        <p:txBody>
          <a:bodyPr/>
          <a:lstStyle>
            <a:lvl1pPr marL="0" indent="0" algn="ctr">
              <a:buFontTx/>
              <a:buNone/>
              <a:defRPr sz="6000">
                <a:solidFill>
                  <a:schemeClr val="bg1"/>
                </a:solidFill>
                <a:latin typeface="+mj-lt"/>
              </a:defRPr>
            </a:lvl1pPr>
            <a:lvl2pPr marL="266700" indent="0">
              <a:buNone/>
              <a:defRPr/>
            </a:lvl2pPr>
          </a:lstStyle>
          <a:p>
            <a:pPr lvl="0"/>
            <a:r>
              <a:rPr lang="sv-SE"/>
              <a:t>Klicka här för </a:t>
            </a:r>
            <a:br>
              <a:rPr lang="sv-SE"/>
            </a:br>
            <a:r>
              <a:rPr lang="sv-SE"/>
              <a:t>att ändra text</a:t>
            </a:r>
          </a:p>
        </p:txBody>
      </p:sp>
    </p:spTree>
    <p:extLst>
      <p:ext uri="{BB962C8B-B14F-4D97-AF65-F5344CB8AC3E}">
        <p14:creationId xmlns:p14="http://schemas.microsoft.com/office/powerpoint/2010/main" val="1376723211"/>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 Statement/Insight">
    <p:bg>
      <p:bgPr>
        <a:solidFill>
          <a:schemeClr val="bg2"/>
        </a:solidFill>
        <a:effectLst/>
      </p:bgPr>
    </p:bg>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tx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D966C99-A8F4-EE49-AA84-FA7F0242F070}"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8" name="Footer">
            <a:extLst>
              <a:ext uri="{FF2B5EF4-FFF2-40B4-BE49-F238E27FC236}">
                <a16:creationId xmlns:a16="http://schemas.microsoft.com/office/drawing/2014/main" id="{F76D3661-5BD5-6848-A702-AC0A276D4C4A}"/>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2465249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1_Logotyp">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00" y="6311265"/>
            <a:ext cx="1594804" cy="325657"/>
          </a:xfrm>
          <a:prstGeom prst="rect">
            <a:avLst/>
          </a:prstGeom>
        </p:spPr>
      </p:pic>
      <p:sp>
        <p:nvSpPr>
          <p:cNvPr id="2" name="Platshållare för datum 1"/>
          <p:cNvSpPr>
            <a:spLocks noGrp="1"/>
          </p:cNvSpPr>
          <p:nvPr>
            <p:ph type="dt" sz="half" idx="10"/>
          </p:nvPr>
        </p:nvSpPr>
        <p:spPr/>
        <p:txBody>
          <a:bodyPr/>
          <a:lstStyle/>
          <a:p>
            <a:fld id="{4839F229-2278-479C-BE10-107542E5D369}" type="datetime1">
              <a:rPr lang="sv-SE" smtClean="0"/>
              <a:t>2025-04-07</a:t>
            </a:fld>
            <a:endParaRPr lang="en-US"/>
          </a:p>
        </p:txBody>
      </p:sp>
      <p:sp>
        <p:nvSpPr>
          <p:cNvPr id="3" name="Platshållare för sidfot 2"/>
          <p:cNvSpPr>
            <a:spLocks noGrp="1"/>
          </p:cNvSpPr>
          <p:nvPr>
            <p:ph type="ftr" sz="quarter" idx="11"/>
          </p:nvPr>
        </p:nvSpPr>
        <p:spPr/>
        <p:txBody>
          <a:bodyPr/>
          <a:lstStyle/>
          <a:p>
            <a:r>
              <a:rPr lang="en-US" err="1"/>
              <a:t>Sidfot</a:t>
            </a:r>
            <a:endParaRPr lang="en-US"/>
          </a:p>
        </p:txBody>
      </p:sp>
      <p:sp>
        <p:nvSpPr>
          <p:cNvPr id="4" name="Platshållare för bildnummer 3"/>
          <p:cNvSpPr>
            <a:spLocks noGrp="1"/>
          </p:cNvSpPr>
          <p:nvPr>
            <p:ph type="sldNum" sz="quarter" idx="12"/>
          </p:nvPr>
        </p:nvSpPr>
        <p:spPr/>
        <p:txBody>
          <a:bodyPr/>
          <a:lstStyle/>
          <a:p>
            <a:fld id="{EB711FBC-D166-4AB1-A3F9-BF7E013EE5B0}" type="slidenum">
              <a:rPr lang="en-US" smtClean="0"/>
              <a:pPr/>
              <a:t>‹#›</a:t>
            </a:fld>
            <a:endParaRPr lang="en-US"/>
          </a:p>
        </p:txBody>
      </p:sp>
    </p:spTree>
    <p:extLst>
      <p:ext uri="{BB962C8B-B14F-4D97-AF65-F5344CB8AC3E}">
        <p14:creationId xmlns:p14="http://schemas.microsoft.com/office/powerpoint/2010/main" val="5683757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6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
        <p:nvSpPr>
          <p:cNvPr id="2" name="Rectangle 1">
            <a:extLst>
              <a:ext uri="{FF2B5EF4-FFF2-40B4-BE49-F238E27FC236}">
                <a16:creationId xmlns:a16="http://schemas.microsoft.com/office/drawing/2014/main" id="{505BB7BA-FD89-6DD3-FD39-01C272392EA6}"/>
              </a:ext>
            </a:extLst>
          </p:cNvPr>
          <p:cNvSpPr/>
          <p:nvPr userDrawn="1"/>
        </p:nvSpPr>
        <p:spPr>
          <a:xfrm>
            <a:off x="4939748" y="6539948"/>
            <a:ext cx="2236304" cy="3279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9394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ENTSO-E empty page">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626708D0-F327-4D35-9ED5-567E0E6A6EEC}"/>
              </a:ext>
            </a:extLst>
          </p:cNvPr>
          <p:cNvSpPr>
            <a:spLocks noGrp="1"/>
          </p:cNvSpPr>
          <p:nvPr>
            <p:ph type="title" hasCustomPrompt="1"/>
          </p:nvPr>
        </p:nvSpPr>
        <p:spPr>
          <a:xfrm>
            <a:off x="479376" y="113852"/>
            <a:ext cx="11281639" cy="825489"/>
          </a:xfrm>
          <a:prstGeom prst="rect">
            <a:avLst/>
          </a:prstGeom>
        </p:spPr>
        <p:txBody>
          <a:bodyPr anchor="ctr"/>
          <a:lstStyle>
            <a:lvl1pPr>
              <a:lnSpc>
                <a:spcPts val="3200"/>
              </a:lnSpc>
              <a:defRPr sz="3000" b="1">
                <a:solidFill>
                  <a:srgbClr val="0F218B"/>
                </a:solidFill>
                <a:latin typeface="+mn-lt"/>
              </a:defRPr>
            </a:lvl1pPr>
          </a:lstStyle>
          <a:p>
            <a:r>
              <a:rPr lang="de-DE"/>
              <a:t>Title</a:t>
            </a:r>
          </a:p>
        </p:txBody>
      </p:sp>
      <p:sp>
        <p:nvSpPr>
          <p:cNvPr id="8" name="Rechteck 1">
            <a:extLst>
              <a:ext uri="{FF2B5EF4-FFF2-40B4-BE49-F238E27FC236}">
                <a16:creationId xmlns:a16="http://schemas.microsoft.com/office/drawing/2014/main" id="{1FB58BCE-1F41-47A6-9F01-28DAB02495B2}"/>
              </a:ext>
            </a:extLst>
          </p:cNvPr>
          <p:cNvSpPr/>
          <p:nvPr userDrawn="1"/>
        </p:nvSpPr>
        <p:spPr>
          <a:xfrm flipH="1">
            <a:off x="335360"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2" name="Rectangle 1">
            <a:extLst>
              <a:ext uri="{FF2B5EF4-FFF2-40B4-BE49-F238E27FC236}">
                <a16:creationId xmlns:a16="http://schemas.microsoft.com/office/drawing/2014/main" id="{CCA03926-42D5-F037-089C-5116A69E06F0}"/>
              </a:ext>
            </a:extLst>
          </p:cNvPr>
          <p:cNvSpPr/>
          <p:nvPr userDrawn="1"/>
        </p:nvSpPr>
        <p:spPr>
          <a:xfrm>
            <a:off x="4939748" y="6530009"/>
            <a:ext cx="2236304" cy="3279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53122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3634">
          <p15:clr>
            <a:srgbClr val="A4A3A4"/>
          </p15:clr>
        </p15:guide>
        <p15:guide id="4" pos="181">
          <p15:clr>
            <a:srgbClr val="A4A3A4"/>
          </p15:clr>
        </p15:guide>
        <p15:guide id="5" pos="7499">
          <p15:clr>
            <a:srgbClr val="A4A3A4"/>
          </p15:clr>
        </p15:guide>
        <p15:guide id="6" orient="horz" pos="1049">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BA0F9-4F15-8E4D-2499-304DA87597A3}"/>
              </a:ext>
            </a:extLst>
          </p:cNvPr>
          <p:cNvSpPr>
            <a:spLocks noGrp="1"/>
          </p:cNvSpPr>
          <p:nvPr>
            <p:ph type="title"/>
          </p:nvPr>
        </p:nvSpPr>
        <p:spPr>
          <a:xfrm>
            <a:off x="838200" y="1112649"/>
            <a:ext cx="10515600" cy="739532"/>
          </a:xfrm>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59F90482-700D-C465-8136-0A4376EE1A92}"/>
              </a:ext>
            </a:extLst>
          </p:cNvPr>
          <p:cNvSpPr>
            <a:spLocks noGrp="1"/>
          </p:cNvSpPr>
          <p:nvPr>
            <p:ph idx="1"/>
          </p:nvPr>
        </p:nvSpPr>
        <p:spPr>
          <a:xfrm>
            <a:off x="838200" y="2032000"/>
            <a:ext cx="10515600" cy="398578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4ADB26-DC35-193A-15B6-0FD2B5BD4EBE}"/>
              </a:ext>
            </a:extLst>
          </p:cNvPr>
          <p:cNvSpPr>
            <a:spLocks noGrp="1"/>
          </p:cNvSpPr>
          <p:nvPr>
            <p:ph type="dt" sz="half" idx="10"/>
          </p:nvPr>
        </p:nvSpPr>
        <p:spPr/>
        <p:txBody>
          <a:bodyPr/>
          <a:lstStyle>
            <a:lvl1pPr>
              <a:defRPr>
                <a:latin typeface="+mn-lt"/>
              </a:defRPr>
            </a:lvl1pPr>
          </a:lstStyle>
          <a:p>
            <a:fld id="{81E5E097-C015-490E-BCAE-961FB35D4433}" type="datetimeFigureOut">
              <a:rPr lang="en-US" smtClean="0"/>
              <a:pPr/>
              <a:t>4/7/2025</a:t>
            </a:fld>
            <a:endParaRPr lang="en-US"/>
          </a:p>
        </p:txBody>
      </p:sp>
      <p:sp>
        <p:nvSpPr>
          <p:cNvPr id="5" name="Footer Placeholder 4">
            <a:extLst>
              <a:ext uri="{FF2B5EF4-FFF2-40B4-BE49-F238E27FC236}">
                <a16:creationId xmlns:a16="http://schemas.microsoft.com/office/drawing/2014/main" id="{35333D96-0F32-7F09-1626-DF6B33A17580}"/>
              </a:ext>
            </a:extLst>
          </p:cNvPr>
          <p:cNvSpPr>
            <a:spLocks noGrp="1"/>
          </p:cNvSpPr>
          <p:nvPr>
            <p:ph type="ftr" sz="quarter" idx="11"/>
          </p:nvPr>
        </p:nvSpPr>
        <p:spPr/>
        <p:txBody>
          <a:bodyPr/>
          <a:lstStyle>
            <a:lvl1pPr>
              <a:defRPr>
                <a:latin typeface="+mn-lt"/>
              </a:defRPr>
            </a:lvl1pPr>
          </a:lstStyle>
          <a:p>
            <a:endParaRPr lang="en-US"/>
          </a:p>
        </p:txBody>
      </p:sp>
      <p:sp>
        <p:nvSpPr>
          <p:cNvPr id="6" name="Slide Number Placeholder 5">
            <a:extLst>
              <a:ext uri="{FF2B5EF4-FFF2-40B4-BE49-F238E27FC236}">
                <a16:creationId xmlns:a16="http://schemas.microsoft.com/office/drawing/2014/main" id="{8FD579DF-48BD-EF0F-F27E-FC268C26BCE2}"/>
              </a:ext>
            </a:extLst>
          </p:cNvPr>
          <p:cNvSpPr>
            <a:spLocks noGrp="1"/>
          </p:cNvSpPr>
          <p:nvPr>
            <p:ph type="sldNum" sz="quarter" idx="12"/>
          </p:nvPr>
        </p:nvSpPr>
        <p:spPr/>
        <p:txBody>
          <a:bodyPr/>
          <a:lstStyle>
            <a:lvl1pPr>
              <a:defRPr>
                <a:latin typeface="+mn-lt"/>
              </a:defRPr>
            </a:lvl1pPr>
          </a:lstStyle>
          <a:p>
            <a:fld id="{8D6F20F6-9AEE-499B-85C0-A2ED09767C8A}" type="slidenum">
              <a:rPr lang="en-US" smtClean="0"/>
              <a:pPr/>
              <a:t>‹#›</a:t>
            </a:fld>
            <a:endParaRPr lang="en-US"/>
          </a:p>
        </p:txBody>
      </p:sp>
      <p:pic>
        <p:nvPicPr>
          <p:cNvPr id="7" name="Picture 6" descr="Logo&#10;&#10;Description automatically generated">
            <a:extLst>
              <a:ext uri="{FF2B5EF4-FFF2-40B4-BE49-F238E27FC236}">
                <a16:creationId xmlns:a16="http://schemas.microsoft.com/office/drawing/2014/main" id="{A7DAEEC3-9242-2E5A-A914-245EE7EC60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54799"/>
            <a:ext cx="2526664" cy="875489"/>
          </a:xfrm>
          <a:prstGeom prst="rect">
            <a:avLst/>
          </a:prstGeom>
        </p:spPr>
      </p:pic>
      <p:pic>
        <p:nvPicPr>
          <p:cNvPr id="8" name="Picture 7" descr="A picture containing company name&#10;&#10;Description automatically generated">
            <a:extLst>
              <a:ext uri="{FF2B5EF4-FFF2-40B4-BE49-F238E27FC236}">
                <a16:creationId xmlns:a16="http://schemas.microsoft.com/office/drawing/2014/main" id="{663AE7A4-E3E5-EA23-BE00-616E0DED1C4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36220" y="103211"/>
            <a:ext cx="1828281" cy="977272"/>
          </a:xfrm>
          <a:prstGeom prst="rect">
            <a:avLst/>
          </a:prstGeom>
        </p:spPr>
      </p:pic>
    </p:spTree>
    <p:extLst>
      <p:ext uri="{BB962C8B-B14F-4D97-AF65-F5344CB8AC3E}">
        <p14:creationId xmlns:p14="http://schemas.microsoft.com/office/powerpoint/2010/main" val="486626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88595721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22619648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ContentPage-Simpl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D7A8FF-5576-4700-8E4E-78B34DA0BA14}"/>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4" name="Straight Connector 3">
            <a:extLst>
              <a:ext uri="{FF2B5EF4-FFF2-40B4-BE49-F238E27FC236}">
                <a16:creationId xmlns:a16="http://schemas.microsoft.com/office/drawing/2014/main" id="{ED35927B-2CDD-149A-67CF-A3E95A499FD0}"/>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3" name="Tijdelijke aanduiding voor inhoud 2">
            <a:extLst>
              <a:ext uri="{FF2B5EF4-FFF2-40B4-BE49-F238E27FC236}">
                <a16:creationId xmlns:a16="http://schemas.microsoft.com/office/drawing/2014/main" id="{1A2561F8-5EA4-9F7F-6D86-B9BCCB9FD094}"/>
              </a:ext>
            </a:extLst>
          </p:cNvPr>
          <p:cNvSpPr>
            <a:spLocks noGrp="1"/>
          </p:cNvSpPr>
          <p:nvPr>
            <p:ph idx="10" hasCustomPrompt="1"/>
          </p:nvPr>
        </p:nvSpPr>
        <p:spPr>
          <a:xfrm>
            <a:off x="756555" y="2218967"/>
            <a:ext cx="3133392" cy="4196687"/>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pic>
        <p:nvPicPr>
          <p:cNvPr id="15" name="Afbeelding 9">
            <a:extLst>
              <a:ext uri="{FF2B5EF4-FFF2-40B4-BE49-F238E27FC236}">
                <a16:creationId xmlns:a16="http://schemas.microsoft.com/office/drawing/2014/main" id="{D2982903-82CD-1214-4468-992295E62FA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8" name="Tijdelijke aanduiding voor inhoud 2">
            <a:extLst>
              <a:ext uri="{FF2B5EF4-FFF2-40B4-BE49-F238E27FC236}">
                <a16:creationId xmlns:a16="http://schemas.microsoft.com/office/drawing/2014/main" id="{F1BE5FF6-F4BC-7B03-1970-1AFBCBD156DC}"/>
              </a:ext>
            </a:extLst>
          </p:cNvPr>
          <p:cNvSpPr>
            <a:spLocks noGrp="1"/>
          </p:cNvSpPr>
          <p:nvPr>
            <p:ph idx="1" hasCustomPrompt="1"/>
          </p:nvPr>
        </p:nvSpPr>
        <p:spPr>
          <a:xfrm>
            <a:off x="4089399" y="2218967"/>
            <a:ext cx="7182756"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20" name="Titel 1">
            <a:extLst>
              <a:ext uri="{FF2B5EF4-FFF2-40B4-BE49-F238E27FC236}">
                <a16:creationId xmlns:a16="http://schemas.microsoft.com/office/drawing/2014/main" id="{94A05666-F05D-7446-A429-90E5C501D39E}"/>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21" name="object 2">
            <a:extLst>
              <a:ext uri="{FF2B5EF4-FFF2-40B4-BE49-F238E27FC236}">
                <a16:creationId xmlns:a16="http://schemas.microsoft.com/office/drawing/2014/main" id="{B624C766-B6F8-2B15-D9DA-AF0F4AB674F6}"/>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2" name="object 2">
            <a:extLst>
              <a:ext uri="{FF2B5EF4-FFF2-40B4-BE49-F238E27FC236}">
                <a16:creationId xmlns:a16="http://schemas.microsoft.com/office/drawing/2014/main" id="{26AB7F64-1038-F629-CADB-42710BBA3FC0}"/>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8286811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914400" indent="-4572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a:p>
            <a:pPr lvl="3"/>
            <a:r>
              <a:rPr lang="nl-NL"/>
              <a:t>	</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409473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1 column">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556C5AA-B723-1B46-A200-44A840E6773F}" type="datetime1">
              <a:rPr lang="de-DE" smtClean="0"/>
              <a:t>07.04.2025</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7" name="Content">
            <a:extLst>
              <a:ext uri="{FF2B5EF4-FFF2-40B4-BE49-F238E27FC236}">
                <a16:creationId xmlns:a16="http://schemas.microsoft.com/office/drawing/2014/main" id="{7E0D2C93-0AD3-3E6C-D51F-9BCD8E70F76D}"/>
              </a:ext>
            </a:extLst>
          </p:cNvPr>
          <p:cNvSpPr>
            <a:spLocks noGrp="1"/>
          </p:cNvSpPr>
          <p:nvPr>
            <p:ph sz="quarter" idx="13"/>
          </p:nvPr>
        </p:nvSpPr>
        <p:spPr>
          <a:xfrm>
            <a:off x="480575" y="1807200"/>
            <a:ext cx="11232000" cy="4104000"/>
          </a:xfrm>
        </p:spPr>
        <p:txBody>
          <a:bodyPr/>
          <a:lstStyle>
            <a:lvl1pPr>
              <a:defRPr b="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de-DE"/>
              <a:t>Mastertitelformat bearbeiten</a:t>
            </a:r>
          </a:p>
        </p:txBody>
      </p:sp>
    </p:spTree>
    <p:extLst>
      <p:ext uri="{BB962C8B-B14F-4D97-AF65-F5344CB8AC3E}">
        <p14:creationId xmlns:p14="http://schemas.microsoft.com/office/powerpoint/2010/main" val="2699291570"/>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F67C1-F790-C0FF-E0E7-A89D436883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4A3F96-792B-5550-D4E4-6605B0C9F9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E2CF8-86AB-8546-5E59-DEFCAC67B886}"/>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0D540F93-B60D-B56C-59EF-F496C3E153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119E00-4F90-4EEF-8AB7-8BA1322843F1}"/>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239193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Presentation</a:t>
            </a:r>
            <a:br>
              <a:rPr lang="de-DE"/>
            </a:br>
            <a:r>
              <a:rPr lang="de-DE"/>
              <a:t>may expand over two lines, click to edit</a:t>
            </a:r>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click to edit. Change picture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71707402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
        <p:nvSpPr>
          <p:cNvPr id="2" name="Tijdelijke aanduiding voor inhoud 2">
            <a:extLst>
              <a:ext uri="{FF2B5EF4-FFF2-40B4-BE49-F238E27FC236}">
                <a16:creationId xmlns:a16="http://schemas.microsoft.com/office/drawing/2014/main" id="{A0DE5CFD-891B-B508-4349-FCF75FDD5C76}"/>
              </a:ext>
            </a:extLst>
          </p:cNvPr>
          <p:cNvSpPr>
            <a:spLocks noGrp="1"/>
          </p:cNvSpPr>
          <p:nvPr>
            <p:ph idx="10" hasCustomPrompt="1"/>
          </p:nvPr>
        </p:nvSpPr>
        <p:spPr>
          <a:xfrm>
            <a:off x="756555" y="4510009"/>
            <a:ext cx="10515600" cy="175011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Tree>
    <p:extLst>
      <p:ext uri="{BB962C8B-B14F-4D97-AF65-F5344CB8AC3E}">
        <p14:creationId xmlns:p14="http://schemas.microsoft.com/office/powerpoint/2010/main" val="34894621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Page-1">
    <p:spTree>
      <p:nvGrpSpPr>
        <p:cNvPr id="1" name=""/>
        <p:cNvGrpSpPr/>
        <p:nvPr/>
      </p:nvGrpSpPr>
      <p:grpSpPr>
        <a:xfrm>
          <a:off x="0" y="0"/>
          <a:ext cx="0" cy="0"/>
          <a:chOff x="0" y="0"/>
          <a:chExt cx="0" cy="0"/>
        </a:xfrm>
      </p:grpSpPr>
      <p:pic>
        <p:nvPicPr>
          <p:cNvPr id="22" name="Afbeelding 21">
            <a:extLst>
              <a:ext uri="{FF2B5EF4-FFF2-40B4-BE49-F238E27FC236}">
                <a16:creationId xmlns:a16="http://schemas.microsoft.com/office/drawing/2014/main" id="{4A6A4D3C-46E1-B798-63F6-6C034F6C2D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672"/>
            <a:ext cx="12192000" cy="6852655"/>
          </a:xfrm>
          <a:prstGeom prst="rect">
            <a:avLst/>
          </a:prstGeom>
        </p:spPr>
      </p:pic>
      <p:sp>
        <p:nvSpPr>
          <p:cNvPr id="10" name="Rechthoek 9">
            <a:extLst>
              <a:ext uri="{FF2B5EF4-FFF2-40B4-BE49-F238E27FC236}">
                <a16:creationId xmlns:a16="http://schemas.microsoft.com/office/drawing/2014/main" id="{023DBFAB-F136-116F-2627-9D84A782AF20}"/>
              </a:ext>
            </a:extLst>
          </p:cNvPr>
          <p:cNvSpPr/>
          <p:nvPr userDrawn="1"/>
        </p:nvSpPr>
        <p:spPr>
          <a:xfrm>
            <a:off x="-1" y="0"/>
            <a:ext cx="12191999" cy="6852654"/>
          </a:xfrm>
          <a:prstGeom prst="rect">
            <a:avLst/>
          </a:prstGeom>
          <a:gradFill flip="none" rotWithShape="1">
            <a:gsLst>
              <a:gs pos="31000">
                <a:schemeClr val="bg1">
                  <a:alpha val="94238"/>
                </a:schemeClr>
              </a:gs>
              <a:gs pos="76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000"/>
          </a:p>
        </p:txBody>
      </p:sp>
      <p:sp>
        <p:nvSpPr>
          <p:cNvPr id="2" name="Titel 1">
            <a:extLst>
              <a:ext uri="{FF2B5EF4-FFF2-40B4-BE49-F238E27FC236}">
                <a16:creationId xmlns:a16="http://schemas.microsoft.com/office/drawing/2014/main" id="{FA6C8219-2BF8-1C18-65B0-6F4E53B9C889}"/>
              </a:ext>
            </a:extLst>
          </p:cNvPr>
          <p:cNvSpPr>
            <a:spLocks noGrp="1"/>
          </p:cNvSpPr>
          <p:nvPr>
            <p:ph type="ctrTitle" hasCustomPrompt="1"/>
          </p:nvPr>
        </p:nvSpPr>
        <p:spPr>
          <a:xfrm>
            <a:off x="290669" y="4910051"/>
            <a:ext cx="7726634" cy="1005840"/>
          </a:xfrm>
          <a:prstGeom prst="rect">
            <a:avLst/>
          </a:prstGeom>
        </p:spPr>
        <p:txBody>
          <a:bodyPr anchor="t">
            <a:noAutofit/>
          </a:bodyPr>
          <a:lstStyle>
            <a:lvl1pPr algn="l">
              <a:defRPr sz="4000" b="1" i="0">
                <a:solidFill>
                  <a:srgbClr val="2C3051"/>
                </a:solidFill>
                <a:latin typeface="Avenir Black" panose="02000503020000020003" pitchFamily="2" charset="0"/>
              </a:defRPr>
            </a:lvl1pPr>
          </a:lstStyle>
          <a:p>
            <a:r>
              <a:rPr lang="nl-NL"/>
              <a:t>Presentation </a:t>
            </a:r>
            <a:r>
              <a:rPr lang="nl-NL" err="1"/>
              <a:t>Title</a:t>
            </a:r>
            <a:r>
              <a:rPr lang="nl-NL"/>
              <a:t> </a:t>
            </a:r>
            <a:r>
              <a:rPr lang="nl-NL" err="1"/>
              <a:t>one</a:t>
            </a:r>
            <a:endParaRPr lang="nl-BE"/>
          </a:p>
        </p:txBody>
      </p:sp>
      <p:pic>
        <p:nvPicPr>
          <p:cNvPr id="7" name="Afbeelding 28">
            <a:extLst>
              <a:ext uri="{FF2B5EF4-FFF2-40B4-BE49-F238E27FC236}">
                <a16:creationId xmlns:a16="http://schemas.microsoft.com/office/drawing/2014/main" id="{0AD7023A-44F6-01D4-15AB-6A067CF4F86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27492947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verPage-1">
    <p:spTree>
      <p:nvGrpSpPr>
        <p:cNvPr id="1" name=""/>
        <p:cNvGrpSpPr/>
        <p:nvPr/>
      </p:nvGrpSpPr>
      <p:grpSpPr>
        <a:xfrm>
          <a:off x="0" y="0"/>
          <a:ext cx="0" cy="0"/>
          <a:chOff x="0" y="0"/>
          <a:chExt cx="0" cy="0"/>
        </a:xfrm>
      </p:grpSpPr>
      <p:pic>
        <p:nvPicPr>
          <p:cNvPr id="22" name="Afbeelding 21">
            <a:extLst>
              <a:ext uri="{FF2B5EF4-FFF2-40B4-BE49-F238E27FC236}">
                <a16:creationId xmlns:a16="http://schemas.microsoft.com/office/drawing/2014/main" id="{4A6A4D3C-46E1-B798-63F6-6C034F6C2D2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672"/>
            <a:ext cx="12192000" cy="6852655"/>
          </a:xfrm>
          <a:prstGeom prst="rect">
            <a:avLst/>
          </a:prstGeom>
        </p:spPr>
      </p:pic>
      <p:sp>
        <p:nvSpPr>
          <p:cNvPr id="10" name="Rechthoek 9">
            <a:extLst>
              <a:ext uri="{FF2B5EF4-FFF2-40B4-BE49-F238E27FC236}">
                <a16:creationId xmlns:a16="http://schemas.microsoft.com/office/drawing/2014/main" id="{023DBFAB-F136-116F-2627-9D84A782AF20}"/>
              </a:ext>
            </a:extLst>
          </p:cNvPr>
          <p:cNvSpPr/>
          <p:nvPr userDrawn="1"/>
        </p:nvSpPr>
        <p:spPr>
          <a:xfrm>
            <a:off x="-2" y="5346"/>
            <a:ext cx="12192001" cy="6852654"/>
          </a:xfrm>
          <a:prstGeom prst="rect">
            <a:avLst/>
          </a:prstGeom>
          <a:gradFill flip="none" rotWithShape="1">
            <a:gsLst>
              <a:gs pos="31000">
                <a:schemeClr val="bg1">
                  <a:alpha val="94238"/>
                </a:schemeClr>
              </a:gs>
              <a:gs pos="76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2000"/>
          </a:p>
        </p:txBody>
      </p:sp>
      <p:sp>
        <p:nvSpPr>
          <p:cNvPr id="2" name="Titel 1">
            <a:extLst>
              <a:ext uri="{FF2B5EF4-FFF2-40B4-BE49-F238E27FC236}">
                <a16:creationId xmlns:a16="http://schemas.microsoft.com/office/drawing/2014/main" id="{FA6C8219-2BF8-1C18-65B0-6F4E53B9C889}"/>
              </a:ext>
            </a:extLst>
          </p:cNvPr>
          <p:cNvSpPr>
            <a:spLocks noGrp="1"/>
          </p:cNvSpPr>
          <p:nvPr>
            <p:ph type="ctrTitle" hasCustomPrompt="1"/>
          </p:nvPr>
        </p:nvSpPr>
        <p:spPr>
          <a:xfrm>
            <a:off x="290669" y="4910051"/>
            <a:ext cx="7726634" cy="1005840"/>
          </a:xfrm>
          <a:prstGeom prst="rect">
            <a:avLst/>
          </a:prstGeom>
        </p:spPr>
        <p:txBody>
          <a:bodyPr anchor="t">
            <a:noAutofit/>
          </a:bodyPr>
          <a:lstStyle>
            <a:lvl1pPr algn="l">
              <a:defRPr sz="4000" b="1" i="0">
                <a:solidFill>
                  <a:srgbClr val="2C3051"/>
                </a:solidFill>
                <a:latin typeface="Avenir Black" panose="02000503020000020003" pitchFamily="2" charset="0"/>
              </a:defRPr>
            </a:lvl1pPr>
          </a:lstStyle>
          <a:p>
            <a:r>
              <a:rPr lang="nl-NL"/>
              <a:t>Presentation </a:t>
            </a:r>
            <a:r>
              <a:rPr lang="nl-NL" err="1"/>
              <a:t>Title</a:t>
            </a:r>
            <a:r>
              <a:rPr lang="nl-NL"/>
              <a:t> </a:t>
            </a:r>
            <a:r>
              <a:rPr lang="nl-NL" err="1"/>
              <a:t>Two</a:t>
            </a:r>
            <a:endParaRPr lang="nl-BE"/>
          </a:p>
        </p:txBody>
      </p:sp>
      <p:pic>
        <p:nvPicPr>
          <p:cNvPr id="7" name="Afbeelding 28">
            <a:extLst>
              <a:ext uri="{FF2B5EF4-FFF2-40B4-BE49-F238E27FC236}">
                <a16:creationId xmlns:a16="http://schemas.microsoft.com/office/drawing/2014/main" id="{0AD7023A-44F6-01D4-15AB-6A067CF4F86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7150628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6308" y="0"/>
            <a:ext cx="10284384"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fr-FR"/>
              <a:t>Modifiez le style du titr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444967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fr-FR"/>
              <a:t>Modifiez le style du titr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1619379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verPage-2">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D5D9F547-9670-675B-490C-BDDE9CB7FD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16170" y="0"/>
            <a:ext cx="10275830" cy="6858000"/>
          </a:xfrm>
          <a:prstGeom prst="rect">
            <a:avLst/>
          </a:prstGeom>
        </p:spPr>
      </p:pic>
      <p:sp>
        <p:nvSpPr>
          <p:cNvPr id="37" name="object 2">
            <a:extLst>
              <a:ext uri="{FF2B5EF4-FFF2-40B4-BE49-F238E27FC236}">
                <a16:creationId xmlns:a16="http://schemas.microsoft.com/office/drawing/2014/main" id="{3D2B6280-E298-1950-32ED-44F945B94DA9}"/>
              </a:ext>
            </a:extLst>
          </p:cNvPr>
          <p:cNvSpPr/>
          <p:nvPr userDrawn="1"/>
        </p:nvSpPr>
        <p:spPr>
          <a:xfrm>
            <a:off x="-15456" y="-30067"/>
            <a:ext cx="8560742" cy="7016687"/>
          </a:xfrm>
          <a:custGeom>
            <a:avLst/>
            <a:gdLst>
              <a:gd name="connsiteX0" fmla="*/ 5991028 w 5991028"/>
              <a:gd name="connsiteY0" fmla="*/ 0 h 4904003"/>
              <a:gd name="connsiteX1" fmla="*/ 0 w 5991028"/>
              <a:gd name="connsiteY1" fmla="*/ 0 h 4904003"/>
              <a:gd name="connsiteX2" fmla="*/ 783063 w 5991028"/>
              <a:gd name="connsiteY2" fmla="*/ 4904003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5991028 w 5991028"/>
              <a:gd name="connsiteY0" fmla="*/ 0 h 4904003"/>
              <a:gd name="connsiteX1" fmla="*/ 0 w 5991028"/>
              <a:gd name="connsiteY1" fmla="*/ 0 h 4904003"/>
              <a:gd name="connsiteX2" fmla="*/ 530903 w 5991028"/>
              <a:gd name="connsiteY2" fmla="*/ 4841588 h 4904003"/>
              <a:gd name="connsiteX3" fmla="*/ 803141 w 5991028"/>
              <a:gd name="connsiteY3" fmla="*/ 4904003 h 4904003"/>
              <a:gd name="connsiteX4" fmla="*/ 868407 w 5991028"/>
              <a:gd name="connsiteY4" fmla="*/ 4897516 h 4904003"/>
              <a:gd name="connsiteX5" fmla="*/ 932689 w 5991028"/>
              <a:gd name="connsiteY5" fmla="*/ 4890395 h 4904003"/>
              <a:gd name="connsiteX6" fmla="*/ 995998 w 5991028"/>
              <a:gd name="connsiteY6" fmla="*/ 4882647 h 4904003"/>
              <a:gd name="connsiteX7" fmla="*/ 1058346 w 5991028"/>
              <a:gd name="connsiteY7" fmla="*/ 4874279 h 4904003"/>
              <a:gd name="connsiteX8" fmla="*/ 1119746 w 5991028"/>
              <a:gd name="connsiteY8" fmla="*/ 4865297 h 4904003"/>
              <a:gd name="connsiteX9" fmla="*/ 1180208 w 5991028"/>
              <a:gd name="connsiteY9" fmla="*/ 4855708 h 4904003"/>
              <a:gd name="connsiteX10" fmla="*/ 1239745 w 5991028"/>
              <a:gd name="connsiteY10" fmla="*/ 4845517 h 4904003"/>
              <a:gd name="connsiteX11" fmla="*/ 1298367 w 5991028"/>
              <a:gd name="connsiteY11" fmla="*/ 4834732 h 4904003"/>
              <a:gd name="connsiteX12" fmla="*/ 1356087 w 5991028"/>
              <a:gd name="connsiteY12" fmla="*/ 4823359 h 4904003"/>
              <a:gd name="connsiteX13" fmla="*/ 1412917 w 5991028"/>
              <a:gd name="connsiteY13" fmla="*/ 4811404 h 4904003"/>
              <a:gd name="connsiteX14" fmla="*/ 1468868 w 5991028"/>
              <a:gd name="connsiteY14" fmla="*/ 4798874 h 4904003"/>
              <a:gd name="connsiteX15" fmla="*/ 1523951 w 5991028"/>
              <a:gd name="connsiteY15" fmla="*/ 4785776 h 4904003"/>
              <a:gd name="connsiteX16" fmla="*/ 1578179 w 5991028"/>
              <a:gd name="connsiteY16" fmla="*/ 4772115 h 4904003"/>
              <a:gd name="connsiteX17" fmla="*/ 1631564 w 5991028"/>
              <a:gd name="connsiteY17" fmla="*/ 4757899 h 4904003"/>
              <a:gd name="connsiteX18" fmla="*/ 1684116 w 5991028"/>
              <a:gd name="connsiteY18" fmla="*/ 4743134 h 4904003"/>
              <a:gd name="connsiteX19" fmla="*/ 1735847 w 5991028"/>
              <a:gd name="connsiteY19" fmla="*/ 4727825 h 4904003"/>
              <a:gd name="connsiteX20" fmla="*/ 1786770 w 5991028"/>
              <a:gd name="connsiteY20" fmla="*/ 4711981 h 4904003"/>
              <a:gd name="connsiteX21" fmla="*/ 1836896 w 5991028"/>
              <a:gd name="connsiteY21" fmla="*/ 4695607 h 4904003"/>
              <a:gd name="connsiteX22" fmla="*/ 1886237 w 5991028"/>
              <a:gd name="connsiteY22" fmla="*/ 4678710 h 4904003"/>
              <a:gd name="connsiteX23" fmla="*/ 1934804 w 5991028"/>
              <a:gd name="connsiteY23" fmla="*/ 4661296 h 4904003"/>
              <a:gd name="connsiteX24" fmla="*/ 1982609 w 5991028"/>
              <a:gd name="connsiteY24" fmla="*/ 4643371 h 4904003"/>
              <a:gd name="connsiteX25" fmla="*/ 2029663 w 5991028"/>
              <a:gd name="connsiteY25" fmla="*/ 4624943 h 4904003"/>
              <a:gd name="connsiteX26" fmla="*/ 2075979 w 5991028"/>
              <a:gd name="connsiteY26" fmla="*/ 4606017 h 4904003"/>
              <a:gd name="connsiteX27" fmla="*/ 2121568 w 5991028"/>
              <a:gd name="connsiteY27" fmla="*/ 4586601 h 4904003"/>
              <a:gd name="connsiteX28" fmla="*/ 2166442 w 5991028"/>
              <a:gd name="connsiteY28" fmla="*/ 4566700 h 4904003"/>
              <a:gd name="connsiteX29" fmla="*/ 2210613 w 5991028"/>
              <a:gd name="connsiteY29" fmla="*/ 4546321 h 4904003"/>
              <a:gd name="connsiteX30" fmla="*/ 2254091 w 5991028"/>
              <a:gd name="connsiteY30" fmla="*/ 4525471 h 4904003"/>
              <a:gd name="connsiteX31" fmla="*/ 2296890 w 5991028"/>
              <a:gd name="connsiteY31" fmla="*/ 4504156 h 4904003"/>
              <a:gd name="connsiteX32" fmla="*/ 2339020 w 5991028"/>
              <a:gd name="connsiteY32" fmla="*/ 4482383 h 4904003"/>
              <a:gd name="connsiteX33" fmla="*/ 2380493 w 5991028"/>
              <a:gd name="connsiteY33" fmla="*/ 4460157 h 4904003"/>
              <a:gd name="connsiteX34" fmla="*/ 2421321 w 5991028"/>
              <a:gd name="connsiteY34" fmla="*/ 4437486 h 4904003"/>
              <a:gd name="connsiteX35" fmla="*/ 2461516 w 5991028"/>
              <a:gd name="connsiteY35" fmla="*/ 4414376 h 4904003"/>
              <a:gd name="connsiteX36" fmla="*/ 2501089 w 5991028"/>
              <a:gd name="connsiteY36" fmla="*/ 4390833 h 4904003"/>
              <a:gd name="connsiteX37" fmla="*/ 2540052 w 5991028"/>
              <a:gd name="connsiteY37" fmla="*/ 4366865 h 4904003"/>
              <a:gd name="connsiteX38" fmla="*/ 2578417 w 5991028"/>
              <a:gd name="connsiteY38" fmla="*/ 4342477 h 4904003"/>
              <a:gd name="connsiteX39" fmla="*/ 2616195 w 5991028"/>
              <a:gd name="connsiteY39" fmla="*/ 4317675 h 4904003"/>
              <a:gd name="connsiteX40" fmla="*/ 2653399 w 5991028"/>
              <a:gd name="connsiteY40" fmla="*/ 4292467 h 4904003"/>
              <a:gd name="connsiteX41" fmla="*/ 2690039 w 5991028"/>
              <a:gd name="connsiteY41" fmla="*/ 4266859 h 4904003"/>
              <a:gd name="connsiteX42" fmla="*/ 2726127 w 5991028"/>
              <a:gd name="connsiteY42" fmla="*/ 4240857 h 4904003"/>
              <a:gd name="connsiteX43" fmla="*/ 2761676 w 5991028"/>
              <a:gd name="connsiteY43" fmla="*/ 4214468 h 4904003"/>
              <a:gd name="connsiteX44" fmla="*/ 2796697 w 5991028"/>
              <a:gd name="connsiteY44" fmla="*/ 4187699 h 4904003"/>
              <a:gd name="connsiteX45" fmla="*/ 2831201 w 5991028"/>
              <a:gd name="connsiteY45" fmla="*/ 4160555 h 4904003"/>
              <a:gd name="connsiteX46" fmla="*/ 2865200 w 5991028"/>
              <a:gd name="connsiteY46" fmla="*/ 4133043 h 4904003"/>
              <a:gd name="connsiteX47" fmla="*/ 2898706 w 5991028"/>
              <a:gd name="connsiteY47" fmla="*/ 4105171 h 4904003"/>
              <a:gd name="connsiteX48" fmla="*/ 2931731 w 5991028"/>
              <a:gd name="connsiteY48" fmla="*/ 4076943 h 4904003"/>
              <a:gd name="connsiteX49" fmla="*/ 2964287 w 5991028"/>
              <a:gd name="connsiteY49" fmla="*/ 4048367 h 4904003"/>
              <a:gd name="connsiteX50" fmla="*/ 2996384 w 5991028"/>
              <a:gd name="connsiteY50" fmla="*/ 4019449 h 4904003"/>
              <a:gd name="connsiteX51" fmla="*/ 3028035 w 5991028"/>
              <a:gd name="connsiteY51" fmla="*/ 3990196 h 4904003"/>
              <a:gd name="connsiteX52" fmla="*/ 3059251 w 5991028"/>
              <a:gd name="connsiteY52" fmla="*/ 3960614 h 4904003"/>
              <a:gd name="connsiteX53" fmla="*/ 3090044 w 5991028"/>
              <a:gd name="connsiteY53" fmla="*/ 3930710 h 4904003"/>
              <a:gd name="connsiteX54" fmla="*/ 3120427 w 5991028"/>
              <a:gd name="connsiteY54" fmla="*/ 3900490 h 4904003"/>
              <a:gd name="connsiteX55" fmla="*/ 3150409 w 5991028"/>
              <a:gd name="connsiteY55" fmla="*/ 3869960 h 4904003"/>
              <a:gd name="connsiteX56" fmla="*/ 3180004 w 5991028"/>
              <a:gd name="connsiteY56" fmla="*/ 3839127 h 4904003"/>
              <a:gd name="connsiteX57" fmla="*/ 3209223 w 5991028"/>
              <a:gd name="connsiteY57" fmla="*/ 3807998 h 4904003"/>
              <a:gd name="connsiteX58" fmla="*/ 3238077 w 5991028"/>
              <a:gd name="connsiteY58" fmla="*/ 3776579 h 4904003"/>
              <a:gd name="connsiteX59" fmla="*/ 3266578 w 5991028"/>
              <a:gd name="connsiteY59" fmla="*/ 3744877 h 4904003"/>
              <a:gd name="connsiteX60" fmla="*/ 3294738 w 5991028"/>
              <a:gd name="connsiteY60" fmla="*/ 3712897 h 4904003"/>
              <a:gd name="connsiteX61" fmla="*/ 3322569 w 5991028"/>
              <a:gd name="connsiteY61" fmla="*/ 3680647 h 4904003"/>
              <a:gd name="connsiteX62" fmla="*/ 3350082 w 5991028"/>
              <a:gd name="connsiteY62" fmla="*/ 3648133 h 4904003"/>
              <a:gd name="connsiteX63" fmla="*/ 3377290 w 5991028"/>
              <a:gd name="connsiteY63" fmla="*/ 3615361 h 4904003"/>
              <a:gd name="connsiteX64" fmla="*/ 3404203 w 5991028"/>
              <a:gd name="connsiteY64" fmla="*/ 3582338 h 4904003"/>
              <a:gd name="connsiteX65" fmla="*/ 3430833 w 5991028"/>
              <a:gd name="connsiteY65" fmla="*/ 3549071 h 4904003"/>
              <a:gd name="connsiteX66" fmla="*/ 3457192 w 5991028"/>
              <a:gd name="connsiteY66" fmla="*/ 3515565 h 4904003"/>
              <a:gd name="connsiteX67" fmla="*/ 3483292 w 5991028"/>
              <a:gd name="connsiteY67" fmla="*/ 3481828 h 4904003"/>
              <a:gd name="connsiteX68" fmla="*/ 3509145 w 5991028"/>
              <a:gd name="connsiteY68" fmla="*/ 3447865 h 4904003"/>
              <a:gd name="connsiteX69" fmla="*/ 3534761 w 5991028"/>
              <a:gd name="connsiteY69" fmla="*/ 3413684 h 4904003"/>
              <a:gd name="connsiteX70" fmla="*/ 3560154 w 5991028"/>
              <a:gd name="connsiteY70" fmla="*/ 3379290 h 4904003"/>
              <a:gd name="connsiteX71" fmla="*/ 3585334 w 5991028"/>
              <a:gd name="connsiteY71" fmla="*/ 3344691 h 4904003"/>
              <a:gd name="connsiteX72" fmla="*/ 3610313 w 5991028"/>
              <a:gd name="connsiteY72" fmla="*/ 3309893 h 4904003"/>
              <a:gd name="connsiteX73" fmla="*/ 3659716 w 5991028"/>
              <a:gd name="connsiteY73" fmla="*/ 3239724 h 4904003"/>
              <a:gd name="connsiteX74" fmla="*/ 3708456 w 5991028"/>
              <a:gd name="connsiteY74" fmla="*/ 3168836 h 4904003"/>
              <a:gd name="connsiteX75" fmla="*/ 3756626 w 5991028"/>
              <a:gd name="connsiteY75" fmla="*/ 3097281 h 4904003"/>
              <a:gd name="connsiteX76" fmla="*/ 3804321 w 5991028"/>
              <a:gd name="connsiteY76" fmla="*/ 3025110 h 4904003"/>
              <a:gd name="connsiteX77" fmla="*/ 3851634 w 5991028"/>
              <a:gd name="connsiteY77" fmla="*/ 2952375 h 4904003"/>
              <a:gd name="connsiteX78" fmla="*/ 3922091 w 5991028"/>
              <a:gd name="connsiteY78" fmla="*/ 2842329 h 4904003"/>
              <a:gd name="connsiteX79" fmla="*/ 4203735 w 5991028"/>
              <a:gd name="connsiteY79" fmla="*/ 2394125 h 4904003"/>
              <a:gd name="connsiteX80" fmla="*/ 4275679 w 5991028"/>
              <a:gd name="connsiteY80" fmla="*/ 2280944 h 4904003"/>
              <a:gd name="connsiteX81" fmla="*/ 4324313 w 5991028"/>
              <a:gd name="connsiteY81" fmla="*/ 2205422 h 4904003"/>
              <a:gd name="connsiteX82" fmla="*/ 4404991 w 5991028"/>
              <a:gd name="connsiteY82" fmla="*/ 2081094 h 4904003"/>
              <a:gd name="connsiteX83" fmla="*/ 4488487 w 5991028"/>
              <a:gd name="connsiteY83" fmla="*/ 1950584 h 4904003"/>
              <a:gd name="connsiteX84" fmla="*/ 4764452 w 5991028"/>
              <a:gd name="connsiteY84" fmla="*/ 1513988 h 4904003"/>
              <a:gd name="connsiteX85" fmla="*/ 4847697 w 5991028"/>
              <a:gd name="connsiteY85" fmla="*/ 1383871 h 4904003"/>
              <a:gd name="connsiteX86" fmla="*/ 4903588 w 5991028"/>
              <a:gd name="connsiteY86" fmla="*/ 1297666 h 4904003"/>
              <a:gd name="connsiteX87" fmla="*/ 4959901 w 5991028"/>
              <a:gd name="connsiteY87" fmla="*/ 1212012 h 4904003"/>
              <a:gd name="connsiteX88" fmla="*/ 5016724 w 5991028"/>
              <a:gd name="connsiteY88" fmla="*/ 1127013 h 4904003"/>
              <a:gd name="connsiteX89" fmla="*/ 5074146 w 5991028"/>
              <a:gd name="connsiteY89" fmla="*/ 1042769 h 4904003"/>
              <a:gd name="connsiteX90" fmla="*/ 5103110 w 5991028"/>
              <a:gd name="connsiteY90" fmla="*/ 1000963 h 4904003"/>
              <a:gd name="connsiteX91" fmla="*/ 5132258 w 5991028"/>
              <a:gd name="connsiteY91" fmla="*/ 959384 h 4904003"/>
              <a:gd name="connsiteX92" fmla="*/ 5161599 w 5991028"/>
              <a:gd name="connsiteY92" fmla="*/ 918045 h 4904003"/>
              <a:gd name="connsiteX93" fmla="*/ 5191147 w 5991028"/>
              <a:gd name="connsiteY93" fmla="*/ 876959 h 4904003"/>
              <a:gd name="connsiteX94" fmla="*/ 5220911 w 5991028"/>
              <a:gd name="connsiteY94" fmla="*/ 836139 h 4904003"/>
              <a:gd name="connsiteX95" fmla="*/ 5250904 w 5991028"/>
              <a:gd name="connsiteY95" fmla="*/ 795597 h 4904003"/>
              <a:gd name="connsiteX96" fmla="*/ 5281135 w 5991028"/>
              <a:gd name="connsiteY96" fmla="*/ 755346 h 4904003"/>
              <a:gd name="connsiteX97" fmla="*/ 5311617 w 5991028"/>
              <a:gd name="connsiteY97" fmla="*/ 715400 h 4904003"/>
              <a:gd name="connsiteX98" fmla="*/ 5342361 w 5991028"/>
              <a:gd name="connsiteY98" fmla="*/ 675770 h 4904003"/>
              <a:gd name="connsiteX99" fmla="*/ 5373377 w 5991028"/>
              <a:gd name="connsiteY99" fmla="*/ 636470 h 4904003"/>
              <a:gd name="connsiteX100" fmla="*/ 5404677 w 5991028"/>
              <a:gd name="connsiteY100" fmla="*/ 597512 h 4904003"/>
              <a:gd name="connsiteX101" fmla="*/ 5436272 w 5991028"/>
              <a:gd name="connsiteY101" fmla="*/ 558910 h 4904003"/>
              <a:gd name="connsiteX102" fmla="*/ 5468173 w 5991028"/>
              <a:gd name="connsiteY102" fmla="*/ 520675 h 4904003"/>
              <a:gd name="connsiteX103" fmla="*/ 5500392 w 5991028"/>
              <a:gd name="connsiteY103" fmla="*/ 482821 h 4904003"/>
              <a:gd name="connsiteX104" fmla="*/ 5532939 w 5991028"/>
              <a:gd name="connsiteY104" fmla="*/ 445361 h 4904003"/>
              <a:gd name="connsiteX105" fmla="*/ 5565826 w 5991028"/>
              <a:gd name="connsiteY105" fmla="*/ 408306 h 4904003"/>
              <a:gd name="connsiteX106" fmla="*/ 5599063 w 5991028"/>
              <a:gd name="connsiteY106" fmla="*/ 371671 h 4904003"/>
              <a:gd name="connsiteX107" fmla="*/ 5632663 w 5991028"/>
              <a:gd name="connsiteY107" fmla="*/ 335468 h 4904003"/>
              <a:gd name="connsiteX108" fmla="*/ 5666636 w 5991028"/>
              <a:gd name="connsiteY108" fmla="*/ 299710 h 4904003"/>
              <a:gd name="connsiteX109" fmla="*/ 5700993 w 5991028"/>
              <a:gd name="connsiteY109" fmla="*/ 264408 h 4904003"/>
              <a:gd name="connsiteX110" fmla="*/ 5735746 w 5991028"/>
              <a:gd name="connsiteY110" fmla="*/ 229577 h 4904003"/>
              <a:gd name="connsiteX111" fmla="*/ 5770905 w 5991028"/>
              <a:gd name="connsiteY111" fmla="*/ 195229 h 4904003"/>
              <a:gd name="connsiteX112" fmla="*/ 5806483 w 5991028"/>
              <a:gd name="connsiteY112" fmla="*/ 161377 h 4904003"/>
              <a:gd name="connsiteX113" fmla="*/ 5842489 w 5991028"/>
              <a:gd name="connsiteY113" fmla="*/ 128033 h 4904003"/>
              <a:gd name="connsiteX114" fmla="*/ 5878935 w 5991028"/>
              <a:gd name="connsiteY114" fmla="*/ 95211 h 4904003"/>
              <a:gd name="connsiteX115" fmla="*/ 5915833 w 5991028"/>
              <a:gd name="connsiteY115" fmla="*/ 62923 h 4904003"/>
              <a:gd name="connsiteX116" fmla="*/ 5953194 w 5991028"/>
              <a:gd name="connsiteY116" fmla="*/ 31181 h 4904003"/>
              <a:gd name="connsiteX117" fmla="*/ 5991028 w 5991028"/>
              <a:gd name="connsiteY117" fmla="*/ 0 h 4904003"/>
              <a:gd name="connsiteX0" fmla="*/ 6002552 w 6002552"/>
              <a:gd name="connsiteY0" fmla="*/ 0 h 4929733"/>
              <a:gd name="connsiteX1" fmla="*/ 11524 w 6002552"/>
              <a:gd name="connsiteY1" fmla="*/ 0 h 4929733"/>
              <a:gd name="connsiteX2" fmla="*/ 0 w 6002552"/>
              <a:gd name="connsiteY2" fmla="*/ 4929733 h 4929733"/>
              <a:gd name="connsiteX3" fmla="*/ 814665 w 6002552"/>
              <a:gd name="connsiteY3" fmla="*/ 4904003 h 4929733"/>
              <a:gd name="connsiteX4" fmla="*/ 879931 w 6002552"/>
              <a:gd name="connsiteY4" fmla="*/ 4897516 h 4929733"/>
              <a:gd name="connsiteX5" fmla="*/ 944213 w 6002552"/>
              <a:gd name="connsiteY5" fmla="*/ 4890395 h 4929733"/>
              <a:gd name="connsiteX6" fmla="*/ 1007522 w 6002552"/>
              <a:gd name="connsiteY6" fmla="*/ 4882647 h 4929733"/>
              <a:gd name="connsiteX7" fmla="*/ 1069870 w 6002552"/>
              <a:gd name="connsiteY7" fmla="*/ 4874279 h 4929733"/>
              <a:gd name="connsiteX8" fmla="*/ 1131270 w 6002552"/>
              <a:gd name="connsiteY8" fmla="*/ 4865297 h 4929733"/>
              <a:gd name="connsiteX9" fmla="*/ 1191732 w 6002552"/>
              <a:gd name="connsiteY9" fmla="*/ 4855708 h 4929733"/>
              <a:gd name="connsiteX10" fmla="*/ 1251269 w 6002552"/>
              <a:gd name="connsiteY10" fmla="*/ 4845517 h 4929733"/>
              <a:gd name="connsiteX11" fmla="*/ 1309891 w 6002552"/>
              <a:gd name="connsiteY11" fmla="*/ 4834732 h 4929733"/>
              <a:gd name="connsiteX12" fmla="*/ 1367611 w 6002552"/>
              <a:gd name="connsiteY12" fmla="*/ 4823359 h 4929733"/>
              <a:gd name="connsiteX13" fmla="*/ 1424441 w 6002552"/>
              <a:gd name="connsiteY13" fmla="*/ 4811404 h 4929733"/>
              <a:gd name="connsiteX14" fmla="*/ 1480392 w 6002552"/>
              <a:gd name="connsiteY14" fmla="*/ 4798874 h 4929733"/>
              <a:gd name="connsiteX15" fmla="*/ 1535475 w 6002552"/>
              <a:gd name="connsiteY15" fmla="*/ 4785776 h 4929733"/>
              <a:gd name="connsiteX16" fmla="*/ 1589703 w 6002552"/>
              <a:gd name="connsiteY16" fmla="*/ 4772115 h 4929733"/>
              <a:gd name="connsiteX17" fmla="*/ 1643088 w 6002552"/>
              <a:gd name="connsiteY17" fmla="*/ 4757899 h 4929733"/>
              <a:gd name="connsiteX18" fmla="*/ 1695640 w 6002552"/>
              <a:gd name="connsiteY18" fmla="*/ 4743134 h 4929733"/>
              <a:gd name="connsiteX19" fmla="*/ 1747371 w 6002552"/>
              <a:gd name="connsiteY19" fmla="*/ 4727825 h 4929733"/>
              <a:gd name="connsiteX20" fmla="*/ 1798294 w 6002552"/>
              <a:gd name="connsiteY20" fmla="*/ 4711981 h 4929733"/>
              <a:gd name="connsiteX21" fmla="*/ 1848420 w 6002552"/>
              <a:gd name="connsiteY21" fmla="*/ 4695607 h 4929733"/>
              <a:gd name="connsiteX22" fmla="*/ 1897761 w 6002552"/>
              <a:gd name="connsiteY22" fmla="*/ 4678710 h 4929733"/>
              <a:gd name="connsiteX23" fmla="*/ 1946328 w 6002552"/>
              <a:gd name="connsiteY23" fmla="*/ 4661296 h 4929733"/>
              <a:gd name="connsiteX24" fmla="*/ 1994133 w 6002552"/>
              <a:gd name="connsiteY24" fmla="*/ 4643371 h 4929733"/>
              <a:gd name="connsiteX25" fmla="*/ 2041187 w 6002552"/>
              <a:gd name="connsiteY25" fmla="*/ 4624943 h 4929733"/>
              <a:gd name="connsiteX26" fmla="*/ 2087503 w 6002552"/>
              <a:gd name="connsiteY26" fmla="*/ 4606017 h 4929733"/>
              <a:gd name="connsiteX27" fmla="*/ 2133092 w 6002552"/>
              <a:gd name="connsiteY27" fmla="*/ 4586601 h 4929733"/>
              <a:gd name="connsiteX28" fmla="*/ 2177966 w 6002552"/>
              <a:gd name="connsiteY28" fmla="*/ 4566700 h 4929733"/>
              <a:gd name="connsiteX29" fmla="*/ 2222137 w 6002552"/>
              <a:gd name="connsiteY29" fmla="*/ 4546321 h 4929733"/>
              <a:gd name="connsiteX30" fmla="*/ 2265615 w 6002552"/>
              <a:gd name="connsiteY30" fmla="*/ 4525471 h 4929733"/>
              <a:gd name="connsiteX31" fmla="*/ 2308414 w 6002552"/>
              <a:gd name="connsiteY31" fmla="*/ 4504156 h 4929733"/>
              <a:gd name="connsiteX32" fmla="*/ 2350544 w 6002552"/>
              <a:gd name="connsiteY32" fmla="*/ 4482383 h 4929733"/>
              <a:gd name="connsiteX33" fmla="*/ 2392017 w 6002552"/>
              <a:gd name="connsiteY33" fmla="*/ 4460157 h 4929733"/>
              <a:gd name="connsiteX34" fmla="*/ 2432845 w 6002552"/>
              <a:gd name="connsiteY34" fmla="*/ 4437486 h 4929733"/>
              <a:gd name="connsiteX35" fmla="*/ 2473040 w 6002552"/>
              <a:gd name="connsiteY35" fmla="*/ 4414376 h 4929733"/>
              <a:gd name="connsiteX36" fmla="*/ 2512613 w 6002552"/>
              <a:gd name="connsiteY36" fmla="*/ 4390833 h 4929733"/>
              <a:gd name="connsiteX37" fmla="*/ 2551576 w 6002552"/>
              <a:gd name="connsiteY37" fmla="*/ 4366865 h 4929733"/>
              <a:gd name="connsiteX38" fmla="*/ 2589941 w 6002552"/>
              <a:gd name="connsiteY38" fmla="*/ 4342477 h 4929733"/>
              <a:gd name="connsiteX39" fmla="*/ 2627719 w 6002552"/>
              <a:gd name="connsiteY39" fmla="*/ 4317675 h 4929733"/>
              <a:gd name="connsiteX40" fmla="*/ 2664923 w 6002552"/>
              <a:gd name="connsiteY40" fmla="*/ 4292467 h 4929733"/>
              <a:gd name="connsiteX41" fmla="*/ 2701563 w 6002552"/>
              <a:gd name="connsiteY41" fmla="*/ 4266859 h 4929733"/>
              <a:gd name="connsiteX42" fmla="*/ 2737651 w 6002552"/>
              <a:gd name="connsiteY42" fmla="*/ 4240857 h 4929733"/>
              <a:gd name="connsiteX43" fmla="*/ 2773200 w 6002552"/>
              <a:gd name="connsiteY43" fmla="*/ 4214468 h 4929733"/>
              <a:gd name="connsiteX44" fmla="*/ 2808221 w 6002552"/>
              <a:gd name="connsiteY44" fmla="*/ 4187699 h 4929733"/>
              <a:gd name="connsiteX45" fmla="*/ 2842725 w 6002552"/>
              <a:gd name="connsiteY45" fmla="*/ 4160555 h 4929733"/>
              <a:gd name="connsiteX46" fmla="*/ 2876724 w 6002552"/>
              <a:gd name="connsiteY46" fmla="*/ 4133043 h 4929733"/>
              <a:gd name="connsiteX47" fmla="*/ 2910230 w 6002552"/>
              <a:gd name="connsiteY47" fmla="*/ 4105171 h 4929733"/>
              <a:gd name="connsiteX48" fmla="*/ 2943255 w 6002552"/>
              <a:gd name="connsiteY48" fmla="*/ 4076943 h 4929733"/>
              <a:gd name="connsiteX49" fmla="*/ 2975811 w 6002552"/>
              <a:gd name="connsiteY49" fmla="*/ 4048367 h 4929733"/>
              <a:gd name="connsiteX50" fmla="*/ 3007908 w 6002552"/>
              <a:gd name="connsiteY50" fmla="*/ 4019449 h 4929733"/>
              <a:gd name="connsiteX51" fmla="*/ 3039559 w 6002552"/>
              <a:gd name="connsiteY51" fmla="*/ 3990196 h 4929733"/>
              <a:gd name="connsiteX52" fmla="*/ 3070775 w 6002552"/>
              <a:gd name="connsiteY52" fmla="*/ 3960614 h 4929733"/>
              <a:gd name="connsiteX53" fmla="*/ 3101568 w 6002552"/>
              <a:gd name="connsiteY53" fmla="*/ 3930710 h 4929733"/>
              <a:gd name="connsiteX54" fmla="*/ 3131951 w 6002552"/>
              <a:gd name="connsiteY54" fmla="*/ 3900490 h 4929733"/>
              <a:gd name="connsiteX55" fmla="*/ 3161933 w 6002552"/>
              <a:gd name="connsiteY55" fmla="*/ 3869960 h 4929733"/>
              <a:gd name="connsiteX56" fmla="*/ 3191528 w 6002552"/>
              <a:gd name="connsiteY56" fmla="*/ 3839127 h 4929733"/>
              <a:gd name="connsiteX57" fmla="*/ 3220747 w 6002552"/>
              <a:gd name="connsiteY57" fmla="*/ 3807998 h 4929733"/>
              <a:gd name="connsiteX58" fmla="*/ 3249601 w 6002552"/>
              <a:gd name="connsiteY58" fmla="*/ 3776579 h 4929733"/>
              <a:gd name="connsiteX59" fmla="*/ 3278102 w 6002552"/>
              <a:gd name="connsiteY59" fmla="*/ 3744877 h 4929733"/>
              <a:gd name="connsiteX60" fmla="*/ 3306262 w 6002552"/>
              <a:gd name="connsiteY60" fmla="*/ 3712897 h 4929733"/>
              <a:gd name="connsiteX61" fmla="*/ 3334093 w 6002552"/>
              <a:gd name="connsiteY61" fmla="*/ 3680647 h 4929733"/>
              <a:gd name="connsiteX62" fmla="*/ 3361606 w 6002552"/>
              <a:gd name="connsiteY62" fmla="*/ 3648133 h 4929733"/>
              <a:gd name="connsiteX63" fmla="*/ 3388814 w 6002552"/>
              <a:gd name="connsiteY63" fmla="*/ 3615361 h 4929733"/>
              <a:gd name="connsiteX64" fmla="*/ 3415727 w 6002552"/>
              <a:gd name="connsiteY64" fmla="*/ 3582338 h 4929733"/>
              <a:gd name="connsiteX65" fmla="*/ 3442357 w 6002552"/>
              <a:gd name="connsiteY65" fmla="*/ 3549071 h 4929733"/>
              <a:gd name="connsiteX66" fmla="*/ 3468716 w 6002552"/>
              <a:gd name="connsiteY66" fmla="*/ 3515565 h 4929733"/>
              <a:gd name="connsiteX67" fmla="*/ 3494816 w 6002552"/>
              <a:gd name="connsiteY67" fmla="*/ 3481828 h 4929733"/>
              <a:gd name="connsiteX68" fmla="*/ 3520669 w 6002552"/>
              <a:gd name="connsiteY68" fmla="*/ 3447865 h 4929733"/>
              <a:gd name="connsiteX69" fmla="*/ 3546285 w 6002552"/>
              <a:gd name="connsiteY69" fmla="*/ 3413684 h 4929733"/>
              <a:gd name="connsiteX70" fmla="*/ 3571678 w 6002552"/>
              <a:gd name="connsiteY70" fmla="*/ 3379290 h 4929733"/>
              <a:gd name="connsiteX71" fmla="*/ 3596858 w 6002552"/>
              <a:gd name="connsiteY71" fmla="*/ 3344691 h 4929733"/>
              <a:gd name="connsiteX72" fmla="*/ 3621837 w 6002552"/>
              <a:gd name="connsiteY72" fmla="*/ 3309893 h 4929733"/>
              <a:gd name="connsiteX73" fmla="*/ 3671240 w 6002552"/>
              <a:gd name="connsiteY73" fmla="*/ 3239724 h 4929733"/>
              <a:gd name="connsiteX74" fmla="*/ 3719980 w 6002552"/>
              <a:gd name="connsiteY74" fmla="*/ 3168836 h 4929733"/>
              <a:gd name="connsiteX75" fmla="*/ 3768150 w 6002552"/>
              <a:gd name="connsiteY75" fmla="*/ 3097281 h 4929733"/>
              <a:gd name="connsiteX76" fmla="*/ 3815845 w 6002552"/>
              <a:gd name="connsiteY76" fmla="*/ 3025110 h 4929733"/>
              <a:gd name="connsiteX77" fmla="*/ 3863158 w 6002552"/>
              <a:gd name="connsiteY77" fmla="*/ 2952375 h 4929733"/>
              <a:gd name="connsiteX78" fmla="*/ 3933615 w 6002552"/>
              <a:gd name="connsiteY78" fmla="*/ 2842329 h 4929733"/>
              <a:gd name="connsiteX79" fmla="*/ 4215259 w 6002552"/>
              <a:gd name="connsiteY79" fmla="*/ 2394125 h 4929733"/>
              <a:gd name="connsiteX80" fmla="*/ 4287203 w 6002552"/>
              <a:gd name="connsiteY80" fmla="*/ 2280944 h 4929733"/>
              <a:gd name="connsiteX81" fmla="*/ 4335837 w 6002552"/>
              <a:gd name="connsiteY81" fmla="*/ 2205422 h 4929733"/>
              <a:gd name="connsiteX82" fmla="*/ 4416515 w 6002552"/>
              <a:gd name="connsiteY82" fmla="*/ 2081094 h 4929733"/>
              <a:gd name="connsiteX83" fmla="*/ 4500011 w 6002552"/>
              <a:gd name="connsiteY83" fmla="*/ 1950584 h 4929733"/>
              <a:gd name="connsiteX84" fmla="*/ 4775976 w 6002552"/>
              <a:gd name="connsiteY84" fmla="*/ 1513988 h 4929733"/>
              <a:gd name="connsiteX85" fmla="*/ 4859221 w 6002552"/>
              <a:gd name="connsiteY85" fmla="*/ 1383871 h 4929733"/>
              <a:gd name="connsiteX86" fmla="*/ 4915112 w 6002552"/>
              <a:gd name="connsiteY86" fmla="*/ 1297666 h 4929733"/>
              <a:gd name="connsiteX87" fmla="*/ 4971425 w 6002552"/>
              <a:gd name="connsiteY87" fmla="*/ 1212012 h 4929733"/>
              <a:gd name="connsiteX88" fmla="*/ 5028248 w 6002552"/>
              <a:gd name="connsiteY88" fmla="*/ 1127013 h 4929733"/>
              <a:gd name="connsiteX89" fmla="*/ 5085670 w 6002552"/>
              <a:gd name="connsiteY89" fmla="*/ 1042769 h 4929733"/>
              <a:gd name="connsiteX90" fmla="*/ 5114634 w 6002552"/>
              <a:gd name="connsiteY90" fmla="*/ 1000963 h 4929733"/>
              <a:gd name="connsiteX91" fmla="*/ 5143782 w 6002552"/>
              <a:gd name="connsiteY91" fmla="*/ 959384 h 4929733"/>
              <a:gd name="connsiteX92" fmla="*/ 5173123 w 6002552"/>
              <a:gd name="connsiteY92" fmla="*/ 918045 h 4929733"/>
              <a:gd name="connsiteX93" fmla="*/ 5202671 w 6002552"/>
              <a:gd name="connsiteY93" fmla="*/ 876959 h 4929733"/>
              <a:gd name="connsiteX94" fmla="*/ 5232435 w 6002552"/>
              <a:gd name="connsiteY94" fmla="*/ 836139 h 4929733"/>
              <a:gd name="connsiteX95" fmla="*/ 5262428 w 6002552"/>
              <a:gd name="connsiteY95" fmla="*/ 795597 h 4929733"/>
              <a:gd name="connsiteX96" fmla="*/ 5292659 w 6002552"/>
              <a:gd name="connsiteY96" fmla="*/ 755346 h 4929733"/>
              <a:gd name="connsiteX97" fmla="*/ 5323141 w 6002552"/>
              <a:gd name="connsiteY97" fmla="*/ 715400 h 4929733"/>
              <a:gd name="connsiteX98" fmla="*/ 5353885 w 6002552"/>
              <a:gd name="connsiteY98" fmla="*/ 675770 h 4929733"/>
              <a:gd name="connsiteX99" fmla="*/ 5384901 w 6002552"/>
              <a:gd name="connsiteY99" fmla="*/ 636470 h 4929733"/>
              <a:gd name="connsiteX100" fmla="*/ 5416201 w 6002552"/>
              <a:gd name="connsiteY100" fmla="*/ 597512 h 4929733"/>
              <a:gd name="connsiteX101" fmla="*/ 5447796 w 6002552"/>
              <a:gd name="connsiteY101" fmla="*/ 558910 h 4929733"/>
              <a:gd name="connsiteX102" fmla="*/ 5479697 w 6002552"/>
              <a:gd name="connsiteY102" fmla="*/ 520675 h 4929733"/>
              <a:gd name="connsiteX103" fmla="*/ 5511916 w 6002552"/>
              <a:gd name="connsiteY103" fmla="*/ 482821 h 4929733"/>
              <a:gd name="connsiteX104" fmla="*/ 5544463 w 6002552"/>
              <a:gd name="connsiteY104" fmla="*/ 445361 h 4929733"/>
              <a:gd name="connsiteX105" fmla="*/ 5577350 w 6002552"/>
              <a:gd name="connsiteY105" fmla="*/ 408306 h 4929733"/>
              <a:gd name="connsiteX106" fmla="*/ 5610587 w 6002552"/>
              <a:gd name="connsiteY106" fmla="*/ 371671 h 4929733"/>
              <a:gd name="connsiteX107" fmla="*/ 5644187 w 6002552"/>
              <a:gd name="connsiteY107" fmla="*/ 335468 h 4929733"/>
              <a:gd name="connsiteX108" fmla="*/ 5678160 w 6002552"/>
              <a:gd name="connsiteY108" fmla="*/ 299710 h 4929733"/>
              <a:gd name="connsiteX109" fmla="*/ 5712517 w 6002552"/>
              <a:gd name="connsiteY109" fmla="*/ 264408 h 4929733"/>
              <a:gd name="connsiteX110" fmla="*/ 5747270 w 6002552"/>
              <a:gd name="connsiteY110" fmla="*/ 229577 h 4929733"/>
              <a:gd name="connsiteX111" fmla="*/ 5782429 w 6002552"/>
              <a:gd name="connsiteY111" fmla="*/ 195229 h 4929733"/>
              <a:gd name="connsiteX112" fmla="*/ 5818007 w 6002552"/>
              <a:gd name="connsiteY112" fmla="*/ 161377 h 4929733"/>
              <a:gd name="connsiteX113" fmla="*/ 5854013 w 6002552"/>
              <a:gd name="connsiteY113" fmla="*/ 128033 h 4929733"/>
              <a:gd name="connsiteX114" fmla="*/ 5890459 w 6002552"/>
              <a:gd name="connsiteY114" fmla="*/ 95211 h 4929733"/>
              <a:gd name="connsiteX115" fmla="*/ 5927357 w 6002552"/>
              <a:gd name="connsiteY115" fmla="*/ 62923 h 4929733"/>
              <a:gd name="connsiteX116" fmla="*/ 5964718 w 6002552"/>
              <a:gd name="connsiteY116" fmla="*/ 31181 h 4929733"/>
              <a:gd name="connsiteX117" fmla="*/ 6002552 w 6002552"/>
              <a:gd name="connsiteY117" fmla="*/ 0 h 4929733"/>
              <a:gd name="connsiteX0" fmla="*/ 6014544 w 6014544"/>
              <a:gd name="connsiteY0" fmla="*/ 0 h 4929733"/>
              <a:gd name="connsiteX1" fmla="*/ 511 w 6014544"/>
              <a:gd name="connsiteY1" fmla="*/ 7668 h 4929733"/>
              <a:gd name="connsiteX2" fmla="*/ 11992 w 6014544"/>
              <a:gd name="connsiteY2" fmla="*/ 4929733 h 4929733"/>
              <a:gd name="connsiteX3" fmla="*/ 826657 w 6014544"/>
              <a:gd name="connsiteY3" fmla="*/ 4904003 h 4929733"/>
              <a:gd name="connsiteX4" fmla="*/ 891923 w 6014544"/>
              <a:gd name="connsiteY4" fmla="*/ 4897516 h 4929733"/>
              <a:gd name="connsiteX5" fmla="*/ 956205 w 6014544"/>
              <a:gd name="connsiteY5" fmla="*/ 4890395 h 4929733"/>
              <a:gd name="connsiteX6" fmla="*/ 1019514 w 6014544"/>
              <a:gd name="connsiteY6" fmla="*/ 4882647 h 4929733"/>
              <a:gd name="connsiteX7" fmla="*/ 1081862 w 6014544"/>
              <a:gd name="connsiteY7" fmla="*/ 4874279 h 4929733"/>
              <a:gd name="connsiteX8" fmla="*/ 1143262 w 6014544"/>
              <a:gd name="connsiteY8" fmla="*/ 4865297 h 4929733"/>
              <a:gd name="connsiteX9" fmla="*/ 1203724 w 6014544"/>
              <a:gd name="connsiteY9" fmla="*/ 4855708 h 4929733"/>
              <a:gd name="connsiteX10" fmla="*/ 1263261 w 6014544"/>
              <a:gd name="connsiteY10" fmla="*/ 4845517 h 4929733"/>
              <a:gd name="connsiteX11" fmla="*/ 1321883 w 6014544"/>
              <a:gd name="connsiteY11" fmla="*/ 4834732 h 4929733"/>
              <a:gd name="connsiteX12" fmla="*/ 1379603 w 6014544"/>
              <a:gd name="connsiteY12" fmla="*/ 4823359 h 4929733"/>
              <a:gd name="connsiteX13" fmla="*/ 1436433 w 6014544"/>
              <a:gd name="connsiteY13" fmla="*/ 4811404 h 4929733"/>
              <a:gd name="connsiteX14" fmla="*/ 1492384 w 6014544"/>
              <a:gd name="connsiteY14" fmla="*/ 4798874 h 4929733"/>
              <a:gd name="connsiteX15" fmla="*/ 1547467 w 6014544"/>
              <a:gd name="connsiteY15" fmla="*/ 4785776 h 4929733"/>
              <a:gd name="connsiteX16" fmla="*/ 1601695 w 6014544"/>
              <a:gd name="connsiteY16" fmla="*/ 4772115 h 4929733"/>
              <a:gd name="connsiteX17" fmla="*/ 1655080 w 6014544"/>
              <a:gd name="connsiteY17" fmla="*/ 4757899 h 4929733"/>
              <a:gd name="connsiteX18" fmla="*/ 1707632 w 6014544"/>
              <a:gd name="connsiteY18" fmla="*/ 4743134 h 4929733"/>
              <a:gd name="connsiteX19" fmla="*/ 1759363 w 6014544"/>
              <a:gd name="connsiteY19" fmla="*/ 4727825 h 4929733"/>
              <a:gd name="connsiteX20" fmla="*/ 1810286 w 6014544"/>
              <a:gd name="connsiteY20" fmla="*/ 4711981 h 4929733"/>
              <a:gd name="connsiteX21" fmla="*/ 1860412 w 6014544"/>
              <a:gd name="connsiteY21" fmla="*/ 4695607 h 4929733"/>
              <a:gd name="connsiteX22" fmla="*/ 1909753 w 6014544"/>
              <a:gd name="connsiteY22" fmla="*/ 4678710 h 4929733"/>
              <a:gd name="connsiteX23" fmla="*/ 1958320 w 6014544"/>
              <a:gd name="connsiteY23" fmla="*/ 4661296 h 4929733"/>
              <a:gd name="connsiteX24" fmla="*/ 2006125 w 6014544"/>
              <a:gd name="connsiteY24" fmla="*/ 4643371 h 4929733"/>
              <a:gd name="connsiteX25" fmla="*/ 2053179 w 6014544"/>
              <a:gd name="connsiteY25" fmla="*/ 4624943 h 4929733"/>
              <a:gd name="connsiteX26" fmla="*/ 2099495 w 6014544"/>
              <a:gd name="connsiteY26" fmla="*/ 4606017 h 4929733"/>
              <a:gd name="connsiteX27" fmla="*/ 2145084 w 6014544"/>
              <a:gd name="connsiteY27" fmla="*/ 4586601 h 4929733"/>
              <a:gd name="connsiteX28" fmla="*/ 2189958 w 6014544"/>
              <a:gd name="connsiteY28" fmla="*/ 4566700 h 4929733"/>
              <a:gd name="connsiteX29" fmla="*/ 2234129 w 6014544"/>
              <a:gd name="connsiteY29" fmla="*/ 4546321 h 4929733"/>
              <a:gd name="connsiteX30" fmla="*/ 2277607 w 6014544"/>
              <a:gd name="connsiteY30" fmla="*/ 4525471 h 4929733"/>
              <a:gd name="connsiteX31" fmla="*/ 2320406 w 6014544"/>
              <a:gd name="connsiteY31" fmla="*/ 4504156 h 4929733"/>
              <a:gd name="connsiteX32" fmla="*/ 2362536 w 6014544"/>
              <a:gd name="connsiteY32" fmla="*/ 4482383 h 4929733"/>
              <a:gd name="connsiteX33" fmla="*/ 2404009 w 6014544"/>
              <a:gd name="connsiteY33" fmla="*/ 4460157 h 4929733"/>
              <a:gd name="connsiteX34" fmla="*/ 2444837 w 6014544"/>
              <a:gd name="connsiteY34" fmla="*/ 4437486 h 4929733"/>
              <a:gd name="connsiteX35" fmla="*/ 2485032 w 6014544"/>
              <a:gd name="connsiteY35" fmla="*/ 4414376 h 4929733"/>
              <a:gd name="connsiteX36" fmla="*/ 2524605 w 6014544"/>
              <a:gd name="connsiteY36" fmla="*/ 4390833 h 4929733"/>
              <a:gd name="connsiteX37" fmla="*/ 2563568 w 6014544"/>
              <a:gd name="connsiteY37" fmla="*/ 4366865 h 4929733"/>
              <a:gd name="connsiteX38" fmla="*/ 2601933 w 6014544"/>
              <a:gd name="connsiteY38" fmla="*/ 4342477 h 4929733"/>
              <a:gd name="connsiteX39" fmla="*/ 2639711 w 6014544"/>
              <a:gd name="connsiteY39" fmla="*/ 4317675 h 4929733"/>
              <a:gd name="connsiteX40" fmla="*/ 2676915 w 6014544"/>
              <a:gd name="connsiteY40" fmla="*/ 4292467 h 4929733"/>
              <a:gd name="connsiteX41" fmla="*/ 2713555 w 6014544"/>
              <a:gd name="connsiteY41" fmla="*/ 4266859 h 4929733"/>
              <a:gd name="connsiteX42" fmla="*/ 2749643 w 6014544"/>
              <a:gd name="connsiteY42" fmla="*/ 4240857 h 4929733"/>
              <a:gd name="connsiteX43" fmla="*/ 2785192 w 6014544"/>
              <a:gd name="connsiteY43" fmla="*/ 4214468 h 4929733"/>
              <a:gd name="connsiteX44" fmla="*/ 2820213 w 6014544"/>
              <a:gd name="connsiteY44" fmla="*/ 4187699 h 4929733"/>
              <a:gd name="connsiteX45" fmla="*/ 2854717 w 6014544"/>
              <a:gd name="connsiteY45" fmla="*/ 4160555 h 4929733"/>
              <a:gd name="connsiteX46" fmla="*/ 2888716 w 6014544"/>
              <a:gd name="connsiteY46" fmla="*/ 4133043 h 4929733"/>
              <a:gd name="connsiteX47" fmla="*/ 2922222 w 6014544"/>
              <a:gd name="connsiteY47" fmla="*/ 4105171 h 4929733"/>
              <a:gd name="connsiteX48" fmla="*/ 2955247 w 6014544"/>
              <a:gd name="connsiteY48" fmla="*/ 4076943 h 4929733"/>
              <a:gd name="connsiteX49" fmla="*/ 2987803 w 6014544"/>
              <a:gd name="connsiteY49" fmla="*/ 4048367 h 4929733"/>
              <a:gd name="connsiteX50" fmla="*/ 3019900 w 6014544"/>
              <a:gd name="connsiteY50" fmla="*/ 4019449 h 4929733"/>
              <a:gd name="connsiteX51" fmla="*/ 3051551 w 6014544"/>
              <a:gd name="connsiteY51" fmla="*/ 3990196 h 4929733"/>
              <a:gd name="connsiteX52" fmla="*/ 3082767 w 6014544"/>
              <a:gd name="connsiteY52" fmla="*/ 3960614 h 4929733"/>
              <a:gd name="connsiteX53" fmla="*/ 3113560 w 6014544"/>
              <a:gd name="connsiteY53" fmla="*/ 3930710 h 4929733"/>
              <a:gd name="connsiteX54" fmla="*/ 3143943 w 6014544"/>
              <a:gd name="connsiteY54" fmla="*/ 3900490 h 4929733"/>
              <a:gd name="connsiteX55" fmla="*/ 3173925 w 6014544"/>
              <a:gd name="connsiteY55" fmla="*/ 3869960 h 4929733"/>
              <a:gd name="connsiteX56" fmla="*/ 3203520 w 6014544"/>
              <a:gd name="connsiteY56" fmla="*/ 3839127 h 4929733"/>
              <a:gd name="connsiteX57" fmla="*/ 3232739 w 6014544"/>
              <a:gd name="connsiteY57" fmla="*/ 3807998 h 4929733"/>
              <a:gd name="connsiteX58" fmla="*/ 3261593 w 6014544"/>
              <a:gd name="connsiteY58" fmla="*/ 3776579 h 4929733"/>
              <a:gd name="connsiteX59" fmla="*/ 3290094 w 6014544"/>
              <a:gd name="connsiteY59" fmla="*/ 3744877 h 4929733"/>
              <a:gd name="connsiteX60" fmla="*/ 3318254 w 6014544"/>
              <a:gd name="connsiteY60" fmla="*/ 3712897 h 4929733"/>
              <a:gd name="connsiteX61" fmla="*/ 3346085 w 6014544"/>
              <a:gd name="connsiteY61" fmla="*/ 3680647 h 4929733"/>
              <a:gd name="connsiteX62" fmla="*/ 3373598 w 6014544"/>
              <a:gd name="connsiteY62" fmla="*/ 3648133 h 4929733"/>
              <a:gd name="connsiteX63" fmla="*/ 3400806 w 6014544"/>
              <a:gd name="connsiteY63" fmla="*/ 3615361 h 4929733"/>
              <a:gd name="connsiteX64" fmla="*/ 3427719 w 6014544"/>
              <a:gd name="connsiteY64" fmla="*/ 3582338 h 4929733"/>
              <a:gd name="connsiteX65" fmla="*/ 3454349 w 6014544"/>
              <a:gd name="connsiteY65" fmla="*/ 3549071 h 4929733"/>
              <a:gd name="connsiteX66" fmla="*/ 3480708 w 6014544"/>
              <a:gd name="connsiteY66" fmla="*/ 3515565 h 4929733"/>
              <a:gd name="connsiteX67" fmla="*/ 3506808 w 6014544"/>
              <a:gd name="connsiteY67" fmla="*/ 3481828 h 4929733"/>
              <a:gd name="connsiteX68" fmla="*/ 3532661 w 6014544"/>
              <a:gd name="connsiteY68" fmla="*/ 3447865 h 4929733"/>
              <a:gd name="connsiteX69" fmla="*/ 3558277 w 6014544"/>
              <a:gd name="connsiteY69" fmla="*/ 3413684 h 4929733"/>
              <a:gd name="connsiteX70" fmla="*/ 3583670 w 6014544"/>
              <a:gd name="connsiteY70" fmla="*/ 3379290 h 4929733"/>
              <a:gd name="connsiteX71" fmla="*/ 3608850 w 6014544"/>
              <a:gd name="connsiteY71" fmla="*/ 3344691 h 4929733"/>
              <a:gd name="connsiteX72" fmla="*/ 3633829 w 6014544"/>
              <a:gd name="connsiteY72" fmla="*/ 3309893 h 4929733"/>
              <a:gd name="connsiteX73" fmla="*/ 3683232 w 6014544"/>
              <a:gd name="connsiteY73" fmla="*/ 3239724 h 4929733"/>
              <a:gd name="connsiteX74" fmla="*/ 3731972 w 6014544"/>
              <a:gd name="connsiteY74" fmla="*/ 3168836 h 4929733"/>
              <a:gd name="connsiteX75" fmla="*/ 3780142 w 6014544"/>
              <a:gd name="connsiteY75" fmla="*/ 3097281 h 4929733"/>
              <a:gd name="connsiteX76" fmla="*/ 3827837 w 6014544"/>
              <a:gd name="connsiteY76" fmla="*/ 3025110 h 4929733"/>
              <a:gd name="connsiteX77" fmla="*/ 3875150 w 6014544"/>
              <a:gd name="connsiteY77" fmla="*/ 2952375 h 4929733"/>
              <a:gd name="connsiteX78" fmla="*/ 3945607 w 6014544"/>
              <a:gd name="connsiteY78" fmla="*/ 2842329 h 4929733"/>
              <a:gd name="connsiteX79" fmla="*/ 4227251 w 6014544"/>
              <a:gd name="connsiteY79" fmla="*/ 2394125 h 4929733"/>
              <a:gd name="connsiteX80" fmla="*/ 4299195 w 6014544"/>
              <a:gd name="connsiteY80" fmla="*/ 2280944 h 4929733"/>
              <a:gd name="connsiteX81" fmla="*/ 4347829 w 6014544"/>
              <a:gd name="connsiteY81" fmla="*/ 2205422 h 4929733"/>
              <a:gd name="connsiteX82" fmla="*/ 4428507 w 6014544"/>
              <a:gd name="connsiteY82" fmla="*/ 2081094 h 4929733"/>
              <a:gd name="connsiteX83" fmla="*/ 4512003 w 6014544"/>
              <a:gd name="connsiteY83" fmla="*/ 1950584 h 4929733"/>
              <a:gd name="connsiteX84" fmla="*/ 4787968 w 6014544"/>
              <a:gd name="connsiteY84" fmla="*/ 1513988 h 4929733"/>
              <a:gd name="connsiteX85" fmla="*/ 4871213 w 6014544"/>
              <a:gd name="connsiteY85" fmla="*/ 1383871 h 4929733"/>
              <a:gd name="connsiteX86" fmla="*/ 4927104 w 6014544"/>
              <a:gd name="connsiteY86" fmla="*/ 1297666 h 4929733"/>
              <a:gd name="connsiteX87" fmla="*/ 4983417 w 6014544"/>
              <a:gd name="connsiteY87" fmla="*/ 1212012 h 4929733"/>
              <a:gd name="connsiteX88" fmla="*/ 5040240 w 6014544"/>
              <a:gd name="connsiteY88" fmla="*/ 1127013 h 4929733"/>
              <a:gd name="connsiteX89" fmla="*/ 5097662 w 6014544"/>
              <a:gd name="connsiteY89" fmla="*/ 1042769 h 4929733"/>
              <a:gd name="connsiteX90" fmla="*/ 5126626 w 6014544"/>
              <a:gd name="connsiteY90" fmla="*/ 1000963 h 4929733"/>
              <a:gd name="connsiteX91" fmla="*/ 5155774 w 6014544"/>
              <a:gd name="connsiteY91" fmla="*/ 959384 h 4929733"/>
              <a:gd name="connsiteX92" fmla="*/ 5185115 w 6014544"/>
              <a:gd name="connsiteY92" fmla="*/ 918045 h 4929733"/>
              <a:gd name="connsiteX93" fmla="*/ 5214663 w 6014544"/>
              <a:gd name="connsiteY93" fmla="*/ 876959 h 4929733"/>
              <a:gd name="connsiteX94" fmla="*/ 5244427 w 6014544"/>
              <a:gd name="connsiteY94" fmla="*/ 836139 h 4929733"/>
              <a:gd name="connsiteX95" fmla="*/ 5274420 w 6014544"/>
              <a:gd name="connsiteY95" fmla="*/ 795597 h 4929733"/>
              <a:gd name="connsiteX96" fmla="*/ 5304651 w 6014544"/>
              <a:gd name="connsiteY96" fmla="*/ 755346 h 4929733"/>
              <a:gd name="connsiteX97" fmla="*/ 5335133 w 6014544"/>
              <a:gd name="connsiteY97" fmla="*/ 715400 h 4929733"/>
              <a:gd name="connsiteX98" fmla="*/ 5365877 w 6014544"/>
              <a:gd name="connsiteY98" fmla="*/ 675770 h 4929733"/>
              <a:gd name="connsiteX99" fmla="*/ 5396893 w 6014544"/>
              <a:gd name="connsiteY99" fmla="*/ 636470 h 4929733"/>
              <a:gd name="connsiteX100" fmla="*/ 5428193 w 6014544"/>
              <a:gd name="connsiteY100" fmla="*/ 597512 h 4929733"/>
              <a:gd name="connsiteX101" fmla="*/ 5459788 w 6014544"/>
              <a:gd name="connsiteY101" fmla="*/ 558910 h 4929733"/>
              <a:gd name="connsiteX102" fmla="*/ 5491689 w 6014544"/>
              <a:gd name="connsiteY102" fmla="*/ 520675 h 4929733"/>
              <a:gd name="connsiteX103" fmla="*/ 5523908 w 6014544"/>
              <a:gd name="connsiteY103" fmla="*/ 482821 h 4929733"/>
              <a:gd name="connsiteX104" fmla="*/ 5556455 w 6014544"/>
              <a:gd name="connsiteY104" fmla="*/ 445361 h 4929733"/>
              <a:gd name="connsiteX105" fmla="*/ 5589342 w 6014544"/>
              <a:gd name="connsiteY105" fmla="*/ 408306 h 4929733"/>
              <a:gd name="connsiteX106" fmla="*/ 5622579 w 6014544"/>
              <a:gd name="connsiteY106" fmla="*/ 371671 h 4929733"/>
              <a:gd name="connsiteX107" fmla="*/ 5656179 w 6014544"/>
              <a:gd name="connsiteY107" fmla="*/ 335468 h 4929733"/>
              <a:gd name="connsiteX108" fmla="*/ 5690152 w 6014544"/>
              <a:gd name="connsiteY108" fmla="*/ 299710 h 4929733"/>
              <a:gd name="connsiteX109" fmla="*/ 5724509 w 6014544"/>
              <a:gd name="connsiteY109" fmla="*/ 264408 h 4929733"/>
              <a:gd name="connsiteX110" fmla="*/ 5759262 w 6014544"/>
              <a:gd name="connsiteY110" fmla="*/ 229577 h 4929733"/>
              <a:gd name="connsiteX111" fmla="*/ 5794421 w 6014544"/>
              <a:gd name="connsiteY111" fmla="*/ 195229 h 4929733"/>
              <a:gd name="connsiteX112" fmla="*/ 5829999 w 6014544"/>
              <a:gd name="connsiteY112" fmla="*/ 161377 h 4929733"/>
              <a:gd name="connsiteX113" fmla="*/ 5866005 w 6014544"/>
              <a:gd name="connsiteY113" fmla="*/ 128033 h 4929733"/>
              <a:gd name="connsiteX114" fmla="*/ 5902451 w 6014544"/>
              <a:gd name="connsiteY114" fmla="*/ 95211 h 4929733"/>
              <a:gd name="connsiteX115" fmla="*/ 5939349 w 6014544"/>
              <a:gd name="connsiteY115" fmla="*/ 62923 h 4929733"/>
              <a:gd name="connsiteX116" fmla="*/ 5976710 w 6014544"/>
              <a:gd name="connsiteY116" fmla="*/ 31181 h 4929733"/>
              <a:gd name="connsiteX117" fmla="*/ 6014544 w 6014544"/>
              <a:gd name="connsiteY117" fmla="*/ 0 h 49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14544" h="4929733">
                <a:moveTo>
                  <a:pt x="6014544" y="0"/>
                </a:moveTo>
                <a:lnTo>
                  <a:pt x="511" y="7668"/>
                </a:lnTo>
                <a:cubicBezTo>
                  <a:pt x="-3330" y="1650912"/>
                  <a:pt x="15833" y="3286489"/>
                  <a:pt x="11992" y="4929733"/>
                </a:cubicBezTo>
                <a:lnTo>
                  <a:pt x="826657" y="4904003"/>
                </a:lnTo>
                <a:lnTo>
                  <a:pt x="891923" y="4897516"/>
                </a:lnTo>
                <a:lnTo>
                  <a:pt x="956205" y="4890395"/>
                </a:lnTo>
                <a:lnTo>
                  <a:pt x="1019514" y="4882647"/>
                </a:lnTo>
                <a:lnTo>
                  <a:pt x="1081862" y="4874279"/>
                </a:lnTo>
                <a:lnTo>
                  <a:pt x="1143262" y="4865297"/>
                </a:lnTo>
                <a:lnTo>
                  <a:pt x="1203724" y="4855708"/>
                </a:lnTo>
                <a:lnTo>
                  <a:pt x="1263261" y="4845517"/>
                </a:lnTo>
                <a:lnTo>
                  <a:pt x="1321883" y="4834732"/>
                </a:lnTo>
                <a:lnTo>
                  <a:pt x="1379603" y="4823359"/>
                </a:lnTo>
                <a:lnTo>
                  <a:pt x="1436433" y="4811404"/>
                </a:lnTo>
                <a:lnTo>
                  <a:pt x="1492384" y="4798874"/>
                </a:lnTo>
                <a:lnTo>
                  <a:pt x="1547467" y="4785776"/>
                </a:lnTo>
                <a:lnTo>
                  <a:pt x="1601695" y="4772115"/>
                </a:lnTo>
                <a:lnTo>
                  <a:pt x="1655080" y="4757899"/>
                </a:lnTo>
                <a:lnTo>
                  <a:pt x="1707632" y="4743134"/>
                </a:lnTo>
                <a:lnTo>
                  <a:pt x="1759363" y="4727825"/>
                </a:lnTo>
                <a:lnTo>
                  <a:pt x="1810286" y="4711981"/>
                </a:lnTo>
                <a:lnTo>
                  <a:pt x="1860412" y="4695607"/>
                </a:lnTo>
                <a:lnTo>
                  <a:pt x="1909753" y="4678710"/>
                </a:lnTo>
                <a:lnTo>
                  <a:pt x="1958320" y="4661296"/>
                </a:lnTo>
                <a:lnTo>
                  <a:pt x="2006125" y="4643371"/>
                </a:lnTo>
                <a:lnTo>
                  <a:pt x="2053179" y="4624943"/>
                </a:lnTo>
                <a:lnTo>
                  <a:pt x="2099495" y="4606017"/>
                </a:lnTo>
                <a:lnTo>
                  <a:pt x="2145084" y="4586601"/>
                </a:lnTo>
                <a:lnTo>
                  <a:pt x="2189958" y="4566700"/>
                </a:lnTo>
                <a:lnTo>
                  <a:pt x="2234129" y="4546321"/>
                </a:lnTo>
                <a:lnTo>
                  <a:pt x="2277607" y="4525471"/>
                </a:lnTo>
                <a:lnTo>
                  <a:pt x="2320406" y="4504156"/>
                </a:lnTo>
                <a:lnTo>
                  <a:pt x="2362536" y="4482383"/>
                </a:lnTo>
                <a:lnTo>
                  <a:pt x="2404009" y="4460157"/>
                </a:lnTo>
                <a:lnTo>
                  <a:pt x="2444837" y="4437486"/>
                </a:lnTo>
                <a:lnTo>
                  <a:pt x="2485032" y="4414376"/>
                </a:lnTo>
                <a:lnTo>
                  <a:pt x="2524605" y="4390833"/>
                </a:lnTo>
                <a:lnTo>
                  <a:pt x="2563568" y="4366865"/>
                </a:lnTo>
                <a:lnTo>
                  <a:pt x="2601933" y="4342477"/>
                </a:lnTo>
                <a:lnTo>
                  <a:pt x="2639711" y="4317675"/>
                </a:lnTo>
                <a:lnTo>
                  <a:pt x="2676915" y="4292467"/>
                </a:lnTo>
                <a:lnTo>
                  <a:pt x="2713555" y="4266859"/>
                </a:lnTo>
                <a:lnTo>
                  <a:pt x="2749643" y="4240857"/>
                </a:lnTo>
                <a:lnTo>
                  <a:pt x="2785192" y="4214468"/>
                </a:lnTo>
                <a:lnTo>
                  <a:pt x="2820213" y="4187699"/>
                </a:lnTo>
                <a:lnTo>
                  <a:pt x="2854717" y="4160555"/>
                </a:lnTo>
                <a:lnTo>
                  <a:pt x="2888716" y="4133043"/>
                </a:lnTo>
                <a:lnTo>
                  <a:pt x="2922222" y="4105171"/>
                </a:lnTo>
                <a:lnTo>
                  <a:pt x="2955247" y="4076943"/>
                </a:lnTo>
                <a:lnTo>
                  <a:pt x="2987803" y="4048367"/>
                </a:lnTo>
                <a:lnTo>
                  <a:pt x="3019900" y="4019449"/>
                </a:lnTo>
                <a:lnTo>
                  <a:pt x="3051551" y="3990196"/>
                </a:lnTo>
                <a:lnTo>
                  <a:pt x="3082767" y="3960614"/>
                </a:lnTo>
                <a:lnTo>
                  <a:pt x="3113560" y="3930710"/>
                </a:lnTo>
                <a:lnTo>
                  <a:pt x="3143943" y="3900490"/>
                </a:lnTo>
                <a:lnTo>
                  <a:pt x="3173925" y="3869960"/>
                </a:lnTo>
                <a:lnTo>
                  <a:pt x="3203520" y="3839127"/>
                </a:lnTo>
                <a:lnTo>
                  <a:pt x="3232739" y="3807998"/>
                </a:lnTo>
                <a:lnTo>
                  <a:pt x="3261593" y="3776579"/>
                </a:lnTo>
                <a:lnTo>
                  <a:pt x="3290094" y="3744877"/>
                </a:lnTo>
                <a:lnTo>
                  <a:pt x="3318254" y="3712897"/>
                </a:lnTo>
                <a:lnTo>
                  <a:pt x="3346085" y="3680647"/>
                </a:lnTo>
                <a:lnTo>
                  <a:pt x="3373598" y="3648133"/>
                </a:lnTo>
                <a:lnTo>
                  <a:pt x="3400806" y="3615361"/>
                </a:lnTo>
                <a:lnTo>
                  <a:pt x="3427719" y="3582338"/>
                </a:lnTo>
                <a:lnTo>
                  <a:pt x="3454349" y="3549071"/>
                </a:lnTo>
                <a:lnTo>
                  <a:pt x="3480708" y="3515565"/>
                </a:lnTo>
                <a:lnTo>
                  <a:pt x="3506808" y="3481828"/>
                </a:lnTo>
                <a:lnTo>
                  <a:pt x="3532661" y="3447865"/>
                </a:lnTo>
                <a:lnTo>
                  <a:pt x="3558277" y="3413684"/>
                </a:lnTo>
                <a:lnTo>
                  <a:pt x="3583670" y="3379290"/>
                </a:lnTo>
                <a:lnTo>
                  <a:pt x="3608850" y="3344691"/>
                </a:lnTo>
                <a:lnTo>
                  <a:pt x="3633829" y="3309893"/>
                </a:lnTo>
                <a:lnTo>
                  <a:pt x="3683232" y="3239724"/>
                </a:lnTo>
                <a:lnTo>
                  <a:pt x="3731972" y="3168836"/>
                </a:lnTo>
                <a:lnTo>
                  <a:pt x="3780142" y="3097281"/>
                </a:lnTo>
                <a:lnTo>
                  <a:pt x="3827837" y="3025110"/>
                </a:lnTo>
                <a:lnTo>
                  <a:pt x="3875150" y="2952375"/>
                </a:lnTo>
                <a:lnTo>
                  <a:pt x="3945607" y="2842329"/>
                </a:lnTo>
                <a:lnTo>
                  <a:pt x="4227251" y="2394125"/>
                </a:lnTo>
                <a:lnTo>
                  <a:pt x="4299195" y="2280944"/>
                </a:lnTo>
                <a:lnTo>
                  <a:pt x="4347829" y="2205422"/>
                </a:lnTo>
                <a:lnTo>
                  <a:pt x="4428507" y="2081094"/>
                </a:lnTo>
                <a:lnTo>
                  <a:pt x="4512003" y="1950584"/>
                </a:lnTo>
                <a:lnTo>
                  <a:pt x="4787968" y="1513988"/>
                </a:lnTo>
                <a:lnTo>
                  <a:pt x="4871213" y="1383871"/>
                </a:lnTo>
                <a:lnTo>
                  <a:pt x="4927104" y="1297666"/>
                </a:lnTo>
                <a:lnTo>
                  <a:pt x="4983417" y="1212012"/>
                </a:lnTo>
                <a:lnTo>
                  <a:pt x="5040240" y="1127013"/>
                </a:lnTo>
                <a:lnTo>
                  <a:pt x="5097662" y="1042769"/>
                </a:lnTo>
                <a:lnTo>
                  <a:pt x="5126626" y="1000963"/>
                </a:lnTo>
                <a:lnTo>
                  <a:pt x="5155774" y="959384"/>
                </a:lnTo>
                <a:lnTo>
                  <a:pt x="5185115" y="918045"/>
                </a:lnTo>
                <a:lnTo>
                  <a:pt x="5214663" y="876959"/>
                </a:lnTo>
                <a:lnTo>
                  <a:pt x="5244427" y="836139"/>
                </a:lnTo>
                <a:lnTo>
                  <a:pt x="5274420" y="795597"/>
                </a:lnTo>
                <a:lnTo>
                  <a:pt x="5304651" y="755346"/>
                </a:lnTo>
                <a:lnTo>
                  <a:pt x="5335133" y="715400"/>
                </a:lnTo>
                <a:lnTo>
                  <a:pt x="5365877" y="675770"/>
                </a:lnTo>
                <a:lnTo>
                  <a:pt x="5396893" y="636470"/>
                </a:lnTo>
                <a:lnTo>
                  <a:pt x="5428193" y="597512"/>
                </a:lnTo>
                <a:lnTo>
                  <a:pt x="5459788" y="558910"/>
                </a:lnTo>
                <a:lnTo>
                  <a:pt x="5491689" y="520675"/>
                </a:lnTo>
                <a:lnTo>
                  <a:pt x="5523908" y="482821"/>
                </a:lnTo>
                <a:lnTo>
                  <a:pt x="5556455" y="445361"/>
                </a:lnTo>
                <a:lnTo>
                  <a:pt x="5589342" y="408306"/>
                </a:lnTo>
                <a:lnTo>
                  <a:pt x="5622579" y="371671"/>
                </a:lnTo>
                <a:lnTo>
                  <a:pt x="5656179" y="335468"/>
                </a:lnTo>
                <a:lnTo>
                  <a:pt x="5690152" y="299710"/>
                </a:lnTo>
                <a:lnTo>
                  <a:pt x="5724509" y="264408"/>
                </a:lnTo>
                <a:lnTo>
                  <a:pt x="5759262" y="229577"/>
                </a:lnTo>
                <a:lnTo>
                  <a:pt x="5794421" y="195229"/>
                </a:lnTo>
                <a:lnTo>
                  <a:pt x="5829999" y="161377"/>
                </a:lnTo>
                <a:lnTo>
                  <a:pt x="5866005" y="128033"/>
                </a:lnTo>
                <a:lnTo>
                  <a:pt x="5902451" y="95211"/>
                </a:lnTo>
                <a:lnTo>
                  <a:pt x="5939349" y="62923"/>
                </a:lnTo>
                <a:lnTo>
                  <a:pt x="5976710" y="31181"/>
                </a:lnTo>
                <a:lnTo>
                  <a:pt x="6014544" y="0"/>
                </a:lnTo>
                <a:close/>
              </a:path>
            </a:pathLst>
          </a:custGeom>
          <a:solidFill>
            <a:schemeClr val="bg1"/>
          </a:solidFill>
        </p:spPr>
        <p:txBody>
          <a:bodyPr wrap="square" lIns="0" tIns="0" rIns="0" bIns="0" rtlCol="0"/>
          <a:lstStyle/>
          <a:p>
            <a:endParaRPr/>
          </a:p>
        </p:txBody>
      </p:sp>
      <p:sp>
        <p:nvSpPr>
          <p:cNvPr id="39" name="Titel 1">
            <a:extLst>
              <a:ext uri="{FF2B5EF4-FFF2-40B4-BE49-F238E27FC236}">
                <a16:creationId xmlns:a16="http://schemas.microsoft.com/office/drawing/2014/main" id="{F420976D-DF05-5525-6577-F426180F9CA9}"/>
              </a:ext>
            </a:extLst>
          </p:cNvPr>
          <p:cNvSpPr>
            <a:spLocks noGrp="1"/>
          </p:cNvSpPr>
          <p:nvPr>
            <p:ph type="ctrTitle"/>
          </p:nvPr>
        </p:nvSpPr>
        <p:spPr>
          <a:xfrm>
            <a:off x="399922" y="2161077"/>
            <a:ext cx="5443315" cy="1725277"/>
          </a:xfrm>
          <a:prstGeom prst="rect">
            <a:avLst/>
          </a:prstGeom>
        </p:spPr>
        <p:txBody>
          <a:bodyPr anchor="b">
            <a:noAutofit/>
          </a:bodyPr>
          <a:lstStyle>
            <a:lvl1pPr algn="l">
              <a:defRPr sz="6000" b="1" i="0">
                <a:solidFill>
                  <a:srgbClr val="2C3051"/>
                </a:solidFill>
                <a:latin typeface="Avenir Black" panose="02000503020000020003" pitchFamily="2" charset="0"/>
              </a:defRPr>
            </a:lvl1pPr>
          </a:lstStyle>
          <a:p>
            <a:r>
              <a:rPr lang="fr-FR"/>
              <a:t>Modifiez le style du titre</a:t>
            </a:r>
            <a:endParaRPr lang="nl-BE"/>
          </a:p>
        </p:txBody>
      </p:sp>
      <p:pic>
        <p:nvPicPr>
          <p:cNvPr id="8" name="Afbeelding 28">
            <a:extLst>
              <a:ext uri="{FF2B5EF4-FFF2-40B4-BE49-F238E27FC236}">
                <a16:creationId xmlns:a16="http://schemas.microsoft.com/office/drawing/2014/main" id="{83CAAACC-926A-7D84-2E91-B9FAC5A21B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Tree>
    <p:extLst>
      <p:ext uri="{BB962C8B-B14F-4D97-AF65-F5344CB8AC3E}">
        <p14:creationId xmlns:p14="http://schemas.microsoft.com/office/powerpoint/2010/main" val="647627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02476" y="-1"/>
            <a:ext cx="10689524" cy="6879523"/>
          </a:xfrm>
          <a:prstGeom prst="rect">
            <a:avLst/>
          </a:prstGeom>
        </p:spPr>
      </p:pic>
      <p:sp>
        <p:nvSpPr>
          <p:cNvPr id="21" name="object 2">
            <a:extLst>
              <a:ext uri="{FF2B5EF4-FFF2-40B4-BE49-F238E27FC236}">
                <a16:creationId xmlns:a16="http://schemas.microsoft.com/office/drawing/2014/main" id="{7FB5D4F0-26ED-CC75-D041-B96DBFB98F5E}"/>
              </a:ext>
            </a:extLst>
          </p:cNvPr>
          <p:cNvSpPr/>
          <p:nvPr userDrawn="1"/>
        </p:nvSpPr>
        <p:spPr>
          <a:xfrm>
            <a:off x="-15277" y="0"/>
            <a:ext cx="7567544" cy="6879523"/>
          </a:xfrm>
          <a:custGeom>
            <a:avLst/>
            <a:gdLst/>
            <a:ahLst/>
            <a:cxnLst/>
            <a:rect l="l" t="t" r="r" b="b"/>
            <a:pathLst>
              <a:path w="8631555" h="6687820">
                <a:moveTo>
                  <a:pt x="8631301" y="0"/>
                </a:moveTo>
                <a:lnTo>
                  <a:pt x="0" y="0"/>
                </a:lnTo>
                <a:lnTo>
                  <a:pt x="0" y="6687210"/>
                </a:lnTo>
                <a:lnTo>
                  <a:pt x="1556981" y="6687210"/>
                </a:lnTo>
                <a:lnTo>
                  <a:pt x="1622552" y="6680790"/>
                </a:lnTo>
                <a:lnTo>
                  <a:pt x="1687395" y="6673902"/>
                </a:lnTo>
                <a:lnTo>
                  <a:pt x="1751517" y="6666549"/>
                </a:lnTo>
                <a:lnTo>
                  <a:pt x="1814923" y="6658735"/>
                </a:lnTo>
                <a:lnTo>
                  <a:pt x="1877621" y="6650463"/>
                </a:lnTo>
                <a:lnTo>
                  <a:pt x="1939616" y="6641737"/>
                </a:lnTo>
                <a:lnTo>
                  <a:pt x="2000915" y="6632561"/>
                </a:lnTo>
                <a:lnTo>
                  <a:pt x="2061524" y="6622937"/>
                </a:lnTo>
                <a:lnTo>
                  <a:pt x="2121449" y="6612869"/>
                </a:lnTo>
                <a:lnTo>
                  <a:pt x="2180698" y="6602362"/>
                </a:lnTo>
                <a:lnTo>
                  <a:pt x="2239276" y="6591417"/>
                </a:lnTo>
                <a:lnTo>
                  <a:pt x="2297189" y="6580040"/>
                </a:lnTo>
                <a:lnTo>
                  <a:pt x="2354444" y="6568233"/>
                </a:lnTo>
                <a:lnTo>
                  <a:pt x="2411048" y="6555999"/>
                </a:lnTo>
                <a:lnTo>
                  <a:pt x="2467006" y="6543344"/>
                </a:lnTo>
                <a:lnTo>
                  <a:pt x="2522325" y="6530269"/>
                </a:lnTo>
                <a:lnTo>
                  <a:pt x="2577011" y="6516778"/>
                </a:lnTo>
                <a:lnTo>
                  <a:pt x="2631071" y="6502876"/>
                </a:lnTo>
                <a:lnTo>
                  <a:pt x="2684511" y="6488565"/>
                </a:lnTo>
                <a:lnTo>
                  <a:pt x="2737336" y="6473849"/>
                </a:lnTo>
                <a:lnTo>
                  <a:pt x="2789555" y="6458731"/>
                </a:lnTo>
                <a:lnTo>
                  <a:pt x="2841173" y="6443216"/>
                </a:lnTo>
                <a:lnTo>
                  <a:pt x="2892195" y="6427305"/>
                </a:lnTo>
                <a:lnTo>
                  <a:pt x="2942630" y="6411004"/>
                </a:lnTo>
                <a:lnTo>
                  <a:pt x="2992482" y="6394316"/>
                </a:lnTo>
                <a:lnTo>
                  <a:pt x="3041759" y="6377243"/>
                </a:lnTo>
                <a:lnTo>
                  <a:pt x="3090466" y="6359791"/>
                </a:lnTo>
                <a:lnTo>
                  <a:pt x="3138610" y="6341961"/>
                </a:lnTo>
                <a:lnTo>
                  <a:pt x="3186198" y="6323757"/>
                </a:lnTo>
                <a:lnTo>
                  <a:pt x="3233235" y="6305184"/>
                </a:lnTo>
                <a:lnTo>
                  <a:pt x="3279728" y="6286245"/>
                </a:lnTo>
                <a:lnTo>
                  <a:pt x="3325684" y="6266942"/>
                </a:lnTo>
                <a:lnTo>
                  <a:pt x="3371108" y="6247281"/>
                </a:lnTo>
                <a:lnTo>
                  <a:pt x="3416007" y="6227263"/>
                </a:lnTo>
                <a:lnTo>
                  <a:pt x="3460387" y="6206893"/>
                </a:lnTo>
                <a:lnTo>
                  <a:pt x="3504255" y="6186174"/>
                </a:lnTo>
                <a:lnTo>
                  <a:pt x="3547617" y="6165110"/>
                </a:lnTo>
                <a:lnTo>
                  <a:pt x="3590480" y="6143704"/>
                </a:lnTo>
                <a:lnTo>
                  <a:pt x="3632849" y="6121960"/>
                </a:lnTo>
                <a:lnTo>
                  <a:pt x="3674731" y="6099881"/>
                </a:lnTo>
                <a:lnTo>
                  <a:pt x="3716133" y="6077471"/>
                </a:lnTo>
                <a:lnTo>
                  <a:pt x="3757060" y="6054733"/>
                </a:lnTo>
                <a:lnTo>
                  <a:pt x="3797519" y="6031671"/>
                </a:lnTo>
                <a:lnTo>
                  <a:pt x="3837517" y="6008288"/>
                </a:lnTo>
                <a:lnTo>
                  <a:pt x="3877059" y="5984588"/>
                </a:lnTo>
                <a:lnTo>
                  <a:pt x="3916152" y="5960574"/>
                </a:lnTo>
                <a:lnTo>
                  <a:pt x="3954803" y="5936250"/>
                </a:lnTo>
                <a:lnTo>
                  <a:pt x="3993018" y="5911619"/>
                </a:lnTo>
                <a:lnTo>
                  <a:pt x="4030802" y="5886685"/>
                </a:lnTo>
                <a:lnTo>
                  <a:pt x="4068163" y="5861452"/>
                </a:lnTo>
                <a:lnTo>
                  <a:pt x="4105107" y="5835922"/>
                </a:lnTo>
                <a:lnTo>
                  <a:pt x="4141640" y="5810100"/>
                </a:lnTo>
                <a:lnTo>
                  <a:pt x="4177768" y="5783988"/>
                </a:lnTo>
                <a:lnTo>
                  <a:pt x="4213498" y="5757591"/>
                </a:lnTo>
                <a:lnTo>
                  <a:pt x="4248836" y="5730912"/>
                </a:lnTo>
                <a:lnTo>
                  <a:pt x="4283788" y="5703955"/>
                </a:lnTo>
                <a:lnTo>
                  <a:pt x="4318361" y="5676722"/>
                </a:lnTo>
                <a:lnTo>
                  <a:pt x="4352561" y="5649218"/>
                </a:lnTo>
                <a:lnTo>
                  <a:pt x="4386395" y="5621446"/>
                </a:lnTo>
                <a:lnTo>
                  <a:pt x="4419869" y="5593409"/>
                </a:lnTo>
                <a:lnTo>
                  <a:pt x="4452988" y="5565111"/>
                </a:lnTo>
                <a:lnTo>
                  <a:pt x="4485760" y="5536556"/>
                </a:lnTo>
                <a:lnTo>
                  <a:pt x="4518191" y="5507747"/>
                </a:lnTo>
                <a:lnTo>
                  <a:pt x="4550287" y="5478687"/>
                </a:lnTo>
                <a:lnTo>
                  <a:pt x="4582054" y="5449380"/>
                </a:lnTo>
                <a:lnTo>
                  <a:pt x="4613500" y="5419830"/>
                </a:lnTo>
                <a:lnTo>
                  <a:pt x="4644629" y="5390040"/>
                </a:lnTo>
                <a:lnTo>
                  <a:pt x="4675449" y="5360014"/>
                </a:lnTo>
                <a:lnTo>
                  <a:pt x="4705966" y="5329755"/>
                </a:lnTo>
                <a:lnTo>
                  <a:pt x="4736185" y="5299266"/>
                </a:lnTo>
                <a:lnTo>
                  <a:pt x="4766115" y="5268551"/>
                </a:lnTo>
                <a:lnTo>
                  <a:pt x="4795760" y="5237614"/>
                </a:lnTo>
                <a:lnTo>
                  <a:pt x="4825127" y="5206458"/>
                </a:lnTo>
                <a:lnTo>
                  <a:pt x="4854223" y="5175087"/>
                </a:lnTo>
                <a:lnTo>
                  <a:pt x="4883054" y="5143504"/>
                </a:lnTo>
                <a:lnTo>
                  <a:pt x="4911626" y="5111713"/>
                </a:lnTo>
                <a:lnTo>
                  <a:pt x="4939945" y="5079717"/>
                </a:lnTo>
                <a:lnTo>
                  <a:pt x="4968018" y="5047519"/>
                </a:lnTo>
                <a:lnTo>
                  <a:pt x="4995852" y="5015124"/>
                </a:lnTo>
                <a:lnTo>
                  <a:pt x="5023452" y="4982535"/>
                </a:lnTo>
                <a:lnTo>
                  <a:pt x="5050824" y="4949755"/>
                </a:lnTo>
                <a:lnTo>
                  <a:pt x="5077976" y="4916787"/>
                </a:lnTo>
                <a:lnTo>
                  <a:pt x="5104914" y="4883636"/>
                </a:lnTo>
                <a:lnTo>
                  <a:pt x="5131644" y="4850305"/>
                </a:lnTo>
                <a:lnTo>
                  <a:pt x="5158171" y="4816797"/>
                </a:lnTo>
                <a:lnTo>
                  <a:pt x="5210647" y="4749265"/>
                </a:lnTo>
                <a:lnTo>
                  <a:pt x="5262391" y="4681068"/>
                </a:lnTo>
                <a:lnTo>
                  <a:pt x="5313455" y="4612234"/>
                </a:lnTo>
                <a:lnTo>
                  <a:pt x="5363889" y="4542793"/>
                </a:lnTo>
                <a:lnTo>
                  <a:pt x="5413745" y="4472771"/>
                </a:lnTo>
                <a:lnTo>
                  <a:pt x="5463072" y="4402196"/>
                </a:lnTo>
                <a:lnTo>
                  <a:pt x="5511922" y="4331098"/>
                </a:lnTo>
                <a:lnTo>
                  <a:pt x="5560344" y="4259503"/>
                </a:lnTo>
                <a:lnTo>
                  <a:pt x="5608391" y="4187441"/>
                </a:lnTo>
                <a:lnTo>
                  <a:pt x="5679867" y="4078531"/>
                </a:lnTo>
                <a:lnTo>
                  <a:pt x="5750781" y="3968727"/>
                </a:lnTo>
                <a:lnTo>
                  <a:pt x="5868190" y="3783989"/>
                </a:lnTo>
                <a:lnTo>
                  <a:pt x="6197916" y="3258640"/>
                </a:lnTo>
                <a:lnTo>
                  <a:pt x="6294137" y="3107321"/>
                </a:lnTo>
                <a:lnTo>
                  <a:pt x="6367357" y="2993735"/>
                </a:lnTo>
                <a:lnTo>
                  <a:pt x="6447904" y="2869788"/>
                </a:lnTo>
                <a:lnTo>
                  <a:pt x="6558874" y="2696807"/>
                </a:lnTo>
                <a:lnTo>
                  <a:pt x="6970940" y="2045274"/>
                </a:lnTo>
                <a:lnTo>
                  <a:pt x="7081462" y="1872743"/>
                </a:lnTo>
                <a:lnTo>
                  <a:pt x="7164986" y="1744202"/>
                </a:lnTo>
                <a:lnTo>
                  <a:pt x="7221058" y="1659017"/>
                </a:lnTo>
                <a:lnTo>
                  <a:pt x="7277496" y="1574303"/>
                </a:lnTo>
                <a:lnTo>
                  <a:pt x="7334350" y="1490113"/>
                </a:lnTo>
                <a:lnTo>
                  <a:pt x="7391664" y="1406503"/>
                </a:lnTo>
                <a:lnTo>
                  <a:pt x="7449488" y="1323526"/>
                </a:lnTo>
                <a:lnTo>
                  <a:pt x="7507868" y="1241237"/>
                </a:lnTo>
                <a:lnTo>
                  <a:pt x="7566851" y="1159689"/>
                </a:lnTo>
                <a:lnTo>
                  <a:pt x="7596584" y="1119210"/>
                </a:lnTo>
                <a:lnTo>
                  <a:pt x="7626486" y="1078937"/>
                </a:lnTo>
                <a:lnTo>
                  <a:pt x="7656562" y="1038876"/>
                </a:lnTo>
                <a:lnTo>
                  <a:pt x="7686818" y="999035"/>
                </a:lnTo>
                <a:lnTo>
                  <a:pt x="7717261" y="959419"/>
                </a:lnTo>
                <a:lnTo>
                  <a:pt x="7747897" y="920037"/>
                </a:lnTo>
                <a:lnTo>
                  <a:pt x="7778730" y="880894"/>
                </a:lnTo>
                <a:lnTo>
                  <a:pt x="7809768" y="841997"/>
                </a:lnTo>
                <a:lnTo>
                  <a:pt x="7841015" y="803354"/>
                </a:lnTo>
                <a:lnTo>
                  <a:pt x="7872479" y="764970"/>
                </a:lnTo>
                <a:lnTo>
                  <a:pt x="7904165" y="726853"/>
                </a:lnTo>
                <a:lnTo>
                  <a:pt x="7936078" y="689010"/>
                </a:lnTo>
                <a:lnTo>
                  <a:pt x="7968225" y="651447"/>
                </a:lnTo>
                <a:lnTo>
                  <a:pt x="8000612" y="614171"/>
                </a:lnTo>
                <a:lnTo>
                  <a:pt x="8033245" y="577189"/>
                </a:lnTo>
                <a:lnTo>
                  <a:pt x="8066128" y="540507"/>
                </a:lnTo>
                <a:lnTo>
                  <a:pt x="8099270" y="504132"/>
                </a:lnTo>
                <a:lnTo>
                  <a:pt x="8132674" y="468072"/>
                </a:lnTo>
                <a:lnTo>
                  <a:pt x="8166348" y="432332"/>
                </a:lnTo>
                <a:lnTo>
                  <a:pt x="8200297" y="396920"/>
                </a:lnTo>
                <a:lnTo>
                  <a:pt x="8234527" y="361843"/>
                </a:lnTo>
                <a:lnTo>
                  <a:pt x="8269044" y="327107"/>
                </a:lnTo>
                <a:lnTo>
                  <a:pt x="8303854" y="292718"/>
                </a:lnTo>
                <a:lnTo>
                  <a:pt x="8338963" y="258685"/>
                </a:lnTo>
                <a:lnTo>
                  <a:pt x="8374376" y="225013"/>
                </a:lnTo>
                <a:lnTo>
                  <a:pt x="8410101" y="191709"/>
                </a:lnTo>
                <a:lnTo>
                  <a:pt x="8446141" y="158780"/>
                </a:lnTo>
                <a:lnTo>
                  <a:pt x="8482505" y="126233"/>
                </a:lnTo>
                <a:lnTo>
                  <a:pt x="8519196" y="94075"/>
                </a:lnTo>
                <a:lnTo>
                  <a:pt x="8556222" y="62312"/>
                </a:lnTo>
                <a:lnTo>
                  <a:pt x="8593588" y="30951"/>
                </a:lnTo>
                <a:lnTo>
                  <a:pt x="8631301" y="0"/>
                </a:lnTo>
                <a:close/>
              </a:path>
            </a:pathLst>
          </a:custGeom>
          <a:solidFill>
            <a:schemeClr val="bg1"/>
          </a:solidFill>
        </p:spPr>
        <p:txBody>
          <a:bodyPr wrap="square" lIns="0" tIns="0" rIns="0" bIns="0" rtlCol="0"/>
          <a:lstStyle/>
          <a:p>
            <a:endParaRPr/>
          </a:p>
        </p:txBody>
      </p:sp>
      <p:sp>
        <p:nvSpPr>
          <p:cNvPr id="22" name="object 2">
            <a:extLst>
              <a:ext uri="{FF2B5EF4-FFF2-40B4-BE49-F238E27FC236}">
                <a16:creationId xmlns:a16="http://schemas.microsoft.com/office/drawing/2014/main" id="{25DF2A79-3B4E-0CAB-8620-E6EA8B837FB4}"/>
              </a:ext>
            </a:extLst>
          </p:cNvPr>
          <p:cNvSpPr/>
          <p:nvPr userDrawn="1"/>
        </p:nvSpPr>
        <p:spPr>
          <a:xfrm>
            <a:off x="6096000" y="21527"/>
            <a:ext cx="6111274" cy="6879523"/>
          </a:xfrm>
          <a:custGeom>
            <a:avLst/>
            <a:gdLst/>
            <a:ahLst/>
            <a:cxnLst/>
            <a:rect l="l" t="t" r="r" b="b"/>
            <a:pathLst>
              <a:path w="7153909" h="6666230">
                <a:moveTo>
                  <a:pt x="7153585" y="0"/>
                </a:moveTo>
                <a:lnTo>
                  <a:pt x="7077662" y="2636"/>
                </a:lnTo>
                <a:lnTo>
                  <a:pt x="6956764" y="8470"/>
                </a:lnTo>
                <a:lnTo>
                  <a:pt x="6838039" y="16137"/>
                </a:lnTo>
                <a:lnTo>
                  <a:pt x="6721457" y="25610"/>
                </a:lnTo>
                <a:lnTo>
                  <a:pt x="6606991" y="36860"/>
                </a:lnTo>
                <a:lnTo>
                  <a:pt x="6494610" y="49859"/>
                </a:lnTo>
                <a:lnTo>
                  <a:pt x="6384287" y="64580"/>
                </a:lnTo>
                <a:lnTo>
                  <a:pt x="6275993" y="80995"/>
                </a:lnTo>
                <a:lnTo>
                  <a:pt x="6169699" y="99075"/>
                </a:lnTo>
                <a:lnTo>
                  <a:pt x="6065376" y="118794"/>
                </a:lnTo>
                <a:lnTo>
                  <a:pt x="5962996" y="140122"/>
                </a:lnTo>
                <a:lnTo>
                  <a:pt x="5862530" y="163032"/>
                </a:lnTo>
                <a:lnTo>
                  <a:pt x="5813005" y="175071"/>
                </a:lnTo>
                <a:lnTo>
                  <a:pt x="5763949" y="187496"/>
                </a:lnTo>
                <a:lnTo>
                  <a:pt x="5715356" y="200302"/>
                </a:lnTo>
                <a:lnTo>
                  <a:pt x="5667224" y="213486"/>
                </a:lnTo>
                <a:lnTo>
                  <a:pt x="5619549" y="227045"/>
                </a:lnTo>
                <a:lnTo>
                  <a:pt x="5572328" y="240975"/>
                </a:lnTo>
                <a:lnTo>
                  <a:pt x="5525556" y="255272"/>
                </a:lnTo>
                <a:lnTo>
                  <a:pt x="5479230" y="269933"/>
                </a:lnTo>
                <a:lnTo>
                  <a:pt x="5433347" y="284956"/>
                </a:lnTo>
                <a:lnTo>
                  <a:pt x="5387903" y="300335"/>
                </a:lnTo>
                <a:lnTo>
                  <a:pt x="5342895" y="316067"/>
                </a:lnTo>
                <a:lnTo>
                  <a:pt x="5298318" y="332150"/>
                </a:lnTo>
                <a:lnTo>
                  <a:pt x="5254170" y="348580"/>
                </a:lnTo>
                <a:lnTo>
                  <a:pt x="5210446" y="365352"/>
                </a:lnTo>
                <a:lnTo>
                  <a:pt x="5167143" y="382465"/>
                </a:lnTo>
                <a:lnTo>
                  <a:pt x="5124258" y="399913"/>
                </a:lnTo>
                <a:lnTo>
                  <a:pt x="5081786" y="417694"/>
                </a:lnTo>
                <a:lnTo>
                  <a:pt x="5039725" y="435805"/>
                </a:lnTo>
                <a:lnTo>
                  <a:pt x="4998071" y="454241"/>
                </a:lnTo>
                <a:lnTo>
                  <a:pt x="4956820" y="472999"/>
                </a:lnTo>
                <a:lnTo>
                  <a:pt x="4915968" y="492076"/>
                </a:lnTo>
                <a:lnTo>
                  <a:pt x="4875513" y="511468"/>
                </a:lnTo>
                <a:lnTo>
                  <a:pt x="4835449" y="531172"/>
                </a:lnTo>
                <a:lnTo>
                  <a:pt x="4795775" y="551184"/>
                </a:lnTo>
                <a:lnTo>
                  <a:pt x="4756485" y="571501"/>
                </a:lnTo>
                <a:lnTo>
                  <a:pt x="4717577" y="592119"/>
                </a:lnTo>
                <a:lnTo>
                  <a:pt x="4679048" y="613035"/>
                </a:lnTo>
                <a:lnTo>
                  <a:pt x="4640892" y="634245"/>
                </a:lnTo>
                <a:lnTo>
                  <a:pt x="4603108" y="655746"/>
                </a:lnTo>
                <a:lnTo>
                  <a:pt x="4565691" y="677534"/>
                </a:lnTo>
                <a:lnTo>
                  <a:pt x="4528637" y="699606"/>
                </a:lnTo>
                <a:lnTo>
                  <a:pt x="4491943" y="721959"/>
                </a:lnTo>
                <a:lnTo>
                  <a:pt x="4455606" y="744588"/>
                </a:lnTo>
                <a:lnTo>
                  <a:pt x="4419622" y="767491"/>
                </a:lnTo>
                <a:lnTo>
                  <a:pt x="4383987" y="790663"/>
                </a:lnTo>
                <a:lnTo>
                  <a:pt x="4348698" y="814102"/>
                </a:lnTo>
                <a:lnTo>
                  <a:pt x="4313751" y="837804"/>
                </a:lnTo>
                <a:lnTo>
                  <a:pt x="4279143" y="861765"/>
                </a:lnTo>
                <a:lnTo>
                  <a:pt x="4244869" y="885982"/>
                </a:lnTo>
                <a:lnTo>
                  <a:pt x="4210927" y="910451"/>
                </a:lnTo>
                <a:lnTo>
                  <a:pt x="4177312" y="935169"/>
                </a:lnTo>
                <a:lnTo>
                  <a:pt x="4144022" y="960133"/>
                </a:lnTo>
                <a:lnTo>
                  <a:pt x="4111053" y="985339"/>
                </a:lnTo>
                <a:lnTo>
                  <a:pt x="4078400" y="1010783"/>
                </a:lnTo>
                <a:lnTo>
                  <a:pt x="4046061" y="1036462"/>
                </a:lnTo>
                <a:lnTo>
                  <a:pt x="4014031" y="1062372"/>
                </a:lnTo>
                <a:lnTo>
                  <a:pt x="3982308" y="1088511"/>
                </a:lnTo>
                <a:lnTo>
                  <a:pt x="3950888" y="1114874"/>
                </a:lnTo>
                <a:lnTo>
                  <a:pt x="3919766" y="1141458"/>
                </a:lnTo>
                <a:lnTo>
                  <a:pt x="3888940" y="1168259"/>
                </a:lnTo>
                <a:lnTo>
                  <a:pt x="3858406" y="1195275"/>
                </a:lnTo>
                <a:lnTo>
                  <a:pt x="3828160" y="1222501"/>
                </a:lnTo>
                <a:lnTo>
                  <a:pt x="3798199" y="1249934"/>
                </a:lnTo>
                <a:lnTo>
                  <a:pt x="3768519" y="1277571"/>
                </a:lnTo>
                <a:lnTo>
                  <a:pt x="3739117" y="1305407"/>
                </a:lnTo>
                <a:lnTo>
                  <a:pt x="3709988" y="1333441"/>
                </a:lnTo>
                <a:lnTo>
                  <a:pt x="3681130" y="1361667"/>
                </a:lnTo>
                <a:lnTo>
                  <a:pt x="3652539" y="1390083"/>
                </a:lnTo>
                <a:lnTo>
                  <a:pt x="3624211" y="1418685"/>
                </a:lnTo>
                <a:lnTo>
                  <a:pt x="3596142" y="1447469"/>
                </a:lnTo>
                <a:lnTo>
                  <a:pt x="3568330" y="1476433"/>
                </a:lnTo>
                <a:lnTo>
                  <a:pt x="3540769" y="1505572"/>
                </a:lnTo>
                <a:lnTo>
                  <a:pt x="3513458" y="1534884"/>
                </a:lnTo>
                <a:lnTo>
                  <a:pt x="3486392" y="1564364"/>
                </a:lnTo>
                <a:lnTo>
                  <a:pt x="3459567" y="1594009"/>
                </a:lnTo>
                <a:lnTo>
                  <a:pt x="3432981" y="1623816"/>
                </a:lnTo>
                <a:lnTo>
                  <a:pt x="3406629" y="1653781"/>
                </a:lnTo>
                <a:lnTo>
                  <a:pt x="3380508" y="1683901"/>
                </a:lnTo>
                <a:lnTo>
                  <a:pt x="3354614" y="1714172"/>
                </a:lnTo>
                <a:lnTo>
                  <a:pt x="3328944" y="1744591"/>
                </a:lnTo>
                <a:lnTo>
                  <a:pt x="3303494" y="1775154"/>
                </a:lnTo>
                <a:lnTo>
                  <a:pt x="3278261" y="1805858"/>
                </a:lnTo>
                <a:lnTo>
                  <a:pt x="3253240" y="1836699"/>
                </a:lnTo>
                <a:lnTo>
                  <a:pt x="3228429" y="1867673"/>
                </a:lnTo>
                <a:lnTo>
                  <a:pt x="3203823" y="1898778"/>
                </a:lnTo>
                <a:lnTo>
                  <a:pt x="3179420" y="1930010"/>
                </a:lnTo>
                <a:lnTo>
                  <a:pt x="3155216" y="1961365"/>
                </a:lnTo>
                <a:lnTo>
                  <a:pt x="3131206" y="1992840"/>
                </a:lnTo>
                <a:lnTo>
                  <a:pt x="3107388" y="2024431"/>
                </a:lnTo>
                <a:lnTo>
                  <a:pt x="3083757" y="2056135"/>
                </a:lnTo>
                <a:lnTo>
                  <a:pt x="3060311" y="2087948"/>
                </a:lnTo>
                <a:lnTo>
                  <a:pt x="3037045" y="2119867"/>
                </a:lnTo>
                <a:lnTo>
                  <a:pt x="3013957" y="2151888"/>
                </a:lnTo>
                <a:lnTo>
                  <a:pt x="2991042" y="2184008"/>
                </a:lnTo>
                <a:lnTo>
                  <a:pt x="2968297" y="2216224"/>
                </a:lnTo>
                <a:lnTo>
                  <a:pt x="2945718" y="2248531"/>
                </a:lnTo>
                <a:lnTo>
                  <a:pt x="2923302" y="2280927"/>
                </a:lnTo>
                <a:lnTo>
                  <a:pt x="2901044" y="2313408"/>
                </a:lnTo>
                <a:lnTo>
                  <a:pt x="2878943" y="2345970"/>
                </a:lnTo>
                <a:lnTo>
                  <a:pt x="2856993" y="2378610"/>
                </a:lnTo>
                <a:lnTo>
                  <a:pt x="2835192" y="2411324"/>
                </a:lnTo>
                <a:lnTo>
                  <a:pt x="2813535" y="2444110"/>
                </a:lnTo>
                <a:lnTo>
                  <a:pt x="2792020" y="2476962"/>
                </a:lnTo>
                <a:lnTo>
                  <a:pt x="2770642" y="2509879"/>
                </a:lnTo>
                <a:lnTo>
                  <a:pt x="2749398" y="2542856"/>
                </a:lnTo>
                <a:lnTo>
                  <a:pt x="2728285" y="2575891"/>
                </a:lnTo>
                <a:lnTo>
                  <a:pt x="2707298" y="2608978"/>
                </a:lnTo>
                <a:lnTo>
                  <a:pt x="2686435" y="2642116"/>
                </a:lnTo>
                <a:lnTo>
                  <a:pt x="2665691" y="2675300"/>
                </a:lnTo>
                <a:lnTo>
                  <a:pt x="2645064" y="2708527"/>
                </a:lnTo>
                <a:lnTo>
                  <a:pt x="2624548" y="2741794"/>
                </a:lnTo>
                <a:lnTo>
                  <a:pt x="2604142" y="2775097"/>
                </a:lnTo>
                <a:lnTo>
                  <a:pt x="2563642" y="2841796"/>
                </a:lnTo>
                <a:lnTo>
                  <a:pt x="2523534" y="2908598"/>
                </a:lnTo>
                <a:lnTo>
                  <a:pt x="2483789" y="2975474"/>
                </a:lnTo>
                <a:lnTo>
                  <a:pt x="2444380" y="3042396"/>
                </a:lnTo>
                <a:lnTo>
                  <a:pt x="2385831" y="3142806"/>
                </a:lnTo>
                <a:lnTo>
                  <a:pt x="2308671" y="3276588"/>
                </a:lnTo>
                <a:lnTo>
                  <a:pt x="2081210" y="3675137"/>
                </a:lnTo>
                <a:lnTo>
                  <a:pt x="1987147" y="3838924"/>
                </a:lnTo>
                <a:lnTo>
                  <a:pt x="1930624" y="3936274"/>
                </a:lnTo>
                <a:lnTo>
                  <a:pt x="1892846" y="4000732"/>
                </a:lnTo>
                <a:lnTo>
                  <a:pt x="1854958" y="4064803"/>
                </a:lnTo>
                <a:lnTo>
                  <a:pt x="1816931" y="4128461"/>
                </a:lnTo>
                <a:lnTo>
                  <a:pt x="1778737" y="4191676"/>
                </a:lnTo>
                <a:lnTo>
                  <a:pt x="1740346" y="4254421"/>
                </a:lnTo>
                <a:lnTo>
                  <a:pt x="1701731" y="4316668"/>
                </a:lnTo>
                <a:lnTo>
                  <a:pt x="1662863" y="4378389"/>
                </a:lnTo>
                <a:lnTo>
                  <a:pt x="1623712" y="4439556"/>
                </a:lnTo>
                <a:lnTo>
                  <a:pt x="1548540" y="4554758"/>
                </a:lnTo>
                <a:lnTo>
                  <a:pt x="1464414" y="4682071"/>
                </a:lnTo>
                <a:lnTo>
                  <a:pt x="1379232" y="4809390"/>
                </a:lnTo>
                <a:lnTo>
                  <a:pt x="1293029" y="4936640"/>
                </a:lnTo>
                <a:lnTo>
                  <a:pt x="1205837" y="5063744"/>
                </a:lnTo>
                <a:lnTo>
                  <a:pt x="1117691" y="5190628"/>
                </a:lnTo>
                <a:lnTo>
                  <a:pt x="1028624" y="5317216"/>
                </a:lnTo>
                <a:lnTo>
                  <a:pt x="938669" y="5443432"/>
                </a:lnTo>
                <a:lnTo>
                  <a:pt x="847860" y="5569200"/>
                </a:lnTo>
                <a:lnTo>
                  <a:pt x="756231" y="5694445"/>
                </a:lnTo>
                <a:lnTo>
                  <a:pt x="663815" y="5819091"/>
                </a:lnTo>
                <a:lnTo>
                  <a:pt x="570645" y="5943062"/>
                </a:lnTo>
                <a:lnTo>
                  <a:pt x="476756" y="6066284"/>
                </a:lnTo>
                <a:lnTo>
                  <a:pt x="382180" y="6188680"/>
                </a:lnTo>
                <a:lnTo>
                  <a:pt x="286951" y="6310174"/>
                </a:lnTo>
                <a:lnTo>
                  <a:pt x="191103" y="6430692"/>
                </a:lnTo>
                <a:lnTo>
                  <a:pt x="94669" y="6550157"/>
                </a:lnTo>
                <a:lnTo>
                  <a:pt x="0" y="6665681"/>
                </a:lnTo>
                <a:lnTo>
                  <a:pt x="7153585" y="6665681"/>
                </a:lnTo>
                <a:lnTo>
                  <a:pt x="7153585" y="0"/>
                </a:lnTo>
                <a:close/>
              </a:path>
            </a:pathLst>
          </a:custGeom>
          <a:solidFill>
            <a:schemeClr val="bg1">
              <a:alpha val="50000"/>
            </a:schemeClr>
          </a:solidFill>
        </p:spPr>
        <p:txBody>
          <a:bodyPr wrap="square" lIns="0" tIns="0" rIns="0" bIns="0" rtlCol="0"/>
          <a:lstStyle/>
          <a:p>
            <a:endParaRPr>
              <a:solidFill>
                <a:schemeClr val="bg1">
                  <a:lumMod val="95000"/>
                </a:schemeClr>
              </a:solidFill>
            </a:endParaRPr>
          </a:p>
        </p:txBody>
      </p:sp>
      <p:sp>
        <p:nvSpPr>
          <p:cNvPr id="11" name="Titel 1">
            <a:extLst>
              <a:ext uri="{FF2B5EF4-FFF2-40B4-BE49-F238E27FC236}">
                <a16:creationId xmlns:a16="http://schemas.microsoft.com/office/drawing/2014/main" id="{DFFA10CD-CE68-45C9-E35F-CB32F05459D3}"/>
              </a:ext>
            </a:extLst>
          </p:cNvPr>
          <p:cNvSpPr txBox="1">
            <a:spLocks/>
          </p:cNvSpPr>
          <p:nvPr userDrawn="1"/>
        </p:nvSpPr>
        <p:spPr>
          <a:xfrm>
            <a:off x="399922" y="2138966"/>
            <a:ext cx="4409145" cy="1725277"/>
          </a:xfrm>
          <a:prstGeom prst="rect">
            <a:avLst/>
          </a:prstGeom>
        </p:spPr>
        <p:txBody>
          <a:bodyPr anchor="b">
            <a:noAutofit/>
          </a:bodyPr>
          <a:lstStyle>
            <a:lvl1pPr algn="l" defTabSz="914400" rtl="0" eaLnBrk="1" latinLnBrk="0" hangingPunct="1">
              <a:lnSpc>
                <a:spcPct val="90000"/>
              </a:lnSpc>
              <a:spcBef>
                <a:spcPct val="0"/>
              </a:spcBef>
              <a:buNone/>
              <a:defRPr sz="6000" b="0" i="0" kern="1200">
                <a:solidFill>
                  <a:srgbClr val="2C3051"/>
                </a:solidFill>
                <a:latin typeface="Avenir" panose="02000503020000020003" pitchFamily="2" charset="0"/>
                <a:ea typeface="+mj-ea"/>
                <a:cs typeface="+mj-cs"/>
              </a:defRPr>
            </a:lvl1pPr>
          </a:lstStyle>
          <a:p>
            <a:endParaRPr lang="nl-BE"/>
          </a:p>
        </p:txBody>
      </p:sp>
      <p:pic>
        <p:nvPicPr>
          <p:cNvPr id="12" name="Afbeelding 28">
            <a:extLst>
              <a:ext uri="{FF2B5EF4-FFF2-40B4-BE49-F238E27FC236}">
                <a16:creationId xmlns:a16="http://schemas.microsoft.com/office/drawing/2014/main" id="{04C644F1-3747-0290-5EE3-AAD585D412C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14" name="TextBox 13">
            <a:extLst>
              <a:ext uri="{FF2B5EF4-FFF2-40B4-BE49-F238E27FC236}">
                <a16:creationId xmlns:a16="http://schemas.microsoft.com/office/drawing/2014/main" id="{7F3B95A2-ED2C-A76F-7AC1-B0A589852E58}"/>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pic>
        <p:nvPicPr>
          <p:cNvPr id="15" name="Afbeelding 9">
            <a:extLst>
              <a:ext uri="{FF2B5EF4-FFF2-40B4-BE49-F238E27FC236}">
                <a16:creationId xmlns:a16="http://schemas.microsoft.com/office/drawing/2014/main" id="{B4F767CF-9AB1-FE98-5FD1-044B7FB08C5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6" name="Straight Connector 15">
            <a:extLst>
              <a:ext uri="{FF2B5EF4-FFF2-40B4-BE49-F238E27FC236}">
                <a16:creationId xmlns:a16="http://schemas.microsoft.com/office/drawing/2014/main" id="{C14D8681-0F21-A256-61C3-ADEE28956767}"/>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0" name="Titel 1">
            <a:extLst>
              <a:ext uri="{FF2B5EF4-FFF2-40B4-BE49-F238E27FC236}">
                <a16:creationId xmlns:a16="http://schemas.microsoft.com/office/drawing/2014/main" id="{BAFEDB10-7D8A-C8C3-BB44-AB0931B419F1}"/>
              </a:ext>
            </a:extLst>
          </p:cNvPr>
          <p:cNvSpPr>
            <a:spLocks noGrp="1"/>
          </p:cNvSpPr>
          <p:nvPr>
            <p:ph type="ctrTitle"/>
          </p:nvPr>
        </p:nvSpPr>
        <p:spPr>
          <a:xfrm>
            <a:off x="399922" y="2161077"/>
            <a:ext cx="5443315" cy="1725277"/>
          </a:xfrm>
          <a:prstGeom prst="rect">
            <a:avLst/>
          </a:prstGeom>
        </p:spPr>
        <p:txBody>
          <a:bodyPr anchor="b">
            <a:noAutofit/>
          </a:bodyPr>
          <a:lstStyle>
            <a:lvl1pPr algn="l">
              <a:defRPr sz="4000" b="1" i="0">
                <a:solidFill>
                  <a:srgbClr val="2C3051"/>
                </a:solidFill>
                <a:latin typeface="Avenir LT Std 55 Roman" panose="020B0503020203020204" pitchFamily="34" charset="0"/>
              </a:defRPr>
            </a:lvl1pPr>
          </a:lstStyle>
          <a:p>
            <a:r>
              <a:rPr lang="fr-FR"/>
              <a:t>Modifiez le style du titre</a:t>
            </a:r>
            <a:endParaRPr lang="nl-BE"/>
          </a:p>
        </p:txBody>
      </p:sp>
    </p:spTree>
    <p:extLst>
      <p:ext uri="{BB962C8B-B14F-4D97-AF65-F5344CB8AC3E}">
        <p14:creationId xmlns:p14="http://schemas.microsoft.com/office/powerpoint/2010/main" val="4508048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83653" y="-1"/>
            <a:ext cx="10342215" cy="6879523"/>
          </a:xfrm>
          <a:prstGeom prst="rect">
            <a:avLst/>
          </a:prstGeom>
          <a:ln>
            <a:noFill/>
          </a:ln>
        </p:spPr>
      </p:pic>
      <p:sp>
        <p:nvSpPr>
          <p:cNvPr id="21" name="object 2">
            <a:extLst>
              <a:ext uri="{FF2B5EF4-FFF2-40B4-BE49-F238E27FC236}">
                <a16:creationId xmlns:a16="http://schemas.microsoft.com/office/drawing/2014/main" id="{7FB5D4F0-26ED-CC75-D041-B96DBFB98F5E}"/>
              </a:ext>
            </a:extLst>
          </p:cNvPr>
          <p:cNvSpPr/>
          <p:nvPr userDrawn="1"/>
        </p:nvSpPr>
        <p:spPr>
          <a:xfrm>
            <a:off x="-15277" y="0"/>
            <a:ext cx="7567544" cy="6993467"/>
          </a:xfrm>
          <a:custGeom>
            <a:avLst/>
            <a:gdLst/>
            <a:ahLst/>
            <a:cxnLst/>
            <a:rect l="l" t="t" r="r" b="b"/>
            <a:pathLst>
              <a:path w="8631555" h="6687820">
                <a:moveTo>
                  <a:pt x="8631301" y="0"/>
                </a:moveTo>
                <a:lnTo>
                  <a:pt x="0" y="0"/>
                </a:lnTo>
                <a:lnTo>
                  <a:pt x="0" y="6687210"/>
                </a:lnTo>
                <a:lnTo>
                  <a:pt x="1556981" y="6687210"/>
                </a:lnTo>
                <a:lnTo>
                  <a:pt x="1622552" y="6680790"/>
                </a:lnTo>
                <a:lnTo>
                  <a:pt x="1687395" y="6673902"/>
                </a:lnTo>
                <a:lnTo>
                  <a:pt x="1751517" y="6666549"/>
                </a:lnTo>
                <a:lnTo>
                  <a:pt x="1814923" y="6658735"/>
                </a:lnTo>
                <a:lnTo>
                  <a:pt x="1877621" y="6650463"/>
                </a:lnTo>
                <a:lnTo>
                  <a:pt x="1939616" y="6641737"/>
                </a:lnTo>
                <a:lnTo>
                  <a:pt x="2000915" y="6632561"/>
                </a:lnTo>
                <a:lnTo>
                  <a:pt x="2061524" y="6622937"/>
                </a:lnTo>
                <a:lnTo>
                  <a:pt x="2121449" y="6612869"/>
                </a:lnTo>
                <a:lnTo>
                  <a:pt x="2180698" y="6602362"/>
                </a:lnTo>
                <a:lnTo>
                  <a:pt x="2239276" y="6591417"/>
                </a:lnTo>
                <a:lnTo>
                  <a:pt x="2297189" y="6580040"/>
                </a:lnTo>
                <a:lnTo>
                  <a:pt x="2354444" y="6568233"/>
                </a:lnTo>
                <a:lnTo>
                  <a:pt x="2411048" y="6555999"/>
                </a:lnTo>
                <a:lnTo>
                  <a:pt x="2467006" y="6543344"/>
                </a:lnTo>
                <a:lnTo>
                  <a:pt x="2522325" y="6530269"/>
                </a:lnTo>
                <a:lnTo>
                  <a:pt x="2577011" y="6516778"/>
                </a:lnTo>
                <a:lnTo>
                  <a:pt x="2631071" y="6502876"/>
                </a:lnTo>
                <a:lnTo>
                  <a:pt x="2684511" y="6488565"/>
                </a:lnTo>
                <a:lnTo>
                  <a:pt x="2737336" y="6473849"/>
                </a:lnTo>
                <a:lnTo>
                  <a:pt x="2789555" y="6458731"/>
                </a:lnTo>
                <a:lnTo>
                  <a:pt x="2841173" y="6443216"/>
                </a:lnTo>
                <a:lnTo>
                  <a:pt x="2892195" y="6427305"/>
                </a:lnTo>
                <a:lnTo>
                  <a:pt x="2942630" y="6411004"/>
                </a:lnTo>
                <a:lnTo>
                  <a:pt x="2992482" y="6394316"/>
                </a:lnTo>
                <a:lnTo>
                  <a:pt x="3041759" y="6377243"/>
                </a:lnTo>
                <a:lnTo>
                  <a:pt x="3090466" y="6359791"/>
                </a:lnTo>
                <a:lnTo>
                  <a:pt x="3138610" y="6341961"/>
                </a:lnTo>
                <a:lnTo>
                  <a:pt x="3186198" y="6323757"/>
                </a:lnTo>
                <a:lnTo>
                  <a:pt x="3233235" y="6305184"/>
                </a:lnTo>
                <a:lnTo>
                  <a:pt x="3279728" y="6286245"/>
                </a:lnTo>
                <a:lnTo>
                  <a:pt x="3325684" y="6266942"/>
                </a:lnTo>
                <a:lnTo>
                  <a:pt x="3371108" y="6247281"/>
                </a:lnTo>
                <a:lnTo>
                  <a:pt x="3416007" y="6227263"/>
                </a:lnTo>
                <a:lnTo>
                  <a:pt x="3460387" y="6206893"/>
                </a:lnTo>
                <a:lnTo>
                  <a:pt x="3504255" y="6186174"/>
                </a:lnTo>
                <a:lnTo>
                  <a:pt x="3547617" y="6165110"/>
                </a:lnTo>
                <a:lnTo>
                  <a:pt x="3590480" y="6143704"/>
                </a:lnTo>
                <a:lnTo>
                  <a:pt x="3632849" y="6121960"/>
                </a:lnTo>
                <a:lnTo>
                  <a:pt x="3674731" y="6099881"/>
                </a:lnTo>
                <a:lnTo>
                  <a:pt x="3716133" y="6077471"/>
                </a:lnTo>
                <a:lnTo>
                  <a:pt x="3757060" y="6054733"/>
                </a:lnTo>
                <a:lnTo>
                  <a:pt x="3797519" y="6031671"/>
                </a:lnTo>
                <a:lnTo>
                  <a:pt x="3837517" y="6008288"/>
                </a:lnTo>
                <a:lnTo>
                  <a:pt x="3877059" y="5984588"/>
                </a:lnTo>
                <a:lnTo>
                  <a:pt x="3916152" y="5960574"/>
                </a:lnTo>
                <a:lnTo>
                  <a:pt x="3954803" y="5936250"/>
                </a:lnTo>
                <a:lnTo>
                  <a:pt x="3993018" y="5911619"/>
                </a:lnTo>
                <a:lnTo>
                  <a:pt x="4030802" y="5886685"/>
                </a:lnTo>
                <a:lnTo>
                  <a:pt x="4068163" y="5861452"/>
                </a:lnTo>
                <a:lnTo>
                  <a:pt x="4105107" y="5835922"/>
                </a:lnTo>
                <a:lnTo>
                  <a:pt x="4141640" y="5810100"/>
                </a:lnTo>
                <a:lnTo>
                  <a:pt x="4177768" y="5783988"/>
                </a:lnTo>
                <a:lnTo>
                  <a:pt x="4213498" y="5757591"/>
                </a:lnTo>
                <a:lnTo>
                  <a:pt x="4248836" y="5730912"/>
                </a:lnTo>
                <a:lnTo>
                  <a:pt x="4283788" y="5703955"/>
                </a:lnTo>
                <a:lnTo>
                  <a:pt x="4318361" y="5676722"/>
                </a:lnTo>
                <a:lnTo>
                  <a:pt x="4352561" y="5649218"/>
                </a:lnTo>
                <a:lnTo>
                  <a:pt x="4386395" y="5621446"/>
                </a:lnTo>
                <a:lnTo>
                  <a:pt x="4419869" y="5593409"/>
                </a:lnTo>
                <a:lnTo>
                  <a:pt x="4452988" y="5565111"/>
                </a:lnTo>
                <a:lnTo>
                  <a:pt x="4485760" y="5536556"/>
                </a:lnTo>
                <a:lnTo>
                  <a:pt x="4518191" y="5507747"/>
                </a:lnTo>
                <a:lnTo>
                  <a:pt x="4550287" y="5478687"/>
                </a:lnTo>
                <a:lnTo>
                  <a:pt x="4582054" y="5449380"/>
                </a:lnTo>
                <a:lnTo>
                  <a:pt x="4613500" y="5419830"/>
                </a:lnTo>
                <a:lnTo>
                  <a:pt x="4644629" y="5390040"/>
                </a:lnTo>
                <a:lnTo>
                  <a:pt x="4675449" y="5360014"/>
                </a:lnTo>
                <a:lnTo>
                  <a:pt x="4705966" y="5329755"/>
                </a:lnTo>
                <a:lnTo>
                  <a:pt x="4736185" y="5299266"/>
                </a:lnTo>
                <a:lnTo>
                  <a:pt x="4766115" y="5268551"/>
                </a:lnTo>
                <a:lnTo>
                  <a:pt x="4795760" y="5237614"/>
                </a:lnTo>
                <a:lnTo>
                  <a:pt x="4825127" y="5206458"/>
                </a:lnTo>
                <a:lnTo>
                  <a:pt x="4854223" y="5175087"/>
                </a:lnTo>
                <a:lnTo>
                  <a:pt x="4883054" y="5143504"/>
                </a:lnTo>
                <a:lnTo>
                  <a:pt x="4911626" y="5111713"/>
                </a:lnTo>
                <a:lnTo>
                  <a:pt x="4939945" y="5079717"/>
                </a:lnTo>
                <a:lnTo>
                  <a:pt x="4968018" y="5047519"/>
                </a:lnTo>
                <a:lnTo>
                  <a:pt x="4995852" y="5015124"/>
                </a:lnTo>
                <a:lnTo>
                  <a:pt x="5023452" y="4982535"/>
                </a:lnTo>
                <a:lnTo>
                  <a:pt x="5050824" y="4949755"/>
                </a:lnTo>
                <a:lnTo>
                  <a:pt x="5077976" y="4916787"/>
                </a:lnTo>
                <a:lnTo>
                  <a:pt x="5104914" y="4883636"/>
                </a:lnTo>
                <a:lnTo>
                  <a:pt x="5131644" y="4850305"/>
                </a:lnTo>
                <a:lnTo>
                  <a:pt x="5158171" y="4816797"/>
                </a:lnTo>
                <a:lnTo>
                  <a:pt x="5210647" y="4749265"/>
                </a:lnTo>
                <a:lnTo>
                  <a:pt x="5262391" y="4681068"/>
                </a:lnTo>
                <a:lnTo>
                  <a:pt x="5313455" y="4612234"/>
                </a:lnTo>
                <a:lnTo>
                  <a:pt x="5363889" y="4542793"/>
                </a:lnTo>
                <a:lnTo>
                  <a:pt x="5413745" y="4472771"/>
                </a:lnTo>
                <a:lnTo>
                  <a:pt x="5463072" y="4402196"/>
                </a:lnTo>
                <a:lnTo>
                  <a:pt x="5511922" y="4331098"/>
                </a:lnTo>
                <a:lnTo>
                  <a:pt x="5560344" y="4259503"/>
                </a:lnTo>
                <a:lnTo>
                  <a:pt x="5608391" y="4187441"/>
                </a:lnTo>
                <a:lnTo>
                  <a:pt x="5679867" y="4078531"/>
                </a:lnTo>
                <a:lnTo>
                  <a:pt x="5750781" y="3968727"/>
                </a:lnTo>
                <a:lnTo>
                  <a:pt x="5868190" y="3783989"/>
                </a:lnTo>
                <a:lnTo>
                  <a:pt x="6197916" y="3258640"/>
                </a:lnTo>
                <a:lnTo>
                  <a:pt x="6294137" y="3107321"/>
                </a:lnTo>
                <a:lnTo>
                  <a:pt x="6367357" y="2993735"/>
                </a:lnTo>
                <a:lnTo>
                  <a:pt x="6447904" y="2869788"/>
                </a:lnTo>
                <a:lnTo>
                  <a:pt x="6558874" y="2696807"/>
                </a:lnTo>
                <a:lnTo>
                  <a:pt x="6970940" y="2045274"/>
                </a:lnTo>
                <a:lnTo>
                  <a:pt x="7081462" y="1872743"/>
                </a:lnTo>
                <a:lnTo>
                  <a:pt x="7164986" y="1744202"/>
                </a:lnTo>
                <a:lnTo>
                  <a:pt x="7221058" y="1659017"/>
                </a:lnTo>
                <a:lnTo>
                  <a:pt x="7277496" y="1574303"/>
                </a:lnTo>
                <a:lnTo>
                  <a:pt x="7334350" y="1490113"/>
                </a:lnTo>
                <a:lnTo>
                  <a:pt x="7391664" y="1406503"/>
                </a:lnTo>
                <a:lnTo>
                  <a:pt x="7449488" y="1323526"/>
                </a:lnTo>
                <a:lnTo>
                  <a:pt x="7507868" y="1241237"/>
                </a:lnTo>
                <a:lnTo>
                  <a:pt x="7566851" y="1159689"/>
                </a:lnTo>
                <a:lnTo>
                  <a:pt x="7596584" y="1119210"/>
                </a:lnTo>
                <a:lnTo>
                  <a:pt x="7626486" y="1078937"/>
                </a:lnTo>
                <a:lnTo>
                  <a:pt x="7656562" y="1038876"/>
                </a:lnTo>
                <a:lnTo>
                  <a:pt x="7686818" y="999035"/>
                </a:lnTo>
                <a:lnTo>
                  <a:pt x="7717261" y="959419"/>
                </a:lnTo>
                <a:lnTo>
                  <a:pt x="7747897" y="920037"/>
                </a:lnTo>
                <a:lnTo>
                  <a:pt x="7778730" y="880894"/>
                </a:lnTo>
                <a:lnTo>
                  <a:pt x="7809768" y="841997"/>
                </a:lnTo>
                <a:lnTo>
                  <a:pt x="7841015" y="803354"/>
                </a:lnTo>
                <a:lnTo>
                  <a:pt x="7872479" y="764970"/>
                </a:lnTo>
                <a:lnTo>
                  <a:pt x="7904165" y="726853"/>
                </a:lnTo>
                <a:lnTo>
                  <a:pt x="7936078" y="689010"/>
                </a:lnTo>
                <a:lnTo>
                  <a:pt x="7968225" y="651447"/>
                </a:lnTo>
                <a:lnTo>
                  <a:pt x="8000612" y="614171"/>
                </a:lnTo>
                <a:lnTo>
                  <a:pt x="8033245" y="577189"/>
                </a:lnTo>
                <a:lnTo>
                  <a:pt x="8066128" y="540507"/>
                </a:lnTo>
                <a:lnTo>
                  <a:pt x="8099270" y="504132"/>
                </a:lnTo>
                <a:lnTo>
                  <a:pt x="8132674" y="468072"/>
                </a:lnTo>
                <a:lnTo>
                  <a:pt x="8166348" y="432332"/>
                </a:lnTo>
                <a:lnTo>
                  <a:pt x="8200297" y="396920"/>
                </a:lnTo>
                <a:lnTo>
                  <a:pt x="8234527" y="361843"/>
                </a:lnTo>
                <a:lnTo>
                  <a:pt x="8269044" y="327107"/>
                </a:lnTo>
                <a:lnTo>
                  <a:pt x="8303854" y="292718"/>
                </a:lnTo>
                <a:lnTo>
                  <a:pt x="8338963" y="258685"/>
                </a:lnTo>
                <a:lnTo>
                  <a:pt x="8374376" y="225013"/>
                </a:lnTo>
                <a:lnTo>
                  <a:pt x="8410101" y="191709"/>
                </a:lnTo>
                <a:lnTo>
                  <a:pt x="8446141" y="158780"/>
                </a:lnTo>
                <a:lnTo>
                  <a:pt x="8482505" y="126233"/>
                </a:lnTo>
                <a:lnTo>
                  <a:pt x="8519196" y="94075"/>
                </a:lnTo>
                <a:lnTo>
                  <a:pt x="8556222" y="62312"/>
                </a:lnTo>
                <a:lnTo>
                  <a:pt x="8593588" y="30951"/>
                </a:lnTo>
                <a:lnTo>
                  <a:pt x="8631301" y="0"/>
                </a:lnTo>
                <a:close/>
              </a:path>
            </a:pathLst>
          </a:custGeom>
          <a:solidFill>
            <a:schemeClr val="bg1"/>
          </a:solidFill>
        </p:spPr>
        <p:txBody>
          <a:bodyPr wrap="square" lIns="0" tIns="0" rIns="0" bIns="0" rtlCol="0"/>
          <a:lstStyle/>
          <a:p>
            <a:endParaRPr/>
          </a:p>
        </p:txBody>
      </p:sp>
      <p:sp>
        <p:nvSpPr>
          <p:cNvPr id="22" name="object 2">
            <a:extLst>
              <a:ext uri="{FF2B5EF4-FFF2-40B4-BE49-F238E27FC236}">
                <a16:creationId xmlns:a16="http://schemas.microsoft.com/office/drawing/2014/main" id="{25DF2A79-3B4E-0CAB-8620-E6EA8B837FB4}"/>
              </a:ext>
            </a:extLst>
          </p:cNvPr>
          <p:cNvSpPr/>
          <p:nvPr userDrawn="1"/>
        </p:nvSpPr>
        <p:spPr>
          <a:xfrm>
            <a:off x="6112934" y="4593"/>
            <a:ext cx="6111274" cy="6879523"/>
          </a:xfrm>
          <a:custGeom>
            <a:avLst/>
            <a:gdLst/>
            <a:ahLst/>
            <a:cxnLst/>
            <a:rect l="l" t="t" r="r" b="b"/>
            <a:pathLst>
              <a:path w="7153909" h="6666230">
                <a:moveTo>
                  <a:pt x="7153585" y="0"/>
                </a:moveTo>
                <a:lnTo>
                  <a:pt x="7077662" y="2636"/>
                </a:lnTo>
                <a:lnTo>
                  <a:pt x="6956764" y="8470"/>
                </a:lnTo>
                <a:lnTo>
                  <a:pt x="6838039" y="16137"/>
                </a:lnTo>
                <a:lnTo>
                  <a:pt x="6721457" y="25610"/>
                </a:lnTo>
                <a:lnTo>
                  <a:pt x="6606991" y="36860"/>
                </a:lnTo>
                <a:lnTo>
                  <a:pt x="6494610" y="49859"/>
                </a:lnTo>
                <a:lnTo>
                  <a:pt x="6384287" y="64580"/>
                </a:lnTo>
                <a:lnTo>
                  <a:pt x="6275993" y="80995"/>
                </a:lnTo>
                <a:lnTo>
                  <a:pt x="6169699" y="99075"/>
                </a:lnTo>
                <a:lnTo>
                  <a:pt x="6065376" y="118794"/>
                </a:lnTo>
                <a:lnTo>
                  <a:pt x="5962996" y="140122"/>
                </a:lnTo>
                <a:lnTo>
                  <a:pt x="5862530" y="163032"/>
                </a:lnTo>
                <a:lnTo>
                  <a:pt x="5813005" y="175071"/>
                </a:lnTo>
                <a:lnTo>
                  <a:pt x="5763949" y="187496"/>
                </a:lnTo>
                <a:lnTo>
                  <a:pt x="5715356" y="200302"/>
                </a:lnTo>
                <a:lnTo>
                  <a:pt x="5667224" y="213486"/>
                </a:lnTo>
                <a:lnTo>
                  <a:pt x="5619549" y="227045"/>
                </a:lnTo>
                <a:lnTo>
                  <a:pt x="5572328" y="240975"/>
                </a:lnTo>
                <a:lnTo>
                  <a:pt x="5525556" y="255272"/>
                </a:lnTo>
                <a:lnTo>
                  <a:pt x="5479230" y="269933"/>
                </a:lnTo>
                <a:lnTo>
                  <a:pt x="5433347" y="284956"/>
                </a:lnTo>
                <a:lnTo>
                  <a:pt x="5387903" y="300335"/>
                </a:lnTo>
                <a:lnTo>
                  <a:pt x="5342895" y="316067"/>
                </a:lnTo>
                <a:lnTo>
                  <a:pt x="5298318" y="332150"/>
                </a:lnTo>
                <a:lnTo>
                  <a:pt x="5254170" y="348580"/>
                </a:lnTo>
                <a:lnTo>
                  <a:pt x="5210446" y="365352"/>
                </a:lnTo>
                <a:lnTo>
                  <a:pt x="5167143" y="382465"/>
                </a:lnTo>
                <a:lnTo>
                  <a:pt x="5124258" y="399913"/>
                </a:lnTo>
                <a:lnTo>
                  <a:pt x="5081786" y="417694"/>
                </a:lnTo>
                <a:lnTo>
                  <a:pt x="5039725" y="435805"/>
                </a:lnTo>
                <a:lnTo>
                  <a:pt x="4998071" y="454241"/>
                </a:lnTo>
                <a:lnTo>
                  <a:pt x="4956820" y="472999"/>
                </a:lnTo>
                <a:lnTo>
                  <a:pt x="4915968" y="492076"/>
                </a:lnTo>
                <a:lnTo>
                  <a:pt x="4875513" y="511468"/>
                </a:lnTo>
                <a:lnTo>
                  <a:pt x="4835449" y="531172"/>
                </a:lnTo>
                <a:lnTo>
                  <a:pt x="4795775" y="551184"/>
                </a:lnTo>
                <a:lnTo>
                  <a:pt x="4756485" y="571501"/>
                </a:lnTo>
                <a:lnTo>
                  <a:pt x="4717577" y="592119"/>
                </a:lnTo>
                <a:lnTo>
                  <a:pt x="4679048" y="613035"/>
                </a:lnTo>
                <a:lnTo>
                  <a:pt x="4640892" y="634245"/>
                </a:lnTo>
                <a:lnTo>
                  <a:pt x="4603108" y="655746"/>
                </a:lnTo>
                <a:lnTo>
                  <a:pt x="4565691" y="677534"/>
                </a:lnTo>
                <a:lnTo>
                  <a:pt x="4528637" y="699606"/>
                </a:lnTo>
                <a:lnTo>
                  <a:pt x="4491943" y="721959"/>
                </a:lnTo>
                <a:lnTo>
                  <a:pt x="4455606" y="744588"/>
                </a:lnTo>
                <a:lnTo>
                  <a:pt x="4419622" y="767491"/>
                </a:lnTo>
                <a:lnTo>
                  <a:pt x="4383987" y="790663"/>
                </a:lnTo>
                <a:lnTo>
                  <a:pt x="4348698" y="814102"/>
                </a:lnTo>
                <a:lnTo>
                  <a:pt x="4313751" y="837804"/>
                </a:lnTo>
                <a:lnTo>
                  <a:pt x="4279143" y="861765"/>
                </a:lnTo>
                <a:lnTo>
                  <a:pt x="4244869" y="885982"/>
                </a:lnTo>
                <a:lnTo>
                  <a:pt x="4210927" y="910451"/>
                </a:lnTo>
                <a:lnTo>
                  <a:pt x="4177312" y="935169"/>
                </a:lnTo>
                <a:lnTo>
                  <a:pt x="4144022" y="960133"/>
                </a:lnTo>
                <a:lnTo>
                  <a:pt x="4111053" y="985339"/>
                </a:lnTo>
                <a:lnTo>
                  <a:pt x="4078400" y="1010783"/>
                </a:lnTo>
                <a:lnTo>
                  <a:pt x="4046061" y="1036462"/>
                </a:lnTo>
                <a:lnTo>
                  <a:pt x="4014031" y="1062372"/>
                </a:lnTo>
                <a:lnTo>
                  <a:pt x="3982308" y="1088511"/>
                </a:lnTo>
                <a:lnTo>
                  <a:pt x="3950888" y="1114874"/>
                </a:lnTo>
                <a:lnTo>
                  <a:pt x="3919766" y="1141458"/>
                </a:lnTo>
                <a:lnTo>
                  <a:pt x="3888940" y="1168259"/>
                </a:lnTo>
                <a:lnTo>
                  <a:pt x="3858406" y="1195275"/>
                </a:lnTo>
                <a:lnTo>
                  <a:pt x="3828160" y="1222501"/>
                </a:lnTo>
                <a:lnTo>
                  <a:pt x="3798199" y="1249934"/>
                </a:lnTo>
                <a:lnTo>
                  <a:pt x="3768519" y="1277571"/>
                </a:lnTo>
                <a:lnTo>
                  <a:pt x="3739117" y="1305407"/>
                </a:lnTo>
                <a:lnTo>
                  <a:pt x="3709988" y="1333441"/>
                </a:lnTo>
                <a:lnTo>
                  <a:pt x="3681130" y="1361667"/>
                </a:lnTo>
                <a:lnTo>
                  <a:pt x="3652539" y="1390083"/>
                </a:lnTo>
                <a:lnTo>
                  <a:pt x="3624211" y="1418685"/>
                </a:lnTo>
                <a:lnTo>
                  <a:pt x="3596142" y="1447469"/>
                </a:lnTo>
                <a:lnTo>
                  <a:pt x="3568330" y="1476433"/>
                </a:lnTo>
                <a:lnTo>
                  <a:pt x="3540769" y="1505572"/>
                </a:lnTo>
                <a:lnTo>
                  <a:pt x="3513458" y="1534884"/>
                </a:lnTo>
                <a:lnTo>
                  <a:pt x="3486392" y="1564364"/>
                </a:lnTo>
                <a:lnTo>
                  <a:pt x="3459567" y="1594009"/>
                </a:lnTo>
                <a:lnTo>
                  <a:pt x="3432981" y="1623816"/>
                </a:lnTo>
                <a:lnTo>
                  <a:pt x="3406629" y="1653781"/>
                </a:lnTo>
                <a:lnTo>
                  <a:pt x="3380508" y="1683901"/>
                </a:lnTo>
                <a:lnTo>
                  <a:pt x="3354614" y="1714172"/>
                </a:lnTo>
                <a:lnTo>
                  <a:pt x="3328944" y="1744591"/>
                </a:lnTo>
                <a:lnTo>
                  <a:pt x="3303494" y="1775154"/>
                </a:lnTo>
                <a:lnTo>
                  <a:pt x="3278261" y="1805858"/>
                </a:lnTo>
                <a:lnTo>
                  <a:pt x="3253240" y="1836699"/>
                </a:lnTo>
                <a:lnTo>
                  <a:pt x="3228429" y="1867673"/>
                </a:lnTo>
                <a:lnTo>
                  <a:pt x="3203823" y="1898778"/>
                </a:lnTo>
                <a:lnTo>
                  <a:pt x="3179420" y="1930010"/>
                </a:lnTo>
                <a:lnTo>
                  <a:pt x="3155216" y="1961365"/>
                </a:lnTo>
                <a:lnTo>
                  <a:pt x="3131206" y="1992840"/>
                </a:lnTo>
                <a:lnTo>
                  <a:pt x="3107388" y="2024431"/>
                </a:lnTo>
                <a:lnTo>
                  <a:pt x="3083757" y="2056135"/>
                </a:lnTo>
                <a:lnTo>
                  <a:pt x="3060311" y="2087948"/>
                </a:lnTo>
                <a:lnTo>
                  <a:pt x="3037045" y="2119867"/>
                </a:lnTo>
                <a:lnTo>
                  <a:pt x="3013957" y="2151888"/>
                </a:lnTo>
                <a:lnTo>
                  <a:pt x="2991042" y="2184008"/>
                </a:lnTo>
                <a:lnTo>
                  <a:pt x="2968297" y="2216224"/>
                </a:lnTo>
                <a:lnTo>
                  <a:pt x="2945718" y="2248531"/>
                </a:lnTo>
                <a:lnTo>
                  <a:pt x="2923302" y="2280927"/>
                </a:lnTo>
                <a:lnTo>
                  <a:pt x="2901044" y="2313408"/>
                </a:lnTo>
                <a:lnTo>
                  <a:pt x="2878943" y="2345970"/>
                </a:lnTo>
                <a:lnTo>
                  <a:pt x="2856993" y="2378610"/>
                </a:lnTo>
                <a:lnTo>
                  <a:pt x="2835192" y="2411324"/>
                </a:lnTo>
                <a:lnTo>
                  <a:pt x="2813535" y="2444110"/>
                </a:lnTo>
                <a:lnTo>
                  <a:pt x="2792020" y="2476962"/>
                </a:lnTo>
                <a:lnTo>
                  <a:pt x="2770642" y="2509879"/>
                </a:lnTo>
                <a:lnTo>
                  <a:pt x="2749398" y="2542856"/>
                </a:lnTo>
                <a:lnTo>
                  <a:pt x="2728285" y="2575891"/>
                </a:lnTo>
                <a:lnTo>
                  <a:pt x="2707298" y="2608978"/>
                </a:lnTo>
                <a:lnTo>
                  <a:pt x="2686435" y="2642116"/>
                </a:lnTo>
                <a:lnTo>
                  <a:pt x="2665691" y="2675300"/>
                </a:lnTo>
                <a:lnTo>
                  <a:pt x="2645064" y="2708527"/>
                </a:lnTo>
                <a:lnTo>
                  <a:pt x="2624548" y="2741794"/>
                </a:lnTo>
                <a:lnTo>
                  <a:pt x="2604142" y="2775097"/>
                </a:lnTo>
                <a:lnTo>
                  <a:pt x="2563642" y="2841796"/>
                </a:lnTo>
                <a:lnTo>
                  <a:pt x="2523534" y="2908598"/>
                </a:lnTo>
                <a:lnTo>
                  <a:pt x="2483789" y="2975474"/>
                </a:lnTo>
                <a:lnTo>
                  <a:pt x="2444380" y="3042396"/>
                </a:lnTo>
                <a:lnTo>
                  <a:pt x="2385831" y="3142806"/>
                </a:lnTo>
                <a:lnTo>
                  <a:pt x="2308671" y="3276588"/>
                </a:lnTo>
                <a:lnTo>
                  <a:pt x="2081210" y="3675137"/>
                </a:lnTo>
                <a:lnTo>
                  <a:pt x="1987147" y="3838924"/>
                </a:lnTo>
                <a:lnTo>
                  <a:pt x="1930624" y="3936274"/>
                </a:lnTo>
                <a:lnTo>
                  <a:pt x="1892846" y="4000732"/>
                </a:lnTo>
                <a:lnTo>
                  <a:pt x="1854958" y="4064803"/>
                </a:lnTo>
                <a:lnTo>
                  <a:pt x="1816931" y="4128461"/>
                </a:lnTo>
                <a:lnTo>
                  <a:pt x="1778737" y="4191676"/>
                </a:lnTo>
                <a:lnTo>
                  <a:pt x="1740346" y="4254421"/>
                </a:lnTo>
                <a:lnTo>
                  <a:pt x="1701731" y="4316668"/>
                </a:lnTo>
                <a:lnTo>
                  <a:pt x="1662863" y="4378389"/>
                </a:lnTo>
                <a:lnTo>
                  <a:pt x="1623712" y="4439556"/>
                </a:lnTo>
                <a:lnTo>
                  <a:pt x="1548540" y="4554758"/>
                </a:lnTo>
                <a:lnTo>
                  <a:pt x="1464414" y="4682071"/>
                </a:lnTo>
                <a:lnTo>
                  <a:pt x="1379232" y="4809390"/>
                </a:lnTo>
                <a:lnTo>
                  <a:pt x="1293029" y="4936640"/>
                </a:lnTo>
                <a:lnTo>
                  <a:pt x="1205837" y="5063744"/>
                </a:lnTo>
                <a:lnTo>
                  <a:pt x="1117691" y="5190628"/>
                </a:lnTo>
                <a:lnTo>
                  <a:pt x="1028624" y="5317216"/>
                </a:lnTo>
                <a:lnTo>
                  <a:pt x="938669" y="5443432"/>
                </a:lnTo>
                <a:lnTo>
                  <a:pt x="847860" y="5569200"/>
                </a:lnTo>
                <a:lnTo>
                  <a:pt x="756231" y="5694445"/>
                </a:lnTo>
                <a:lnTo>
                  <a:pt x="663815" y="5819091"/>
                </a:lnTo>
                <a:lnTo>
                  <a:pt x="570645" y="5943062"/>
                </a:lnTo>
                <a:lnTo>
                  <a:pt x="476756" y="6066284"/>
                </a:lnTo>
                <a:lnTo>
                  <a:pt x="382180" y="6188680"/>
                </a:lnTo>
                <a:lnTo>
                  <a:pt x="286951" y="6310174"/>
                </a:lnTo>
                <a:lnTo>
                  <a:pt x="191103" y="6430692"/>
                </a:lnTo>
                <a:lnTo>
                  <a:pt x="94669" y="6550157"/>
                </a:lnTo>
                <a:lnTo>
                  <a:pt x="0" y="6665681"/>
                </a:lnTo>
                <a:lnTo>
                  <a:pt x="7153585" y="6665681"/>
                </a:lnTo>
                <a:lnTo>
                  <a:pt x="7153585" y="0"/>
                </a:lnTo>
                <a:close/>
              </a:path>
            </a:pathLst>
          </a:custGeom>
          <a:solidFill>
            <a:schemeClr val="bg1">
              <a:alpha val="50000"/>
            </a:schemeClr>
          </a:solidFill>
        </p:spPr>
        <p:txBody>
          <a:bodyPr wrap="square" lIns="0" tIns="0" rIns="0" bIns="0" rtlCol="0"/>
          <a:lstStyle/>
          <a:p>
            <a:endParaRPr>
              <a:solidFill>
                <a:schemeClr val="bg1">
                  <a:lumMod val="95000"/>
                </a:schemeClr>
              </a:solidFill>
            </a:endParaRPr>
          </a:p>
        </p:txBody>
      </p:sp>
      <p:sp>
        <p:nvSpPr>
          <p:cNvPr id="11" name="Titel 1">
            <a:extLst>
              <a:ext uri="{FF2B5EF4-FFF2-40B4-BE49-F238E27FC236}">
                <a16:creationId xmlns:a16="http://schemas.microsoft.com/office/drawing/2014/main" id="{DFFA10CD-CE68-45C9-E35F-CB32F05459D3}"/>
              </a:ext>
            </a:extLst>
          </p:cNvPr>
          <p:cNvSpPr txBox="1">
            <a:spLocks/>
          </p:cNvSpPr>
          <p:nvPr userDrawn="1"/>
        </p:nvSpPr>
        <p:spPr>
          <a:xfrm>
            <a:off x="399922" y="2138966"/>
            <a:ext cx="4409145" cy="1725277"/>
          </a:xfrm>
          <a:prstGeom prst="rect">
            <a:avLst/>
          </a:prstGeom>
        </p:spPr>
        <p:txBody>
          <a:bodyPr anchor="b">
            <a:noAutofit/>
          </a:bodyPr>
          <a:lstStyle>
            <a:lvl1pPr algn="l" defTabSz="914400" rtl="0" eaLnBrk="1" latinLnBrk="0" hangingPunct="1">
              <a:lnSpc>
                <a:spcPct val="90000"/>
              </a:lnSpc>
              <a:spcBef>
                <a:spcPct val="0"/>
              </a:spcBef>
              <a:buNone/>
              <a:defRPr sz="6000" b="0" i="0" kern="1200">
                <a:solidFill>
                  <a:srgbClr val="2C3051"/>
                </a:solidFill>
                <a:latin typeface="Avenir" panose="02000503020000020003" pitchFamily="2" charset="0"/>
                <a:ea typeface="+mj-ea"/>
                <a:cs typeface="+mj-cs"/>
              </a:defRPr>
            </a:lvl1pPr>
          </a:lstStyle>
          <a:p>
            <a:endParaRPr lang="nl-BE"/>
          </a:p>
        </p:txBody>
      </p:sp>
      <p:pic>
        <p:nvPicPr>
          <p:cNvPr id="12" name="Afbeelding 28">
            <a:extLst>
              <a:ext uri="{FF2B5EF4-FFF2-40B4-BE49-F238E27FC236}">
                <a16:creationId xmlns:a16="http://schemas.microsoft.com/office/drawing/2014/main" id="{04C644F1-3747-0290-5EE3-AAD585D412C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14" name="TextBox 13">
            <a:extLst>
              <a:ext uri="{FF2B5EF4-FFF2-40B4-BE49-F238E27FC236}">
                <a16:creationId xmlns:a16="http://schemas.microsoft.com/office/drawing/2014/main" id="{7F3B95A2-ED2C-A76F-7AC1-B0A589852E58}"/>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pic>
        <p:nvPicPr>
          <p:cNvPr id="15" name="Afbeelding 9">
            <a:extLst>
              <a:ext uri="{FF2B5EF4-FFF2-40B4-BE49-F238E27FC236}">
                <a16:creationId xmlns:a16="http://schemas.microsoft.com/office/drawing/2014/main" id="{B4F767CF-9AB1-FE98-5FD1-044B7FB08C5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6" name="Straight Connector 15">
            <a:extLst>
              <a:ext uri="{FF2B5EF4-FFF2-40B4-BE49-F238E27FC236}">
                <a16:creationId xmlns:a16="http://schemas.microsoft.com/office/drawing/2014/main" id="{C14D8681-0F21-A256-61C3-ADEE28956767}"/>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0" name="Titel 1">
            <a:extLst>
              <a:ext uri="{FF2B5EF4-FFF2-40B4-BE49-F238E27FC236}">
                <a16:creationId xmlns:a16="http://schemas.microsoft.com/office/drawing/2014/main" id="{D65FBC3B-AE84-C97A-2123-A126B5E9E01C}"/>
              </a:ext>
            </a:extLst>
          </p:cNvPr>
          <p:cNvSpPr>
            <a:spLocks noGrp="1"/>
          </p:cNvSpPr>
          <p:nvPr>
            <p:ph type="ctrTitle"/>
          </p:nvPr>
        </p:nvSpPr>
        <p:spPr>
          <a:xfrm>
            <a:off x="399922" y="2161077"/>
            <a:ext cx="5443315" cy="1725277"/>
          </a:xfrm>
          <a:prstGeom prst="rect">
            <a:avLst/>
          </a:prstGeom>
        </p:spPr>
        <p:txBody>
          <a:bodyPr anchor="b">
            <a:noAutofit/>
          </a:bodyPr>
          <a:lstStyle>
            <a:lvl1pPr algn="l">
              <a:defRPr sz="4000" b="1" i="0">
                <a:solidFill>
                  <a:srgbClr val="2C3051"/>
                </a:solidFill>
                <a:latin typeface="Avenir LT Std 55 Roman" panose="020B0503020203020204" pitchFamily="34" charset="0"/>
              </a:defRPr>
            </a:lvl1pPr>
          </a:lstStyle>
          <a:p>
            <a:r>
              <a:rPr lang="fr-FR"/>
              <a:t>Modifiez le style du titre</a:t>
            </a:r>
            <a:endParaRPr lang="nl-BE"/>
          </a:p>
        </p:txBody>
      </p:sp>
    </p:spTree>
    <p:extLst>
      <p:ext uri="{BB962C8B-B14F-4D97-AF65-F5344CB8AC3E}">
        <p14:creationId xmlns:p14="http://schemas.microsoft.com/office/powerpoint/2010/main" val="40240809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Page-1">
    <p:spTree>
      <p:nvGrpSpPr>
        <p:cNvPr id="1" name=""/>
        <p:cNvGrpSpPr/>
        <p:nvPr/>
      </p:nvGrpSpPr>
      <p:grpSpPr>
        <a:xfrm>
          <a:off x="0" y="0"/>
          <a:ext cx="0" cy="0"/>
          <a:chOff x="0" y="0"/>
          <a:chExt cx="0" cy="0"/>
        </a:xfrm>
      </p:grpSpPr>
      <p:sp>
        <p:nvSpPr>
          <p:cNvPr id="12" name="Tekstvak 11">
            <a:extLst>
              <a:ext uri="{FF2B5EF4-FFF2-40B4-BE49-F238E27FC236}">
                <a16:creationId xmlns:a16="http://schemas.microsoft.com/office/drawing/2014/main" id="{EF548E58-5FB2-B96B-D2FF-D5BA8263196D}"/>
              </a:ext>
            </a:extLst>
          </p:cNvPr>
          <p:cNvSpPr txBox="1"/>
          <p:nvPr userDrawn="1"/>
        </p:nvSpPr>
        <p:spPr>
          <a:xfrm>
            <a:off x="7732643" y="3776870"/>
            <a:ext cx="184731" cy="369332"/>
          </a:xfrm>
          <a:prstGeom prst="rect">
            <a:avLst/>
          </a:prstGeom>
          <a:noFill/>
        </p:spPr>
        <p:txBody>
          <a:bodyPr wrap="none" rtlCol="0">
            <a:spAutoFit/>
          </a:bodyPr>
          <a:lstStyle/>
          <a:p>
            <a:endParaRPr lang="nl-BE"/>
          </a:p>
        </p:txBody>
      </p:sp>
      <p:sp>
        <p:nvSpPr>
          <p:cNvPr id="28" name="object 2">
            <a:extLst>
              <a:ext uri="{FF2B5EF4-FFF2-40B4-BE49-F238E27FC236}">
                <a16:creationId xmlns:a16="http://schemas.microsoft.com/office/drawing/2014/main" id="{9252B0C0-2EE4-4194-40C9-9036C41C4FF6}"/>
              </a:ext>
            </a:extLst>
          </p:cNvPr>
          <p:cNvSpPr/>
          <p:nvPr userDrawn="1"/>
        </p:nvSpPr>
        <p:spPr>
          <a:xfrm>
            <a:off x="-1" y="2829"/>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sp>
        <p:nvSpPr>
          <p:cNvPr id="38" name="Titel 19">
            <a:extLst>
              <a:ext uri="{FF2B5EF4-FFF2-40B4-BE49-F238E27FC236}">
                <a16:creationId xmlns:a16="http://schemas.microsoft.com/office/drawing/2014/main" id="{B71590A5-B9C3-E975-2D4A-48F604E7C30C}"/>
              </a:ext>
            </a:extLst>
          </p:cNvPr>
          <p:cNvSpPr>
            <a:spLocks noGrp="1"/>
          </p:cNvSpPr>
          <p:nvPr>
            <p:ph type="title"/>
          </p:nvPr>
        </p:nvSpPr>
        <p:spPr>
          <a:xfrm>
            <a:off x="4173560" y="5152572"/>
            <a:ext cx="7556740" cy="744858"/>
          </a:xfrm>
          <a:prstGeom prst="rect">
            <a:avLst/>
          </a:prstGeom>
        </p:spPr>
        <p:txBody>
          <a:bodyPr>
            <a:normAutofit/>
          </a:bodyPr>
          <a:lstStyle>
            <a:lvl1pPr algn="r">
              <a:defRPr sz="6500" b="0" i="0">
                <a:latin typeface="Avenir" panose="02000503020000020003"/>
              </a:defRPr>
            </a:lvl1pPr>
          </a:lstStyle>
          <a:p>
            <a:r>
              <a:rPr lang="fr-FR"/>
              <a:t>Modifiez le style du titre</a:t>
            </a:r>
            <a:endParaRPr lang="nl-BE"/>
          </a:p>
        </p:txBody>
      </p:sp>
      <p:pic>
        <p:nvPicPr>
          <p:cNvPr id="3" name="Picture 2">
            <a:extLst>
              <a:ext uri="{FF2B5EF4-FFF2-40B4-BE49-F238E27FC236}">
                <a16:creationId xmlns:a16="http://schemas.microsoft.com/office/drawing/2014/main" id="{F5AA11E8-9192-ACC5-8851-D916F6111BB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7732642" cy="6887880"/>
          </a:xfrm>
          <a:prstGeom prst="rect">
            <a:avLst/>
          </a:prstGeom>
        </p:spPr>
      </p:pic>
      <p:sp>
        <p:nvSpPr>
          <p:cNvPr id="13" name="object 2">
            <a:extLst>
              <a:ext uri="{FF2B5EF4-FFF2-40B4-BE49-F238E27FC236}">
                <a16:creationId xmlns:a16="http://schemas.microsoft.com/office/drawing/2014/main" id="{C4741B22-5A50-96A7-0AB3-A7EDFF787095}"/>
              </a:ext>
            </a:extLst>
          </p:cNvPr>
          <p:cNvSpPr/>
          <p:nvPr userDrawn="1"/>
        </p:nvSpPr>
        <p:spPr>
          <a:xfrm>
            <a:off x="-1" y="0"/>
            <a:ext cx="4092316" cy="2410587"/>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chemeClr val="bg1"/>
          </a:solidFill>
        </p:spPr>
        <p:txBody>
          <a:bodyPr wrap="square" lIns="0" tIns="0" rIns="0" bIns="0" rtlCol="0"/>
          <a:lstStyle/>
          <a:p>
            <a:endParaRPr/>
          </a:p>
        </p:txBody>
      </p:sp>
      <p:pic>
        <p:nvPicPr>
          <p:cNvPr id="17" name="Afbeelding 28">
            <a:extLst>
              <a:ext uri="{FF2B5EF4-FFF2-40B4-BE49-F238E27FC236}">
                <a16:creationId xmlns:a16="http://schemas.microsoft.com/office/drawing/2014/main" id="{DA96151D-153E-3436-1853-C1C5ECCE49F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9922" y="417439"/>
            <a:ext cx="1449863" cy="773260"/>
          </a:xfrm>
          <a:prstGeom prst="rect">
            <a:avLst/>
          </a:prstGeom>
        </p:spPr>
      </p:pic>
      <p:sp>
        <p:nvSpPr>
          <p:cNvPr id="31" name="TextBox 30">
            <a:extLst>
              <a:ext uri="{FF2B5EF4-FFF2-40B4-BE49-F238E27FC236}">
                <a16:creationId xmlns:a16="http://schemas.microsoft.com/office/drawing/2014/main" id="{7C7D7F11-4B07-1C45-6E8B-255E5AADFD9C}"/>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32" name="Afbeelding 9">
            <a:extLst>
              <a:ext uri="{FF2B5EF4-FFF2-40B4-BE49-F238E27FC236}">
                <a16:creationId xmlns:a16="http://schemas.microsoft.com/office/drawing/2014/main" id="{F144CBC5-FD5A-F742-C375-38B9032A62DA}"/>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33" name="Straight Connector 32">
            <a:extLst>
              <a:ext uri="{FF2B5EF4-FFF2-40B4-BE49-F238E27FC236}">
                <a16:creationId xmlns:a16="http://schemas.microsoft.com/office/drawing/2014/main" id="{F0E5428B-D8D3-A9FF-BFA8-6E97F9D2DBDF}"/>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780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6251D-FD2E-AEC9-CD01-81828549F8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1187F9-FF90-6724-B001-E4D40808C87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249485-B35C-4806-3785-FCAA4C8FE8FE}"/>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0B20C383-500B-5522-9A37-B1057EDF0F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D96E65-9398-F62A-43EE-DB5C17AC4183}"/>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17326821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ntentPage+Image">
    <p:spTree>
      <p:nvGrpSpPr>
        <p:cNvPr id="1" name=""/>
        <p:cNvGrpSpPr/>
        <p:nvPr/>
      </p:nvGrpSpPr>
      <p:grpSpPr>
        <a:xfrm>
          <a:off x="0" y="0"/>
          <a:ext cx="0" cy="0"/>
          <a:chOff x="0" y="0"/>
          <a:chExt cx="0" cy="0"/>
        </a:xfrm>
      </p:grpSpPr>
      <p:pic>
        <p:nvPicPr>
          <p:cNvPr id="24" name="Afbeelding 23">
            <a:extLst>
              <a:ext uri="{FF2B5EF4-FFF2-40B4-BE49-F238E27FC236}">
                <a16:creationId xmlns:a16="http://schemas.microsoft.com/office/drawing/2014/main" id="{E3554B7D-52B0-F6C3-CA8B-A419B665E9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8" y="9768"/>
            <a:ext cx="6096002" cy="6873622"/>
          </a:xfrm>
          <a:prstGeom prst="rect">
            <a:avLst/>
          </a:prstGeom>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5" name="Titel 1">
            <a:extLst>
              <a:ext uri="{FF2B5EF4-FFF2-40B4-BE49-F238E27FC236}">
                <a16:creationId xmlns:a16="http://schemas.microsoft.com/office/drawing/2014/main" id="{E13C5338-039C-3FA8-6881-7AA1206B12D4}"/>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6" name="Tijdelijke aanduiding voor inhoud 2">
            <a:extLst>
              <a:ext uri="{FF2B5EF4-FFF2-40B4-BE49-F238E27FC236}">
                <a16:creationId xmlns:a16="http://schemas.microsoft.com/office/drawing/2014/main" id="{74E29A07-E67E-B189-1DDF-E4B16DD1013D}"/>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7" name="object 2">
            <a:extLst>
              <a:ext uri="{FF2B5EF4-FFF2-40B4-BE49-F238E27FC236}">
                <a16:creationId xmlns:a16="http://schemas.microsoft.com/office/drawing/2014/main" id="{66F76CF1-F90C-2521-AD5A-7DB4CE909D19}"/>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18" name="object 2">
            <a:extLst>
              <a:ext uri="{FF2B5EF4-FFF2-40B4-BE49-F238E27FC236}">
                <a16:creationId xmlns:a16="http://schemas.microsoft.com/office/drawing/2014/main" id="{8B1D4D38-2153-5BB7-5F67-148DCB93F96F}"/>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21535463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ontentPage+Image">
    <p:spTree>
      <p:nvGrpSpPr>
        <p:cNvPr id="1" name=""/>
        <p:cNvGrpSpPr/>
        <p:nvPr/>
      </p:nvGrpSpPr>
      <p:grpSpPr>
        <a:xfrm>
          <a:off x="0" y="0"/>
          <a:ext cx="0" cy="0"/>
          <a:chOff x="0" y="0"/>
          <a:chExt cx="0" cy="0"/>
        </a:xfrm>
      </p:grpSpPr>
      <p:pic>
        <p:nvPicPr>
          <p:cNvPr id="11" name="Picture 2" descr="Solar Panel Installation Companies Hot Sale, 51% OFF | espirituviajero.com">
            <a:extLst>
              <a:ext uri="{FF2B5EF4-FFF2-40B4-BE49-F238E27FC236}">
                <a16:creationId xmlns:a16="http://schemas.microsoft.com/office/drawing/2014/main" id="{0E57A8AC-BF8C-EC18-6661-813599C8D848}"/>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73800" y="0"/>
            <a:ext cx="5948391" cy="6883390"/>
          </a:xfrm>
          <a:prstGeom prst="rect">
            <a:avLst/>
          </a:prstGeom>
          <a:noFill/>
          <a:extLst>
            <a:ext uri="{909E8E84-426E-40DD-AFC4-6F175D3DCCD1}">
              <a14:hiddenFill xmlns:a14="http://schemas.microsoft.com/office/drawing/2010/main">
                <a:solidFill>
                  <a:srgbClr val="FFFFFF"/>
                </a:solidFill>
              </a14:hiddenFill>
            </a:ext>
          </a:extLst>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8C418250-AB36-36FB-9270-9CB45A480B17}"/>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9" name="Titel 1">
            <a:extLst>
              <a:ext uri="{FF2B5EF4-FFF2-40B4-BE49-F238E27FC236}">
                <a16:creationId xmlns:a16="http://schemas.microsoft.com/office/drawing/2014/main" id="{0102B9D4-0563-7995-9EA1-0B93159F10C8}"/>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20" name="object 2">
            <a:extLst>
              <a:ext uri="{FF2B5EF4-FFF2-40B4-BE49-F238E27FC236}">
                <a16:creationId xmlns:a16="http://schemas.microsoft.com/office/drawing/2014/main" id="{8CBE8946-2013-EC5E-27B5-64858DA2C6AA}"/>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2" name="object 2">
            <a:extLst>
              <a:ext uri="{FF2B5EF4-FFF2-40B4-BE49-F238E27FC236}">
                <a16:creationId xmlns:a16="http://schemas.microsoft.com/office/drawing/2014/main" id="{3674D779-7676-DE47-8056-62354B48B58D}"/>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13819453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ContentPage+Image">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0E57A8AC-BF8C-EC18-6661-813599C8D848}"/>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6273800" y="0"/>
            <a:ext cx="5948391" cy="6883390"/>
          </a:xfrm>
          <a:prstGeom prst="rect">
            <a:avLst/>
          </a:prstGeom>
          <a:noFill/>
          <a:extLst>
            <a:ext uri="{909E8E84-426E-40DD-AFC4-6F175D3DCCD1}">
              <a14:hiddenFill xmlns:a14="http://schemas.microsoft.com/office/drawing/2010/main">
                <a:solidFill>
                  <a:srgbClr val="FFFFFF"/>
                </a:solidFill>
              </a14:hiddenFill>
            </a:ext>
          </a:extLst>
        </p:spPr>
      </p:pic>
      <p:sp>
        <p:nvSpPr>
          <p:cNvPr id="21" name="object 2">
            <a:extLst>
              <a:ext uri="{FF2B5EF4-FFF2-40B4-BE49-F238E27FC236}">
                <a16:creationId xmlns:a16="http://schemas.microsoft.com/office/drawing/2014/main" id="{7FB5D4F0-26ED-CC75-D041-B96DBFB98F5E}"/>
              </a:ext>
            </a:extLst>
          </p:cNvPr>
          <p:cNvSpPr/>
          <p:nvPr userDrawn="1"/>
        </p:nvSpPr>
        <p:spPr>
          <a:xfrm>
            <a:off x="-722" y="-15"/>
            <a:ext cx="12222913" cy="6883405"/>
          </a:xfrm>
          <a:custGeom>
            <a:avLst/>
            <a:gdLst>
              <a:gd name="connsiteX0" fmla="*/ 8631301 w 8631301"/>
              <a:gd name="connsiteY0" fmla="*/ 0 h 6687210"/>
              <a:gd name="connsiteX1" fmla="*/ 0 w 8631301"/>
              <a:gd name="connsiteY1" fmla="*/ 0 h 6687210"/>
              <a:gd name="connsiteX2" fmla="*/ 0 w 8631301"/>
              <a:gd name="connsiteY2" fmla="*/ 5367969 h 6687210"/>
              <a:gd name="connsiteX3" fmla="*/ 1556981 w 8631301"/>
              <a:gd name="connsiteY3" fmla="*/ 6687210 h 6687210"/>
              <a:gd name="connsiteX4" fmla="*/ 1622552 w 8631301"/>
              <a:gd name="connsiteY4" fmla="*/ 6680790 h 6687210"/>
              <a:gd name="connsiteX5" fmla="*/ 1687395 w 8631301"/>
              <a:gd name="connsiteY5" fmla="*/ 6673902 h 6687210"/>
              <a:gd name="connsiteX6" fmla="*/ 1751517 w 8631301"/>
              <a:gd name="connsiteY6" fmla="*/ 6666549 h 6687210"/>
              <a:gd name="connsiteX7" fmla="*/ 1814923 w 8631301"/>
              <a:gd name="connsiteY7" fmla="*/ 6658735 h 6687210"/>
              <a:gd name="connsiteX8" fmla="*/ 1877621 w 8631301"/>
              <a:gd name="connsiteY8" fmla="*/ 6650463 h 6687210"/>
              <a:gd name="connsiteX9" fmla="*/ 1939616 w 8631301"/>
              <a:gd name="connsiteY9" fmla="*/ 6641737 h 6687210"/>
              <a:gd name="connsiteX10" fmla="*/ 2000915 w 8631301"/>
              <a:gd name="connsiteY10" fmla="*/ 6632561 h 6687210"/>
              <a:gd name="connsiteX11" fmla="*/ 2061524 w 8631301"/>
              <a:gd name="connsiteY11" fmla="*/ 6622937 h 6687210"/>
              <a:gd name="connsiteX12" fmla="*/ 2121449 w 8631301"/>
              <a:gd name="connsiteY12" fmla="*/ 6612869 h 6687210"/>
              <a:gd name="connsiteX13" fmla="*/ 2180698 w 8631301"/>
              <a:gd name="connsiteY13" fmla="*/ 6602362 h 6687210"/>
              <a:gd name="connsiteX14" fmla="*/ 2239276 w 8631301"/>
              <a:gd name="connsiteY14" fmla="*/ 6591417 h 6687210"/>
              <a:gd name="connsiteX15" fmla="*/ 2297189 w 8631301"/>
              <a:gd name="connsiteY15" fmla="*/ 6580040 h 6687210"/>
              <a:gd name="connsiteX16" fmla="*/ 2354444 w 8631301"/>
              <a:gd name="connsiteY16" fmla="*/ 6568233 h 6687210"/>
              <a:gd name="connsiteX17" fmla="*/ 2411048 w 8631301"/>
              <a:gd name="connsiteY17" fmla="*/ 6555999 h 6687210"/>
              <a:gd name="connsiteX18" fmla="*/ 2467006 w 8631301"/>
              <a:gd name="connsiteY18" fmla="*/ 6543344 h 6687210"/>
              <a:gd name="connsiteX19" fmla="*/ 2522325 w 8631301"/>
              <a:gd name="connsiteY19" fmla="*/ 6530269 h 6687210"/>
              <a:gd name="connsiteX20" fmla="*/ 2577011 w 8631301"/>
              <a:gd name="connsiteY20" fmla="*/ 6516778 h 6687210"/>
              <a:gd name="connsiteX21" fmla="*/ 2631071 w 8631301"/>
              <a:gd name="connsiteY21" fmla="*/ 6502876 h 6687210"/>
              <a:gd name="connsiteX22" fmla="*/ 2684511 w 8631301"/>
              <a:gd name="connsiteY22" fmla="*/ 6488565 h 6687210"/>
              <a:gd name="connsiteX23" fmla="*/ 2737336 w 8631301"/>
              <a:gd name="connsiteY23" fmla="*/ 6473849 h 6687210"/>
              <a:gd name="connsiteX24" fmla="*/ 2789555 w 8631301"/>
              <a:gd name="connsiteY24" fmla="*/ 6458731 h 6687210"/>
              <a:gd name="connsiteX25" fmla="*/ 2841173 w 8631301"/>
              <a:gd name="connsiteY25" fmla="*/ 6443216 h 6687210"/>
              <a:gd name="connsiteX26" fmla="*/ 2892195 w 8631301"/>
              <a:gd name="connsiteY26" fmla="*/ 6427305 h 6687210"/>
              <a:gd name="connsiteX27" fmla="*/ 2942630 w 8631301"/>
              <a:gd name="connsiteY27" fmla="*/ 6411004 h 6687210"/>
              <a:gd name="connsiteX28" fmla="*/ 2992482 w 8631301"/>
              <a:gd name="connsiteY28" fmla="*/ 6394316 h 6687210"/>
              <a:gd name="connsiteX29" fmla="*/ 3041759 w 8631301"/>
              <a:gd name="connsiteY29" fmla="*/ 6377243 h 6687210"/>
              <a:gd name="connsiteX30" fmla="*/ 3090466 w 8631301"/>
              <a:gd name="connsiteY30" fmla="*/ 6359791 h 6687210"/>
              <a:gd name="connsiteX31" fmla="*/ 3138610 w 8631301"/>
              <a:gd name="connsiteY31" fmla="*/ 6341961 h 6687210"/>
              <a:gd name="connsiteX32" fmla="*/ 3186198 w 8631301"/>
              <a:gd name="connsiteY32" fmla="*/ 6323757 h 6687210"/>
              <a:gd name="connsiteX33" fmla="*/ 3233235 w 8631301"/>
              <a:gd name="connsiteY33" fmla="*/ 6305184 h 6687210"/>
              <a:gd name="connsiteX34" fmla="*/ 3279728 w 8631301"/>
              <a:gd name="connsiteY34" fmla="*/ 6286245 h 6687210"/>
              <a:gd name="connsiteX35" fmla="*/ 3325684 w 8631301"/>
              <a:gd name="connsiteY35" fmla="*/ 6266942 h 6687210"/>
              <a:gd name="connsiteX36" fmla="*/ 3371108 w 8631301"/>
              <a:gd name="connsiteY36" fmla="*/ 6247281 h 6687210"/>
              <a:gd name="connsiteX37" fmla="*/ 3416007 w 8631301"/>
              <a:gd name="connsiteY37" fmla="*/ 6227263 h 6687210"/>
              <a:gd name="connsiteX38" fmla="*/ 3460387 w 8631301"/>
              <a:gd name="connsiteY38" fmla="*/ 6206893 h 6687210"/>
              <a:gd name="connsiteX39" fmla="*/ 3504255 w 8631301"/>
              <a:gd name="connsiteY39" fmla="*/ 6186174 h 6687210"/>
              <a:gd name="connsiteX40" fmla="*/ 3547617 w 8631301"/>
              <a:gd name="connsiteY40" fmla="*/ 6165110 h 6687210"/>
              <a:gd name="connsiteX41" fmla="*/ 3590480 w 8631301"/>
              <a:gd name="connsiteY41" fmla="*/ 6143704 h 6687210"/>
              <a:gd name="connsiteX42" fmla="*/ 3632849 w 8631301"/>
              <a:gd name="connsiteY42" fmla="*/ 6121960 h 6687210"/>
              <a:gd name="connsiteX43" fmla="*/ 3674731 w 8631301"/>
              <a:gd name="connsiteY43" fmla="*/ 6099881 h 6687210"/>
              <a:gd name="connsiteX44" fmla="*/ 3716133 w 8631301"/>
              <a:gd name="connsiteY44" fmla="*/ 6077471 h 6687210"/>
              <a:gd name="connsiteX45" fmla="*/ 3757060 w 8631301"/>
              <a:gd name="connsiteY45" fmla="*/ 6054733 h 6687210"/>
              <a:gd name="connsiteX46" fmla="*/ 3797519 w 8631301"/>
              <a:gd name="connsiteY46" fmla="*/ 6031671 h 6687210"/>
              <a:gd name="connsiteX47" fmla="*/ 3837517 w 8631301"/>
              <a:gd name="connsiteY47" fmla="*/ 6008288 h 6687210"/>
              <a:gd name="connsiteX48" fmla="*/ 3877059 w 8631301"/>
              <a:gd name="connsiteY48" fmla="*/ 5984588 h 6687210"/>
              <a:gd name="connsiteX49" fmla="*/ 3916152 w 8631301"/>
              <a:gd name="connsiteY49" fmla="*/ 5960574 h 6687210"/>
              <a:gd name="connsiteX50" fmla="*/ 3954803 w 8631301"/>
              <a:gd name="connsiteY50" fmla="*/ 5936250 h 6687210"/>
              <a:gd name="connsiteX51" fmla="*/ 3993018 w 8631301"/>
              <a:gd name="connsiteY51" fmla="*/ 5911619 h 6687210"/>
              <a:gd name="connsiteX52" fmla="*/ 4030802 w 8631301"/>
              <a:gd name="connsiteY52" fmla="*/ 5886685 h 6687210"/>
              <a:gd name="connsiteX53" fmla="*/ 4068163 w 8631301"/>
              <a:gd name="connsiteY53" fmla="*/ 5861452 h 6687210"/>
              <a:gd name="connsiteX54" fmla="*/ 4105107 w 8631301"/>
              <a:gd name="connsiteY54" fmla="*/ 5835922 h 6687210"/>
              <a:gd name="connsiteX55" fmla="*/ 4141640 w 8631301"/>
              <a:gd name="connsiteY55" fmla="*/ 5810100 h 6687210"/>
              <a:gd name="connsiteX56" fmla="*/ 4177768 w 8631301"/>
              <a:gd name="connsiteY56" fmla="*/ 5783988 h 6687210"/>
              <a:gd name="connsiteX57" fmla="*/ 4213498 w 8631301"/>
              <a:gd name="connsiteY57" fmla="*/ 5757591 h 6687210"/>
              <a:gd name="connsiteX58" fmla="*/ 4248836 w 8631301"/>
              <a:gd name="connsiteY58" fmla="*/ 5730912 h 6687210"/>
              <a:gd name="connsiteX59" fmla="*/ 4283788 w 8631301"/>
              <a:gd name="connsiteY59" fmla="*/ 5703955 h 6687210"/>
              <a:gd name="connsiteX60" fmla="*/ 4318361 w 8631301"/>
              <a:gd name="connsiteY60" fmla="*/ 5676722 h 6687210"/>
              <a:gd name="connsiteX61" fmla="*/ 4352561 w 8631301"/>
              <a:gd name="connsiteY61" fmla="*/ 5649218 h 6687210"/>
              <a:gd name="connsiteX62" fmla="*/ 4386395 w 8631301"/>
              <a:gd name="connsiteY62" fmla="*/ 5621446 h 6687210"/>
              <a:gd name="connsiteX63" fmla="*/ 4419869 w 8631301"/>
              <a:gd name="connsiteY63" fmla="*/ 5593409 h 6687210"/>
              <a:gd name="connsiteX64" fmla="*/ 4452988 w 8631301"/>
              <a:gd name="connsiteY64" fmla="*/ 5565111 h 6687210"/>
              <a:gd name="connsiteX65" fmla="*/ 4485760 w 8631301"/>
              <a:gd name="connsiteY65" fmla="*/ 5536556 h 6687210"/>
              <a:gd name="connsiteX66" fmla="*/ 4518191 w 8631301"/>
              <a:gd name="connsiteY66" fmla="*/ 5507747 h 6687210"/>
              <a:gd name="connsiteX67" fmla="*/ 4550287 w 8631301"/>
              <a:gd name="connsiteY67" fmla="*/ 5478687 h 6687210"/>
              <a:gd name="connsiteX68" fmla="*/ 4582054 w 8631301"/>
              <a:gd name="connsiteY68" fmla="*/ 5449380 h 6687210"/>
              <a:gd name="connsiteX69" fmla="*/ 4613500 w 8631301"/>
              <a:gd name="connsiteY69" fmla="*/ 5419830 h 6687210"/>
              <a:gd name="connsiteX70" fmla="*/ 4644629 w 8631301"/>
              <a:gd name="connsiteY70" fmla="*/ 5390040 h 6687210"/>
              <a:gd name="connsiteX71" fmla="*/ 4675449 w 8631301"/>
              <a:gd name="connsiteY71" fmla="*/ 5360014 h 6687210"/>
              <a:gd name="connsiteX72" fmla="*/ 4705966 w 8631301"/>
              <a:gd name="connsiteY72" fmla="*/ 5329755 h 6687210"/>
              <a:gd name="connsiteX73" fmla="*/ 4736185 w 8631301"/>
              <a:gd name="connsiteY73" fmla="*/ 5299266 h 6687210"/>
              <a:gd name="connsiteX74" fmla="*/ 4766115 w 8631301"/>
              <a:gd name="connsiteY74" fmla="*/ 5268551 h 6687210"/>
              <a:gd name="connsiteX75" fmla="*/ 4795760 w 8631301"/>
              <a:gd name="connsiteY75" fmla="*/ 5237614 h 6687210"/>
              <a:gd name="connsiteX76" fmla="*/ 4825127 w 8631301"/>
              <a:gd name="connsiteY76" fmla="*/ 5206458 h 6687210"/>
              <a:gd name="connsiteX77" fmla="*/ 4854223 w 8631301"/>
              <a:gd name="connsiteY77" fmla="*/ 5175087 h 6687210"/>
              <a:gd name="connsiteX78" fmla="*/ 4883054 w 8631301"/>
              <a:gd name="connsiteY78" fmla="*/ 5143504 h 6687210"/>
              <a:gd name="connsiteX79" fmla="*/ 4911626 w 8631301"/>
              <a:gd name="connsiteY79" fmla="*/ 5111713 h 6687210"/>
              <a:gd name="connsiteX80" fmla="*/ 4939945 w 8631301"/>
              <a:gd name="connsiteY80" fmla="*/ 5079717 h 6687210"/>
              <a:gd name="connsiteX81" fmla="*/ 4968018 w 8631301"/>
              <a:gd name="connsiteY81" fmla="*/ 5047519 h 6687210"/>
              <a:gd name="connsiteX82" fmla="*/ 4995852 w 8631301"/>
              <a:gd name="connsiteY82" fmla="*/ 5015124 h 6687210"/>
              <a:gd name="connsiteX83" fmla="*/ 5023452 w 8631301"/>
              <a:gd name="connsiteY83" fmla="*/ 4982535 h 6687210"/>
              <a:gd name="connsiteX84" fmla="*/ 5050824 w 8631301"/>
              <a:gd name="connsiteY84" fmla="*/ 4949755 h 6687210"/>
              <a:gd name="connsiteX85" fmla="*/ 5077976 w 8631301"/>
              <a:gd name="connsiteY85" fmla="*/ 4916787 h 6687210"/>
              <a:gd name="connsiteX86" fmla="*/ 5104914 w 8631301"/>
              <a:gd name="connsiteY86" fmla="*/ 4883636 h 6687210"/>
              <a:gd name="connsiteX87" fmla="*/ 5131644 w 8631301"/>
              <a:gd name="connsiteY87" fmla="*/ 4850305 h 6687210"/>
              <a:gd name="connsiteX88" fmla="*/ 5158171 w 8631301"/>
              <a:gd name="connsiteY88" fmla="*/ 4816797 h 6687210"/>
              <a:gd name="connsiteX89" fmla="*/ 5210647 w 8631301"/>
              <a:gd name="connsiteY89" fmla="*/ 4749265 h 6687210"/>
              <a:gd name="connsiteX90" fmla="*/ 5262391 w 8631301"/>
              <a:gd name="connsiteY90" fmla="*/ 4681068 h 6687210"/>
              <a:gd name="connsiteX91" fmla="*/ 5313455 w 8631301"/>
              <a:gd name="connsiteY91" fmla="*/ 4612234 h 6687210"/>
              <a:gd name="connsiteX92" fmla="*/ 5363889 w 8631301"/>
              <a:gd name="connsiteY92" fmla="*/ 4542793 h 6687210"/>
              <a:gd name="connsiteX93" fmla="*/ 5413745 w 8631301"/>
              <a:gd name="connsiteY93" fmla="*/ 4472771 h 6687210"/>
              <a:gd name="connsiteX94" fmla="*/ 5463072 w 8631301"/>
              <a:gd name="connsiteY94" fmla="*/ 4402196 h 6687210"/>
              <a:gd name="connsiteX95" fmla="*/ 5511922 w 8631301"/>
              <a:gd name="connsiteY95" fmla="*/ 4331098 h 6687210"/>
              <a:gd name="connsiteX96" fmla="*/ 5560344 w 8631301"/>
              <a:gd name="connsiteY96" fmla="*/ 4259503 h 6687210"/>
              <a:gd name="connsiteX97" fmla="*/ 5608391 w 8631301"/>
              <a:gd name="connsiteY97" fmla="*/ 4187441 h 6687210"/>
              <a:gd name="connsiteX98" fmla="*/ 5679867 w 8631301"/>
              <a:gd name="connsiteY98" fmla="*/ 4078531 h 6687210"/>
              <a:gd name="connsiteX99" fmla="*/ 5750781 w 8631301"/>
              <a:gd name="connsiteY99" fmla="*/ 3968727 h 6687210"/>
              <a:gd name="connsiteX100" fmla="*/ 5868190 w 8631301"/>
              <a:gd name="connsiteY100" fmla="*/ 3783989 h 6687210"/>
              <a:gd name="connsiteX101" fmla="*/ 6197916 w 8631301"/>
              <a:gd name="connsiteY101" fmla="*/ 3258640 h 6687210"/>
              <a:gd name="connsiteX102" fmla="*/ 6294137 w 8631301"/>
              <a:gd name="connsiteY102" fmla="*/ 3107321 h 6687210"/>
              <a:gd name="connsiteX103" fmla="*/ 6367357 w 8631301"/>
              <a:gd name="connsiteY103" fmla="*/ 2993735 h 6687210"/>
              <a:gd name="connsiteX104" fmla="*/ 6447904 w 8631301"/>
              <a:gd name="connsiteY104" fmla="*/ 2869788 h 6687210"/>
              <a:gd name="connsiteX105" fmla="*/ 6558874 w 8631301"/>
              <a:gd name="connsiteY105" fmla="*/ 2696807 h 6687210"/>
              <a:gd name="connsiteX106" fmla="*/ 6970940 w 8631301"/>
              <a:gd name="connsiteY106" fmla="*/ 2045274 h 6687210"/>
              <a:gd name="connsiteX107" fmla="*/ 7081462 w 8631301"/>
              <a:gd name="connsiteY107" fmla="*/ 1872743 h 6687210"/>
              <a:gd name="connsiteX108" fmla="*/ 7164986 w 8631301"/>
              <a:gd name="connsiteY108" fmla="*/ 1744202 h 6687210"/>
              <a:gd name="connsiteX109" fmla="*/ 7221058 w 8631301"/>
              <a:gd name="connsiteY109" fmla="*/ 1659017 h 6687210"/>
              <a:gd name="connsiteX110" fmla="*/ 7277496 w 8631301"/>
              <a:gd name="connsiteY110" fmla="*/ 1574303 h 6687210"/>
              <a:gd name="connsiteX111" fmla="*/ 7334350 w 8631301"/>
              <a:gd name="connsiteY111" fmla="*/ 1490113 h 6687210"/>
              <a:gd name="connsiteX112" fmla="*/ 7391664 w 8631301"/>
              <a:gd name="connsiteY112" fmla="*/ 1406503 h 6687210"/>
              <a:gd name="connsiteX113" fmla="*/ 7449488 w 8631301"/>
              <a:gd name="connsiteY113" fmla="*/ 1323526 h 6687210"/>
              <a:gd name="connsiteX114" fmla="*/ 7507868 w 8631301"/>
              <a:gd name="connsiteY114" fmla="*/ 1241237 h 6687210"/>
              <a:gd name="connsiteX115" fmla="*/ 7566851 w 8631301"/>
              <a:gd name="connsiteY115" fmla="*/ 1159689 h 6687210"/>
              <a:gd name="connsiteX116" fmla="*/ 7596584 w 8631301"/>
              <a:gd name="connsiteY116" fmla="*/ 1119210 h 6687210"/>
              <a:gd name="connsiteX117" fmla="*/ 7626486 w 8631301"/>
              <a:gd name="connsiteY117" fmla="*/ 1078937 h 6687210"/>
              <a:gd name="connsiteX118" fmla="*/ 7656562 w 8631301"/>
              <a:gd name="connsiteY118" fmla="*/ 1038876 h 6687210"/>
              <a:gd name="connsiteX119" fmla="*/ 7686818 w 8631301"/>
              <a:gd name="connsiteY119" fmla="*/ 999035 h 6687210"/>
              <a:gd name="connsiteX120" fmla="*/ 7717261 w 8631301"/>
              <a:gd name="connsiteY120" fmla="*/ 959419 h 6687210"/>
              <a:gd name="connsiteX121" fmla="*/ 7747897 w 8631301"/>
              <a:gd name="connsiteY121" fmla="*/ 920037 h 6687210"/>
              <a:gd name="connsiteX122" fmla="*/ 7778730 w 8631301"/>
              <a:gd name="connsiteY122" fmla="*/ 880894 h 6687210"/>
              <a:gd name="connsiteX123" fmla="*/ 7809768 w 8631301"/>
              <a:gd name="connsiteY123" fmla="*/ 841997 h 6687210"/>
              <a:gd name="connsiteX124" fmla="*/ 7841015 w 8631301"/>
              <a:gd name="connsiteY124" fmla="*/ 803354 h 6687210"/>
              <a:gd name="connsiteX125" fmla="*/ 7872479 w 8631301"/>
              <a:gd name="connsiteY125" fmla="*/ 764970 h 6687210"/>
              <a:gd name="connsiteX126" fmla="*/ 7904165 w 8631301"/>
              <a:gd name="connsiteY126" fmla="*/ 726853 h 6687210"/>
              <a:gd name="connsiteX127" fmla="*/ 7936078 w 8631301"/>
              <a:gd name="connsiteY127" fmla="*/ 689010 h 6687210"/>
              <a:gd name="connsiteX128" fmla="*/ 7968225 w 8631301"/>
              <a:gd name="connsiteY128" fmla="*/ 651447 h 6687210"/>
              <a:gd name="connsiteX129" fmla="*/ 8000612 w 8631301"/>
              <a:gd name="connsiteY129" fmla="*/ 614171 h 6687210"/>
              <a:gd name="connsiteX130" fmla="*/ 8033245 w 8631301"/>
              <a:gd name="connsiteY130" fmla="*/ 577189 h 6687210"/>
              <a:gd name="connsiteX131" fmla="*/ 8066128 w 8631301"/>
              <a:gd name="connsiteY131" fmla="*/ 540507 h 6687210"/>
              <a:gd name="connsiteX132" fmla="*/ 8099270 w 8631301"/>
              <a:gd name="connsiteY132" fmla="*/ 504132 h 6687210"/>
              <a:gd name="connsiteX133" fmla="*/ 8132674 w 8631301"/>
              <a:gd name="connsiteY133" fmla="*/ 468072 h 6687210"/>
              <a:gd name="connsiteX134" fmla="*/ 8166348 w 8631301"/>
              <a:gd name="connsiteY134" fmla="*/ 432332 h 6687210"/>
              <a:gd name="connsiteX135" fmla="*/ 8200297 w 8631301"/>
              <a:gd name="connsiteY135" fmla="*/ 396920 h 6687210"/>
              <a:gd name="connsiteX136" fmla="*/ 8234527 w 8631301"/>
              <a:gd name="connsiteY136" fmla="*/ 361843 h 6687210"/>
              <a:gd name="connsiteX137" fmla="*/ 8269044 w 8631301"/>
              <a:gd name="connsiteY137" fmla="*/ 327107 h 6687210"/>
              <a:gd name="connsiteX138" fmla="*/ 8303854 w 8631301"/>
              <a:gd name="connsiteY138" fmla="*/ 292718 h 6687210"/>
              <a:gd name="connsiteX139" fmla="*/ 8338963 w 8631301"/>
              <a:gd name="connsiteY139" fmla="*/ 258685 h 6687210"/>
              <a:gd name="connsiteX140" fmla="*/ 8374376 w 8631301"/>
              <a:gd name="connsiteY140" fmla="*/ 225013 h 6687210"/>
              <a:gd name="connsiteX141" fmla="*/ 8410101 w 8631301"/>
              <a:gd name="connsiteY141" fmla="*/ 191709 h 6687210"/>
              <a:gd name="connsiteX142" fmla="*/ 8446141 w 8631301"/>
              <a:gd name="connsiteY142" fmla="*/ 158780 h 6687210"/>
              <a:gd name="connsiteX143" fmla="*/ 8482505 w 8631301"/>
              <a:gd name="connsiteY143" fmla="*/ 126233 h 6687210"/>
              <a:gd name="connsiteX144" fmla="*/ 8519196 w 8631301"/>
              <a:gd name="connsiteY144" fmla="*/ 94075 h 6687210"/>
              <a:gd name="connsiteX145" fmla="*/ 8556222 w 8631301"/>
              <a:gd name="connsiteY145" fmla="*/ 62312 h 6687210"/>
              <a:gd name="connsiteX146" fmla="*/ 8593588 w 8631301"/>
              <a:gd name="connsiteY146" fmla="*/ 30951 h 6687210"/>
              <a:gd name="connsiteX147" fmla="*/ 8631301 w 8631301"/>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7210"/>
              <a:gd name="connsiteX1" fmla="*/ 5293 w 8636594"/>
              <a:gd name="connsiteY1" fmla="*/ 0 h 6687210"/>
              <a:gd name="connsiteX2" fmla="*/ 0 w 8636594"/>
              <a:gd name="connsiteY2" fmla="*/ 5587843 h 6687210"/>
              <a:gd name="connsiteX3" fmla="*/ 1562274 w 8636594"/>
              <a:gd name="connsiteY3" fmla="*/ 6687210 h 6687210"/>
              <a:gd name="connsiteX4" fmla="*/ 1627845 w 8636594"/>
              <a:gd name="connsiteY4" fmla="*/ 6680790 h 6687210"/>
              <a:gd name="connsiteX5" fmla="*/ 1692688 w 8636594"/>
              <a:gd name="connsiteY5" fmla="*/ 6673902 h 6687210"/>
              <a:gd name="connsiteX6" fmla="*/ 1756810 w 8636594"/>
              <a:gd name="connsiteY6" fmla="*/ 6666549 h 6687210"/>
              <a:gd name="connsiteX7" fmla="*/ 1820216 w 8636594"/>
              <a:gd name="connsiteY7" fmla="*/ 6658735 h 6687210"/>
              <a:gd name="connsiteX8" fmla="*/ 1882914 w 8636594"/>
              <a:gd name="connsiteY8" fmla="*/ 6650463 h 6687210"/>
              <a:gd name="connsiteX9" fmla="*/ 1944909 w 8636594"/>
              <a:gd name="connsiteY9" fmla="*/ 6641737 h 6687210"/>
              <a:gd name="connsiteX10" fmla="*/ 2006208 w 8636594"/>
              <a:gd name="connsiteY10" fmla="*/ 6632561 h 6687210"/>
              <a:gd name="connsiteX11" fmla="*/ 2066817 w 8636594"/>
              <a:gd name="connsiteY11" fmla="*/ 6622937 h 6687210"/>
              <a:gd name="connsiteX12" fmla="*/ 2126742 w 8636594"/>
              <a:gd name="connsiteY12" fmla="*/ 6612869 h 6687210"/>
              <a:gd name="connsiteX13" fmla="*/ 2185991 w 8636594"/>
              <a:gd name="connsiteY13" fmla="*/ 6602362 h 6687210"/>
              <a:gd name="connsiteX14" fmla="*/ 2244569 w 8636594"/>
              <a:gd name="connsiteY14" fmla="*/ 6591417 h 6687210"/>
              <a:gd name="connsiteX15" fmla="*/ 2302482 w 8636594"/>
              <a:gd name="connsiteY15" fmla="*/ 6580040 h 6687210"/>
              <a:gd name="connsiteX16" fmla="*/ 2359737 w 8636594"/>
              <a:gd name="connsiteY16" fmla="*/ 6568233 h 6687210"/>
              <a:gd name="connsiteX17" fmla="*/ 2416341 w 8636594"/>
              <a:gd name="connsiteY17" fmla="*/ 6555999 h 6687210"/>
              <a:gd name="connsiteX18" fmla="*/ 2472299 w 8636594"/>
              <a:gd name="connsiteY18" fmla="*/ 6543344 h 6687210"/>
              <a:gd name="connsiteX19" fmla="*/ 2527618 w 8636594"/>
              <a:gd name="connsiteY19" fmla="*/ 6530269 h 6687210"/>
              <a:gd name="connsiteX20" fmla="*/ 2582304 w 8636594"/>
              <a:gd name="connsiteY20" fmla="*/ 6516778 h 6687210"/>
              <a:gd name="connsiteX21" fmla="*/ 2636364 w 8636594"/>
              <a:gd name="connsiteY21" fmla="*/ 6502876 h 6687210"/>
              <a:gd name="connsiteX22" fmla="*/ 2689804 w 8636594"/>
              <a:gd name="connsiteY22" fmla="*/ 6488565 h 6687210"/>
              <a:gd name="connsiteX23" fmla="*/ 2742629 w 8636594"/>
              <a:gd name="connsiteY23" fmla="*/ 6473849 h 6687210"/>
              <a:gd name="connsiteX24" fmla="*/ 2794848 w 8636594"/>
              <a:gd name="connsiteY24" fmla="*/ 6458731 h 6687210"/>
              <a:gd name="connsiteX25" fmla="*/ 2846466 w 8636594"/>
              <a:gd name="connsiteY25" fmla="*/ 6443216 h 6687210"/>
              <a:gd name="connsiteX26" fmla="*/ 2897488 w 8636594"/>
              <a:gd name="connsiteY26" fmla="*/ 6427305 h 6687210"/>
              <a:gd name="connsiteX27" fmla="*/ 2947923 w 8636594"/>
              <a:gd name="connsiteY27" fmla="*/ 6411004 h 6687210"/>
              <a:gd name="connsiteX28" fmla="*/ 2997775 w 8636594"/>
              <a:gd name="connsiteY28" fmla="*/ 6394316 h 6687210"/>
              <a:gd name="connsiteX29" fmla="*/ 3047052 w 8636594"/>
              <a:gd name="connsiteY29" fmla="*/ 6377243 h 6687210"/>
              <a:gd name="connsiteX30" fmla="*/ 3095759 w 8636594"/>
              <a:gd name="connsiteY30" fmla="*/ 6359791 h 6687210"/>
              <a:gd name="connsiteX31" fmla="*/ 3143903 w 8636594"/>
              <a:gd name="connsiteY31" fmla="*/ 6341961 h 6687210"/>
              <a:gd name="connsiteX32" fmla="*/ 3191491 w 8636594"/>
              <a:gd name="connsiteY32" fmla="*/ 6323757 h 6687210"/>
              <a:gd name="connsiteX33" fmla="*/ 3238528 w 8636594"/>
              <a:gd name="connsiteY33" fmla="*/ 6305184 h 6687210"/>
              <a:gd name="connsiteX34" fmla="*/ 3285021 w 8636594"/>
              <a:gd name="connsiteY34" fmla="*/ 6286245 h 6687210"/>
              <a:gd name="connsiteX35" fmla="*/ 3330977 w 8636594"/>
              <a:gd name="connsiteY35" fmla="*/ 6266942 h 6687210"/>
              <a:gd name="connsiteX36" fmla="*/ 3376401 w 8636594"/>
              <a:gd name="connsiteY36" fmla="*/ 6247281 h 6687210"/>
              <a:gd name="connsiteX37" fmla="*/ 3421300 w 8636594"/>
              <a:gd name="connsiteY37" fmla="*/ 6227263 h 6687210"/>
              <a:gd name="connsiteX38" fmla="*/ 3465680 w 8636594"/>
              <a:gd name="connsiteY38" fmla="*/ 6206893 h 6687210"/>
              <a:gd name="connsiteX39" fmla="*/ 3509548 w 8636594"/>
              <a:gd name="connsiteY39" fmla="*/ 6186174 h 6687210"/>
              <a:gd name="connsiteX40" fmla="*/ 3552910 w 8636594"/>
              <a:gd name="connsiteY40" fmla="*/ 6165110 h 6687210"/>
              <a:gd name="connsiteX41" fmla="*/ 3595773 w 8636594"/>
              <a:gd name="connsiteY41" fmla="*/ 6143704 h 6687210"/>
              <a:gd name="connsiteX42" fmla="*/ 3638142 w 8636594"/>
              <a:gd name="connsiteY42" fmla="*/ 6121960 h 6687210"/>
              <a:gd name="connsiteX43" fmla="*/ 3680024 w 8636594"/>
              <a:gd name="connsiteY43" fmla="*/ 6099881 h 6687210"/>
              <a:gd name="connsiteX44" fmla="*/ 3721426 w 8636594"/>
              <a:gd name="connsiteY44" fmla="*/ 6077471 h 6687210"/>
              <a:gd name="connsiteX45" fmla="*/ 3762353 w 8636594"/>
              <a:gd name="connsiteY45" fmla="*/ 6054733 h 6687210"/>
              <a:gd name="connsiteX46" fmla="*/ 3802812 w 8636594"/>
              <a:gd name="connsiteY46" fmla="*/ 6031671 h 6687210"/>
              <a:gd name="connsiteX47" fmla="*/ 3842810 w 8636594"/>
              <a:gd name="connsiteY47" fmla="*/ 6008288 h 6687210"/>
              <a:gd name="connsiteX48" fmla="*/ 3882352 w 8636594"/>
              <a:gd name="connsiteY48" fmla="*/ 5984588 h 6687210"/>
              <a:gd name="connsiteX49" fmla="*/ 3921445 w 8636594"/>
              <a:gd name="connsiteY49" fmla="*/ 5960574 h 6687210"/>
              <a:gd name="connsiteX50" fmla="*/ 3960096 w 8636594"/>
              <a:gd name="connsiteY50" fmla="*/ 5936250 h 6687210"/>
              <a:gd name="connsiteX51" fmla="*/ 3998311 w 8636594"/>
              <a:gd name="connsiteY51" fmla="*/ 5911619 h 6687210"/>
              <a:gd name="connsiteX52" fmla="*/ 4036095 w 8636594"/>
              <a:gd name="connsiteY52" fmla="*/ 5886685 h 6687210"/>
              <a:gd name="connsiteX53" fmla="*/ 4073456 w 8636594"/>
              <a:gd name="connsiteY53" fmla="*/ 5861452 h 6687210"/>
              <a:gd name="connsiteX54" fmla="*/ 4110400 w 8636594"/>
              <a:gd name="connsiteY54" fmla="*/ 5835922 h 6687210"/>
              <a:gd name="connsiteX55" fmla="*/ 4146933 w 8636594"/>
              <a:gd name="connsiteY55" fmla="*/ 5810100 h 6687210"/>
              <a:gd name="connsiteX56" fmla="*/ 4183061 w 8636594"/>
              <a:gd name="connsiteY56" fmla="*/ 5783988 h 6687210"/>
              <a:gd name="connsiteX57" fmla="*/ 4218791 w 8636594"/>
              <a:gd name="connsiteY57" fmla="*/ 5757591 h 6687210"/>
              <a:gd name="connsiteX58" fmla="*/ 4254129 w 8636594"/>
              <a:gd name="connsiteY58" fmla="*/ 5730912 h 6687210"/>
              <a:gd name="connsiteX59" fmla="*/ 4289081 w 8636594"/>
              <a:gd name="connsiteY59" fmla="*/ 5703955 h 6687210"/>
              <a:gd name="connsiteX60" fmla="*/ 4323654 w 8636594"/>
              <a:gd name="connsiteY60" fmla="*/ 5676722 h 6687210"/>
              <a:gd name="connsiteX61" fmla="*/ 4357854 w 8636594"/>
              <a:gd name="connsiteY61" fmla="*/ 5649218 h 6687210"/>
              <a:gd name="connsiteX62" fmla="*/ 4391688 w 8636594"/>
              <a:gd name="connsiteY62" fmla="*/ 5621446 h 6687210"/>
              <a:gd name="connsiteX63" fmla="*/ 4425162 w 8636594"/>
              <a:gd name="connsiteY63" fmla="*/ 5593409 h 6687210"/>
              <a:gd name="connsiteX64" fmla="*/ 4458281 w 8636594"/>
              <a:gd name="connsiteY64" fmla="*/ 5565111 h 6687210"/>
              <a:gd name="connsiteX65" fmla="*/ 4491053 w 8636594"/>
              <a:gd name="connsiteY65" fmla="*/ 5536556 h 6687210"/>
              <a:gd name="connsiteX66" fmla="*/ 4523484 w 8636594"/>
              <a:gd name="connsiteY66" fmla="*/ 5507747 h 6687210"/>
              <a:gd name="connsiteX67" fmla="*/ 4555580 w 8636594"/>
              <a:gd name="connsiteY67" fmla="*/ 5478687 h 6687210"/>
              <a:gd name="connsiteX68" fmla="*/ 4587347 w 8636594"/>
              <a:gd name="connsiteY68" fmla="*/ 5449380 h 6687210"/>
              <a:gd name="connsiteX69" fmla="*/ 4618793 w 8636594"/>
              <a:gd name="connsiteY69" fmla="*/ 5419830 h 6687210"/>
              <a:gd name="connsiteX70" fmla="*/ 4649922 w 8636594"/>
              <a:gd name="connsiteY70" fmla="*/ 5390040 h 6687210"/>
              <a:gd name="connsiteX71" fmla="*/ 4680742 w 8636594"/>
              <a:gd name="connsiteY71" fmla="*/ 5360014 h 6687210"/>
              <a:gd name="connsiteX72" fmla="*/ 4711259 w 8636594"/>
              <a:gd name="connsiteY72" fmla="*/ 5329755 h 6687210"/>
              <a:gd name="connsiteX73" fmla="*/ 4741478 w 8636594"/>
              <a:gd name="connsiteY73" fmla="*/ 5299266 h 6687210"/>
              <a:gd name="connsiteX74" fmla="*/ 4771408 w 8636594"/>
              <a:gd name="connsiteY74" fmla="*/ 5268551 h 6687210"/>
              <a:gd name="connsiteX75" fmla="*/ 4801053 w 8636594"/>
              <a:gd name="connsiteY75" fmla="*/ 5237614 h 6687210"/>
              <a:gd name="connsiteX76" fmla="*/ 4830420 w 8636594"/>
              <a:gd name="connsiteY76" fmla="*/ 5206458 h 6687210"/>
              <a:gd name="connsiteX77" fmla="*/ 4859516 w 8636594"/>
              <a:gd name="connsiteY77" fmla="*/ 5175087 h 6687210"/>
              <a:gd name="connsiteX78" fmla="*/ 4888347 w 8636594"/>
              <a:gd name="connsiteY78" fmla="*/ 5143504 h 6687210"/>
              <a:gd name="connsiteX79" fmla="*/ 4916919 w 8636594"/>
              <a:gd name="connsiteY79" fmla="*/ 5111713 h 6687210"/>
              <a:gd name="connsiteX80" fmla="*/ 4945238 w 8636594"/>
              <a:gd name="connsiteY80" fmla="*/ 5079717 h 6687210"/>
              <a:gd name="connsiteX81" fmla="*/ 4973311 w 8636594"/>
              <a:gd name="connsiteY81" fmla="*/ 5047519 h 6687210"/>
              <a:gd name="connsiteX82" fmla="*/ 5001145 w 8636594"/>
              <a:gd name="connsiteY82" fmla="*/ 5015124 h 6687210"/>
              <a:gd name="connsiteX83" fmla="*/ 5028745 w 8636594"/>
              <a:gd name="connsiteY83" fmla="*/ 4982535 h 6687210"/>
              <a:gd name="connsiteX84" fmla="*/ 5056117 w 8636594"/>
              <a:gd name="connsiteY84" fmla="*/ 4949755 h 6687210"/>
              <a:gd name="connsiteX85" fmla="*/ 5083269 w 8636594"/>
              <a:gd name="connsiteY85" fmla="*/ 4916787 h 6687210"/>
              <a:gd name="connsiteX86" fmla="*/ 5110207 w 8636594"/>
              <a:gd name="connsiteY86" fmla="*/ 4883636 h 6687210"/>
              <a:gd name="connsiteX87" fmla="*/ 5136937 w 8636594"/>
              <a:gd name="connsiteY87" fmla="*/ 4850305 h 6687210"/>
              <a:gd name="connsiteX88" fmla="*/ 5163464 w 8636594"/>
              <a:gd name="connsiteY88" fmla="*/ 4816797 h 6687210"/>
              <a:gd name="connsiteX89" fmla="*/ 5215940 w 8636594"/>
              <a:gd name="connsiteY89" fmla="*/ 4749265 h 6687210"/>
              <a:gd name="connsiteX90" fmla="*/ 5267684 w 8636594"/>
              <a:gd name="connsiteY90" fmla="*/ 4681068 h 6687210"/>
              <a:gd name="connsiteX91" fmla="*/ 5318748 w 8636594"/>
              <a:gd name="connsiteY91" fmla="*/ 4612234 h 6687210"/>
              <a:gd name="connsiteX92" fmla="*/ 5369182 w 8636594"/>
              <a:gd name="connsiteY92" fmla="*/ 4542793 h 6687210"/>
              <a:gd name="connsiteX93" fmla="*/ 5419038 w 8636594"/>
              <a:gd name="connsiteY93" fmla="*/ 4472771 h 6687210"/>
              <a:gd name="connsiteX94" fmla="*/ 5468365 w 8636594"/>
              <a:gd name="connsiteY94" fmla="*/ 4402196 h 6687210"/>
              <a:gd name="connsiteX95" fmla="*/ 5517215 w 8636594"/>
              <a:gd name="connsiteY95" fmla="*/ 4331098 h 6687210"/>
              <a:gd name="connsiteX96" fmla="*/ 5565637 w 8636594"/>
              <a:gd name="connsiteY96" fmla="*/ 4259503 h 6687210"/>
              <a:gd name="connsiteX97" fmla="*/ 5613684 w 8636594"/>
              <a:gd name="connsiteY97" fmla="*/ 4187441 h 6687210"/>
              <a:gd name="connsiteX98" fmla="*/ 5685160 w 8636594"/>
              <a:gd name="connsiteY98" fmla="*/ 4078531 h 6687210"/>
              <a:gd name="connsiteX99" fmla="*/ 5756074 w 8636594"/>
              <a:gd name="connsiteY99" fmla="*/ 3968727 h 6687210"/>
              <a:gd name="connsiteX100" fmla="*/ 5873483 w 8636594"/>
              <a:gd name="connsiteY100" fmla="*/ 3783989 h 6687210"/>
              <a:gd name="connsiteX101" fmla="*/ 6203209 w 8636594"/>
              <a:gd name="connsiteY101" fmla="*/ 3258640 h 6687210"/>
              <a:gd name="connsiteX102" fmla="*/ 6299430 w 8636594"/>
              <a:gd name="connsiteY102" fmla="*/ 3107321 h 6687210"/>
              <a:gd name="connsiteX103" fmla="*/ 6372650 w 8636594"/>
              <a:gd name="connsiteY103" fmla="*/ 2993735 h 6687210"/>
              <a:gd name="connsiteX104" fmla="*/ 6453197 w 8636594"/>
              <a:gd name="connsiteY104" fmla="*/ 2869788 h 6687210"/>
              <a:gd name="connsiteX105" fmla="*/ 6564167 w 8636594"/>
              <a:gd name="connsiteY105" fmla="*/ 2696807 h 6687210"/>
              <a:gd name="connsiteX106" fmla="*/ 6976233 w 8636594"/>
              <a:gd name="connsiteY106" fmla="*/ 2045274 h 6687210"/>
              <a:gd name="connsiteX107" fmla="*/ 7086755 w 8636594"/>
              <a:gd name="connsiteY107" fmla="*/ 1872743 h 6687210"/>
              <a:gd name="connsiteX108" fmla="*/ 7170279 w 8636594"/>
              <a:gd name="connsiteY108" fmla="*/ 1744202 h 6687210"/>
              <a:gd name="connsiteX109" fmla="*/ 7226351 w 8636594"/>
              <a:gd name="connsiteY109" fmla="*/ 1659017 h 6687210"/>
              <a:gd name="connsiteX110" fmla="*/ 7282789 w 8636594"/>
              <a:gd name="connsiteY110" fmla="*/ 1574303 h 6687210"/>
              <a:gd name="connsiteX111" fmla="*/ 7339643 w 8636594"/>
              <a:gd name="connsiteY111" fmla="*/ 1490113 h 6687210"/>
              <a:gd name="connsiteX112" fmla="*/ 7396957 w 8636594"/>
              <a:gd name="connsiteY112" fmla="*/ 1406503 h 6687210"/>
              <a:gd name="connsiteX113" fmla="*/ 7454781 w 8636594"/>
              <a:gd name="connsiteY113" fmla="*/ 1323526 h 6687210"/>
              <a:gd name="connsiteX114" fmla="*/ 7513161 w 8636594"/>
              <a:gd name="connsiteY114" fmla="*/ 1241237 h 6687210"/>
              <a:gd name="connsiteX115" fmla="*/ 7572144 w 8636594"/>
              <a:gd name="connsiteY115" fmla="*/ 1159689 h 6687210"/>
              <a:gd name="connsiteX116" fmla="*/ 7601877 w 8636594"/>
              <a:gd name="connsiteY116" fmla="*/ 1119210 h 6687210"/>
              <a:gd name="connsiteX117" fmla="*/ 7631779 w 8636594"/>
              <a:gd name="connsiteY117" fmla="*/ 1078937 h 6687210"/>
              <a:gd name="connsiteX118" fmla="*/ 7661855 w 8636594"/>
              <a:gd name="connsiteY118" fmla="*/ 1038876 h 6687210"/>
              <a:gd name="connsiteX119" fmla="*/ 7692111 w 8636594"/>
              <a:gd name="connsiteY119" fmla="*/ 999035 h 6687210"/>
              <a:gd name="connsiteX120" fmla="*/ 7722554 w 8636594"/>
              <a:gd name="connsiteY120" fmla="*/ 959419 h 6687210"/>
              <a:gd name="connsiteX121" fmla="*/ 7753190 w 8636594"/>
              <a:gd name="connsiteY121" fmla="*/ 920037 h 6687210"/>
              <a:gd name="connsiteX122" fmla="*/ 7784023 w 8636594"/>
              <a:gd name="connsiteY122" fmla="*/ 880894 h 6687210"/>
              <a:gd name="connsiteX123" fmla="*/ 7815061 w 8636594"/>
              <a:gd name="connsiteY123" fmla="*/ 841997 h 6687210"/>
              <a:gd name="connsiteX124" fmla="*/ 7846308 w 8636594"/>
              <a:gd name="connsiteY124" fmla="*/ 803354 h 6687210"/>
              <a:gd name="connsiteX125" fmla="*/ 7877772 w 8636594"/>
              <a:gd name="connsiteY125" fmla="*/ 764970 h 6687210"/>
              <a:gd name="connsiteX126" fmla="*/ 7909458 w 8636594"/>
              <a:gd name="connsiteY126" fmla="*/ 726853 h 6687210"/>
              <a:gd name="connsiteX127" fmla="*/ 7941371 w 8636594"/>
              <a:gd name="connsiteY127" fmla="*/ 689010 h 6687210"/>
              <a:gd name="connsiteX128" fmla="*/ 7973518 w 8636594"/>
              <a:gd name="connsiteY128" fmla="*/ 651447 h 6687210"/>
              <a:gd name="connsiteX129" fmla="*/ 8005905 w 8636594"/>
              <a:gd name="connsiteY129" fmla="*/ 614171 h 6687210"/>
              <a:gd name="connsiteX130" fmla="*/ 8038538 w 8636594"/>
              <a:gd name="connsiteY130" fmla="*/ 577189 h 6687210"/>
              <a:gd name="connsiteX131" fmla="*/ 8071421 w 8636594"/>
              <a:gd name="connsiteY131" fmla="*/ 540507 h 6687210"/>
              <a:gd name="connsiteX132" fmla="*/ 8104563 w 8636594"/>
              <a:gd name="connsiteY132" fmla="*/ 504132 h 6687210"/>
              <a:gd name="connsiteX133" fmla="*/ 8137967 w 8636594"/>
              <a:gd name="connsiteY133" fmla="*/ 468072 h 6687210"/>
              <a:gd name="connsiteX134" fmla="*/ 8171641 w 8636594"/>
              <a:gd name="connsiteY134" fmla="*/ 432332 h 6687210"/>
              <a:gd name="connsiteX135" fmla="*/ 8205590 w 8636594"/>
              <a:gd name="connsiteY135" fmla="*/ 396920 h 6687210"/>
              <a:gd name="connsiteX136" fmla="*/ 8239820 w 8636594"/>
              <a:gd name="connsiteY136" fmla="*/ 361843 h 6687210"/>
              <a:gd name="connsiteX137" fmla="*/ 8274337 w 8636594"/>
              <a:gd name="connsiteY137" fmla="*/ 327107 h 6687210"/>
              <a:gd name="connsiteX138" fmla="*/ 8309147 w 8636594"/>
              <a:gd name="connsiteY138" fmla="*/ 292718 h 6687210"/>
              <a:gd name="connsiteX139" fmla="*/ 8344256 w 8636594"/>
              <a:gd name="connsiteY139" fmla="*/ 258685 h 6687210"/>
              <a:gd name="connsiteX140" fmla="*/ 8379669 w 8636594"/>
              <a:gd name="connsiteY140" fmla="*/ 225013 h 6687210"/>
              <a:gd name="connsiteX141" fmla="*/ 8415394 w 8636594"/>
              <a:gd name="connsiteY141" fmla="*/ 191709 h 6687210"/>
              <a:gd name="connsiteX142" fmla="*/ 8451434 w 8636594"/>
              <a:gd name="connsiteY142" fmla="*/ 158780 h 6687210"/>
              <a:gd name="connsiteX143" fmla="*/ 8487798 w 8636594"/>
              <a:gd name="connsiteY143" fmla="*/ 126233 h 6687210"/>
              <a:gd name="connsiteX144" fmla="*/ 8524489 w 8636594"/>
              <a:gd name="connsiteY144" fmla="*/ 94075 h 6687210"/>
              <a:gd name="connsiteX145" fmla="*/ 8561515 w 8636594"/>
              <a:gd name="connsiteY145" fmla="*/ 62312 h 6687210"/>
              <a:gd name="connsiteX146" fmla="*/ 8598881 w 8636594"/>
              <a:gd name="connsiteY146" fmla="*/ 30951 h 6687210"/>
              <a:gd name="connsiteX147" fmla="*/ 8636594 w 8636594"/>
              <a:gd name="connsiteY147" fmla="*/ 0 h 6687210"/>
              <a:gd name="connsiteX0" fmla="*/ 8636594 w 8636594"/>
              <a:gd name="connsiteY0" fmla="*/ 0 h 6680790"/>
              <a:gd name="connsiteX1" fmla="*/ 5293 w 8636594"/>
              <a:gd name="connsiteY1" fmla="*/ 0 h 6680790"/>
              <a:gd name="connsiteX2" fmla="*/ 0 w 8636594"/>
              <a:gd name="connsiteY2" fmla="*/ 5587843 h 6680790"/>
              <a:gd name="connsiteX3" fmla="*/ 1594033 w 8636594"/>
              <a:gd name="connsiteY3" fmla="*/ 5600057 h 6680790"/>
              <a:gd name="connsiteX4" fmla="*/ 1627845 w 8636594"/>
              <a:gd name="connsiteY4" fmla="*/ 6680790 h 6680790"/>
              <a:gd name="connsiteX5" fmla="*/ 1692688 w 8636594"/>
              <a:gd name="connsiteY5" fmla="*/ 6673902 h 6680790"/>
              <a:gd name="connsiteX6" fmla="*/ 1756810 w 8636594"/>
              <a:gd name="connsiteY6" fmla="*/ 6666549 h 6680790"/>
              <a:gd name="connsiteX7" fmla="*/ 1820216 w 8636594"/>
              <a:gd name="connsiteY7" fmla="*/ 6658735 h 6680790"/>
              <a:gd name="connsiteX8" fmla="*/ 1882914 w 8636594"/>
              <a:gd name="connsiteY8" fmla="*/ 6650463 h 6680790"/>
              <a:gd name="connsiteX9" fmla="*/ 1944909 w 8636594"/>
              <a:gd name="connsiteY9" fmla="*/ 6641737 h 6680790"/>
              <a:gd name="connsiteX10" fmla="*/ 2006208 w 8636594"/>
              <a:gd name="connsiteY10" fmla="*/ 6632561 h 6680790"/>
              <a:gd name="connsiteX11" fmla="*/ 2066817 w 8636594"/>
              <a:gd name="connsiteY11" fmla="*/ 6622937 h 6680790"/>
              <a:gd name="connsiteX12" fmla="*/ 2126742 w 8636594"/>
              <a:gd name="connsiteY12" fmla="*/ 6612869 h 6680790"/>
              <a:gd name="connsiteX13" fmla="*/ 2185991 w 8636594"/>
              <a:gd name="connsiteY13" fmla="*/ 6602362 h 6680790"/>
              <a:gd name="connsiteX14" fmla="*/ 2244569 w 8636594"/>
              <a:gd name="connsiteY14" fmla="*/ 6591417 h 6680790"/>
              <a:gd name="connsiteX15" fmla="*/ 2302482 w 8636594"/>
              <a:gd name="connsiteY15" fmla="*/ 6580040 h 6680790"/>
              <a:gd name="connsiteX16" fmla="*/ 2359737 w 8636594"/>
              <a:gd name="connsiteY16" fmla="*/ 6568233 h 6680790"/>
              <a:gd name="connsiteX17" fmla="*/ 2416341 w 8636594"/>
              <a:gd name="connsiteY17" fmla="*/ 6555999 h 6680790"/>
              <a:gd name="connsiteX18" fmla="*/ 2472299 w 8636594"/>
              <a:gd name="connsiteY18" fmla="*/ 6543344 h 6680790"/>
              <a:gd name="connsiteX19" fmla="*/ 2527618 w 8636594"/>
              <a:gd name="connsiteY19" fmla="*/ 6530269 h 6680790"/>
              <a:gd name="connsiteX20" fmla="*/ 2582304 w 8636594"/>
              <a:gd name="connsiteY20" fmla="*/ 6516778 h 6680790"/>
              <a:gd name="connsiteX21" fmla="*/ 2636364 w 8636594"/>
              <a:gd name="connsiteY21" fmla="*/ 6502876 h 6680790"/>
              <a:gd name="connsiteX22" fmla="*/ 2689804 w 8636594"/>
              <a:gd name="connsiteY22" fmla="*/ 6488565 h 6680790"/>
              <a:gd name="connsiteX23" fmla="*/ 2742629 w 8636594"/>
              <a:gd name="connsiteY23" fmla="*/ 6473849 h 6680790"/>
              <a:gd name="connsiteX24" fmla="*/ 2794848 w 8636594"/>
              <a:gd name="connsiteY24" fmla="*/ 6458731 h 6680790"/>
              <a:gd name="connsiteX25" fmla="*/ 2846466 w 8636594"/>
              <a:gd name="connsiteY25" fmla="*/ 6443216 h 6680790"/>
              <a:gd name="connsiteX26" fmla="*/ 2897488 w 8636594"/>
              <a:gd name="connsiteY26" fmla="*/ 6427305 h 6680790"/>
              <a:gd name="connsiteX27" fmla="*/ 2947923 w 8636594"/>
              <a:gd name="connsiteY27" fmla="*/ 6411004 h 6680790"/>
              <a:gd name="connsiteX28" fmla="*/ 2997775 w 8636594"/>
              <a:gd name="connsiteY28" fmla="*/ 6394316 h 6680790"/>
              <a:gd name="connsiteX29" fmla="*/ 3047052 w 8636594"/>
              <a:gd name="connsiteY29" fmla="*/ 6377243 h 6680790"/>
              <a:gd name="connsiteX30" fmla="*/ 3095759 w 8636594"/>
              <a:gd name="connsiteY30" fmla="*/ 6359791 h 6680790"/>
              <a:gd name="connsiteX31" fmla="*/ 3143903 w 8636594"/>
              <a:gd name="connsiteY31" fmla="*/ 6341961 h 6680790"/>
              <a:gd name="connsiteX32" fmla="*/ 3191491 w 8636594"/>
              <a:gd name="connsiteY32" fmla="*/ 6323757 h 6680790"/>
              <a:gd name="connsiteX33" fmla="*/ 3238528 w 8636594"/>
              <a:gd name="connsiteY33" fmla="*/ 6305184 h 6680790"/>
              <a:gd name="connsiteX34" fmla="*/ 3285021 w 8636594"/>
              <a:gd name="connsiteY34" fmla="*/ 6286245 h 6680790"/>
              <a:gd name="connsiteX35" fmla="*/ 3330977 w 8636594"/>
              <a:gd name="connsiteY35" fmla="*/ 6266942 h 6680790"/>
              <a:gd name="connsiteX36" fmla="*/ 3376401 w 8636594"/>
              <a:gd name="connsiteY36" fmla="*/ 6247281 h 6680790"/>
              <a:gd name="connsiteX37" fmla="*/ 3421300 w 8636594"/>
              <a:gd name="connsiteY37" fmla="*/ 6227263 h 6680790"/>
              <a:gd name="connsiteX38" fmla="*/ 3465680 w 8636594"/>
              <a:gd name="connsiteY38" fmla="*/ 6206893 h 6680790"/>
              <a:gd name="connsiteX39" fmla="*/ 3509548 w 8636594"/>
              <a:gd name="connsiteY39" fmla="*/ 6186174 h 6680790"/>
              <a:gd name="connsiteX40" fmla="*/ 3552910 w 8636594"/>
              <a:gd name="connsiteY40" fmla="*/ 6165110 h 6680790"/>
              <a:gd name="connsiteX41" fmla="*/ 3595773 w 8636594"/>
              <a:gd name="connsiteY41" fmla="*/ 6143704 h 6680790"/>
              <a:gd name="connsiteX42" fmla="*/ 3638142 w 8636594"/>
              <a:gd name="connsiteY42" fmla="*/ 6121960 h 6680790"/>
              <a:gd name="connsiteX43" fmla="*/ 3680024 w 8636594"/>
              <a:gd name="connsiteY43" fmla="*/ 6099881 h 6680790"/>
              <a:gd name="connsiteX44" fmla="*/ 3721426 w 8636594"/>
              <a:gd name="connsiteY44" fmla="*/ 6077471 h 6680790"/>
              <a:gd name="connsiteX45" fmla="*/ 3762353 w 8636594"/>
              <a:gd name="connsiteY45" fmla="*/ 6054733 h 6680790"/>
              <a:gd name="connsiteX46" fmla="*/ 3802812 w 8636594"/>
              <a:gd name="connsiteY46" fmla="*/ 6031671 h 6680790"/>
              <a:gd name="connsiteX47" fmla="*/ 3842810 w 8636594"/>
              <a:gd name="connsiteY47" fmla="*/ 6008288 h 6680790"/>
              <a:gd name="connsiteX48" fmla="*/ 3882352 w 8636594"/>
              <a:gd name="connsiteY48" fmla="*/ 5984588 h 6680790"/>
              <a:gd name="connsiteX49" fmla="*/ 3921445 w 8636594"/>
              <a:gd name="connsiteY49" fmla="*/ 5960574 h 6680790"/>
              <a:gd name="connsiteX50" fmla="*/ 3960096 w 8636594"/>
              <a:gd name="connsiteY50" fmla="*/ 5936250 h 6680790"/>
              <a:gd name="connsiteX51" fmla="*/ 3998311 w 8636594"/>
              <a:gd name="connsiteY51" fmla="*/ 5911619 h 6680790"/>
              <a:gd name="connsiteX52" fmla="*/ 4036095 w 8636594"/>
              <a:gd name="connsiteY52" fmla="*/ 5886685 h 6680790"/>
              <a:gd name="connsiteX53" fmla="*/ 4073456 w 8636594"/>
              <a:gd name="connsiteY53" fmla="*/ 5861452 h 6680790"/>
              <a:gd name="connsiteX54" fmla="*/ 4110400 w 8636594"/>
              <a:gd name="connsiteY54" fmla="*/ 5835922 h 6680790"/>
              <a:gd name="connsiteX55" fmla="*/ 4146933 w 8636594"/>
              <a:gd name="connsiteY55" fmla="*/ 5810100 h 6680790"/>
              <a:gd name="connsiteX56" fmla="*/ 4183061 w 8636594"/>
              <a:gd name="connsiteY56" fmla="*/ 5783988 h 6680790"/>
              <a:gd name="connsiteX57" fmla="*/ 4218791 w 8636594"/>
              <a:gd name="connsiteY57" fmla="*/ 5757591 h 6680790"/>
              <a:gd name="connsiteX58" fmla="*/ 4254129 w 8636594"/>
              <a:gd name="connsiteY58" fmla="*/ 5730912 h 6680790"/>
              <a:gd name="connsiteX59" fmla="*/ 4289081 w 8636594"/>
              <a:gd name="connsiteY59" fmla="*/ 5703955 h 6680790"/>
              <a:gd name="connsiteX60" fmla="*/ 4323654 w 8636594"/>
              <a:gd name="connsiteY60" fmla="*/ 5676722 h 6680790"/>
              <a:gd name="connsiteX61" fmla="*/ 4357854 w 8636594"/>
              <a:gd name="connsiteY61" fmla="*/ 5649218 h 6680790"/>
              <a:gd name="connsiteX62" fmla="*/ 4391688 w 8636594"/>
              <a:gd name="connsiteY62" fmla="*/ 5621446 h 6680790"/>
              <a:gd name="connsiteX63" fmla="*/ 4425162 w 8636594"/>
              <a:gd name="connsiteY63" fmla="*/ 5593409 h 6680790"/>
              <a:gd name="connsiteX64" fmla="*/ 4458281 w 8636594"/>
              <a:gd name="connsiteY64" fmla="*/ 5565111 h 6680790"/>
              <a:gd name="connsiteX65" fmla="*/ 4491053 w 8636594"/>
              <a:gd name="connsiteY65" fmla="*/ 5536556 h 6680790"/>
              <a:gd name="connsiteX66" fmla="*/ 4523484 w 8636594"/>
              <a:gd name="connsiteY66" fmla="*/ 5507747 h 6680790"/>
              <a:gd name="connsiteX67" fmla="*/ 4555580 w 8636594"/>
              <a:gd name="connsiteY67" fmla="*/ 5478687 h 6680790"/>
              <a:gd name="connsiteX68" fmla="*/ 4587347 w 8636594"/>
              <a:gd name="connsiteY68" fmla="*/ 5449380 h 6680790"/>
              <a:gd name="connsiteX69" fmla="*/ 4618793 w 8636594"/>
              <a:gd name="connsiteY69" fmla="*/ 5419830 h 6680790"/>
              <a:gd name="connsiteX70" fmla="*/ 4649922 w 8636594"/>
              <a:gd name="connsiteY70" fmla="*/ 5390040 h 6680790"/>
              <a:gd name="connsiteX71" fmla="*/ 4680742 w 8636594"/>
              <a:gd name="connsiteY71" fmla="*/ 5360014 h 6680790"/>
              <a:gd name="connsiteX72" fmla="*/ 4711259 w 8636594"/>
              <a:gd name="connsiteY72" fmla="*/ 5329755 h 6680790"/>
              <a:gd name="connsiteX73" fmla="*/ 4741478 w 8636594"/>
              <a:gd name="connsiteY73" fmla="*/ 5299266 h 6680790"/>
              <a:gd name="connsiteX74" fmla="*/ 4771408 w 8636594"/>
              <a:gd name="connsiteY74" fmla="*/ 5268551 h 6680790"/>
              <a:gd name="connsiteX75" fmla="*/ 4801053 w 8636594"/>
              <a:gd name="connsiteY75" fmla="*/ 5237614 h 6680790"/>
              <a:gd name="connsiteX76" fmla="*/ 4830420 w 8636594"/>
              <a:gd name="connsiteY76" fmla="*/ 5206458 h 6680790"/>
              <a:gd name="connsiteX77" fmla="*/ 4859516 w 8636594"/>
              <a:gd name="connsiteY77" fmla="*/ 5175087 h 6680790"/>
              <a:gd name="connsiteX78" fmla="*/ 4888347 w 8636594"/>
              <a:gd name="connsiteY78" fmla="*/ 5143504 h 6680790"/>
              <a:gd name="connsiteX79" fmla="*/ 4916919 w 8636594"/>
              <a:gd name="connsiteY79" fmla="*/ 5111713 h 6680790"/>
              <a:gd name="connsiteX80" fmla="*/ 4945238 w 8636594"/>
              <a:gd name="connsiteY80" fmla="*/ 5079717 h 6680790"/>
              <a:gd name="connsiteX81" fmla="*/ 4973311 w 8636594"/>
              <a:gd name="connsiteY81" fmla="*/ 5047519 h 6680790"/>
              <a:gd name="connsiteX82" fmla="*/ 5001145 w 8636594"/>
              <a:gd name="connsiteY82" fmla="*/ 5015124 h 6680790"/>
              <a:gd name="connsiteX83" fmla="*/ 5028745 w 8636594"/>
              <a:gd name="connsiteY83" fmla="*/ 4982535 h 6680790"/>
              <a:gd name="connsiteX84" fmla="*/ 5056117 w 8636594"/>
              <a:gd name="connsiteY84" fmla="*/ 4949755 h 6680790"/>
              <a:gd name="connsiteX85" fmla="*/ 5083269 w 8636594"/>
              <a:gd name="connsiteY85" fmla="*/ 4916787 h 6680790"/>
              <a:gd name="connsiteX86" fmla="*/ 5110207 w 8636594"/>
              <a:gd name="connsiteY86" fmla="*/ 4883636 h 6680790"/>
              <a:gd name="connsiteX87" fmla="*/ 5136937 w 8636594"/>
              <a:gd name="connsiteY87" fmla="*/ 4850305 h 6680790"/>
              <a:gd name="connsiteX88" fmla="*/ 5163464 w 8636594"/>
              <a:gd name="connsiteY88" fmla="*/ 4816797 h 6680790"/>
              <a:gd name="connsiteX89" fmla="*/ 5215940 w 8636594"/>
              <a:gd name="connsiteY89" fmla="*/ 4749265 h 6680790"/>
              <a:gd name="connsiteX90" fmla="*/ 5267684 w 8636594"/>
              <a:gd name="connsiteY90" fmla="*/ 4681068 h 6680790"/>
              <a:gd name="connsiteX91" fmla="*/ 5318748 w 8636594"/>
              <a:gd name="connsiteY91" fmla="*/ 4612234 h 6680790"/>
              <a:gd name="connsiteX92" fmla="*/ 5369182 w 8636594"/>
              <a:gd name="connsiteY92" fmla="*/ 4542793 h 6680790"/>
              <a:gd name="connsiteX93" fmla="*/ 5419038 w 8636594"/>
              <a:gd name="connsiteY93" fmla="*/ 4472771 h 6680790"/>
              <a:gd name="connsiteX94" fmla="*/ 5468365 w 8636594"/>
              <a:gd name="connsiteY94" fmla="*/ 4402196 h 6680790"/>
              <a:gd name="connsiteX95" fmla="*/ 5517215 w 8636594"/>
              <a:gd name="connsiteY95" fmla="*/ 4331098 h 6680790"/>
              <a:gd name="connsiteX96" fmla="*/ 5565637 w 8636594"/>
              <a:gd name="connsiteY96" fmla="*/ 4259503 h 6680790"/>
              <a:gd name="connsiteX97" fmla="*/ 5613684 w 8636594"/>
              <a:gd name="connsiteY97" fmla="*/ 4187441 h 6680790"/>
              <a:gd name="connsiteX98" fmla="*/ 5685160 w 8636594"/>
              <a:gd name="connsiteY98" fmla="*/ 4078531 h 6680790"/>
              <a:gd name="connsiteX99" fmla="*/ 5756074 w 8636594"/>
              <a:gd name="connsiteY99" fmla="*/ 3968727 h 6680790"/>
              <a:gd name="connsiteX100" fmla="*/ 5873483 w 8636594"/>
              <a:gd name="connsiteY100" fmla="*/ 3783989 h 6680790"/>
              <a:gd name="connsiteX101" fmla="*/ 6203209 w 8636594"/>
              <a:gd name="connsiteY101" fmla="*/ 3258640 h 6680790"/>
              <a:gd name="connsiteX102" fmla="*/ 6299430 w 8636594"/>
              <a:gd name="connsiteY102" fmla="*/ 3107321 h 6680790"/>
              <a:gd name="connsiteX103" fmla="*/ 6372650 w 8636594"/>
              <a:gd name="connsiteY103" fmla="*/ 2993735 h 6680790"/>
              <a:gd name="connsiteX104" fmla="*/ 6453197 w 8636594"/>
              <a:gd name="connsiteY104" fmla="*/ 2869788 h 6680790"/>
              <a:gd name="connsiteX105" fmla="*/ 6564167 w 8636594"/>
              <a:gd name="connsiteY105" fmla="*/ 2696807 h 6680790"/>
              <a:gd name="connsiteX106" fmla="*/ 6976233 w 8636594"/>
              <a:gd name="connsiteY106" fmla="*/ 2045274 h 6680790"/>
              <a:gd name="connsiteX107" fmla="*/ 7086755 w 8636594"/>
              <a:gd name="connsiteY107" fmla="*/ 1872743 h 6680790"/>
              <a:gd name="connsiteX108" fmla="*/ 7170279 w 8636594"/>
              <a:gd name="connsiteY108" fmla="*/ 1744202 h 6680790"/>
              <a:gd name="connsiteX109" fmla="*/ 7226351 w 8636594"/>
              <a:gd name="connsiteY109" fmla="*/ 1659017 h 6680790"/>
              <a:gd name="connsiteX110" fmla="*/ 7282789 w 8636594"/>
              <a:gd name="connsiteY110" fmla="*/ 1574303 h 6680790"/>
              <a:gd name="connsiteX111" fmla="*/ 7339643 w 8636594"/>
              <a:gd name="connsiteY111" fmla="*/ 1490113 h 6680790"/>
              <a:gd name="connsiteX112" fmla="*/ 7396957 w 8636594"/>
              <a:gd name="connsiteY112" fmla="*/ 1406503 h 6680790"/>
              <a:gd name="connsiteX113" fmla="*/ 7454781 w 8636594"/>
              <a:gd name="connsiteY113" fmla="*/ 1323526 h 6680790"/>
              <a:gd name="connsiteX114" fmla="*/ 7513161 w 8636594"/>
              <a:gd name="connsiteY114" fmla="*/ 1241237 h 6680790"/>
              <a:gd name="connsiteX115" fmla="*/ 7572144 w 8636594"/>
              <a:gd name="connsiteY115" fmla="*/ 1159689 h 6680790"/>
              <a:gd name="connsiteX116" fmla="*/ 7601877 w 8636594"/>
              <a:gd name="connsiteY116" fmla="*/ 1119210 h 6680790"/>
              <a:gd name="connsiteX117" fmla="*/ 7631779 w 8636594"/>
              <a:gd name="connsiteY117" fmla="*/ 1078937 h 6680790"/>
              <a:gd name="connsiteX118" fmla="*/ 7661855 w 8636594"/>
              <a:gd name="connsiteY118" fmla="*/ 1038876 h 6680790"/>
              <a:gd name="connsiteX119" fmla="*/ 7692111 w 8636594"/>
              <a:gd name="connsiteY119" fmla="*/ 999035 h 6680790"/>
              <a:gd name="connsiteX120" fmla="*/ 7722554 w 8636594"/>
              <a:gd name="connsiteY120" fmla="*/ 959419 h 6680790"/>
              <a:gd name="connsiteX121" fmla="*/ 7753190 w 8636594"/>
              <a:gd name="connsiteY121" fmla="*/ 920037 h 6680790"/>
              <a:gd name="connsiteX122" fmla="*/ 7784023 w 8636594"/>
              <a:gd name="connsiteY122" fmla="*/ 880894 h 6680790"/>
              <a:gd name="connsiteX123" fmla="*/ 7815061 w 8636594"/>
              <a:gd name="connsiteY123" fmla="*/ 841997 h 6680790"/>
              <a:gd name="connsiteX124" fmla="*/ 7846308 w 8636594"/>
              <a:gd name="connsiteY124" fmla="*/ 803354 h 6680790"/>
              <a:gd name="connsiteX125" fmla="*/ 7877772 w 8636594"/>
              <a:gd name="connsiteY125" fmla="*/ 764970 h 6680790"/>
              <a:gd name="connsiteX126" fmla="*/ 7909458 w 8636594"/>
              <a:gd name="connsiteY126" fmla="*/ 726853 h 6680790"/>
              <a:gd name="connsiteX127" fmla="*/ 7941371 w 8636594"/>
              <a:gd name="connsiteY127" fmla="*/ 689010 h 6680790"/>
              <a:gd name="connsiteX128" fmla="*/ 7973518 w 8636594"/>
              <a:gd name="connsiteY128" fmla="*/ 651447 h 6680790"/>
              <a:gd name="connsiteX129" fmla="*/ 8005905 w 8636594"/>
              <a:gd name="connsiteY129" fmla="*/ 614171 h 6680790"/>
              <a:gd name="connsiteX130" fmla="*/ 8038538 w 8636594"/>
              <a:gd name="connsiteY130" fmla="*/ 577189 h 6680790"/>
              <a:gd name="connsiteX131" fmla="*/ 8071421 w 8636594"/>
              <a:gd name="connsiteY131" fmla="*/ 540507 h 6680790"/>
              <a:gd name="connsiteX132" fmla="*/ 8104563 w 8636594"/>
              <a:gd name="connsiteY132" fmla="*/ 504132 h 6680790"/>
              <a:gd name="connsiteX133" fmla="*/ 8137967 w 8636594"/>
              <a:gd name="connsiteY133" fmla="*/ 468072 h 6680790"/>
              <a:gd name="connsiteX134" fmla="*/ 8171641 w 8636594"/>
              <a:gd name="connsiteY134" fmla="*/ 432332 h 6680790"/>
              <a:gd name="connsiteX135" fmla="*/ 8205590 w 8636594"/>
              <a:gd name="connsiteY135" fmla="*/ 396920 h 6680790"/>
              <a:gd name="connsiteX136" fmla="*/ 8239820 w 8636594"/>
              <a:gd name="connsiteY136" fmla="*/ 361843 h 6680790"/>
              <a:gd name="connsiteX137" fmla="*/ 8274337 w 8636594"/>
              <a:gd name="connsiteY137" fmla="*/ 327107 h 6680790"/>
              <a:gd name="connsiteX138" fmla="*/ 8309147 w 8636594"/>
              <a:gd name="connsiteY138" fmla="*/ 292718 h 6680790"/>
              <a:gd name="connsiteX139" fmla="*/ 8344256 w 8636594"/>
              <a:gd name="connsiteY139" fmla="*/ 258685 h 6680790"/>
              <a:gd name="connsiteX140" fmla="*/ 8379669 w 8636594"/>
              <a:gd name="connsiteY140" fmla="*/ 225013 h 6680790"/>
              <a:gd name="connsiteX141" fmla="*/ 8415394 w 8636594"/>
              <a:gd name="connsiteY141" fmla="*/ 191709 h 6680790"/>
              <a:gd name="connsiteX142" fmla="*/ 8451434 w 8636594"/>
              <a:gd name="connsiteY142" fmla="*/ 158780 h 6680790"/>
              <a:gd name="connsiteX143" fmla="*/ 8487798 w 8636594"/>
              <a:gd name="connsiteY143" fmla="*/ 126233 h 6680790"/>
              <a:gd name="connsiteX144" fmla="*/ 8524489 w 8636594"/>
              <a:gd name="connsiteY144" fmla="*/ 94075 h 6680790"/>
              <a:gd name="connsiteX145" fmla="*/ 8561515 w 8636594"/>
              <a:gd name="connsiteY145" fmla="*/ 62312 h 6680790"/>
              <a:gd name="connsiteX146" fmla="*/ 8598881 w 8636594"/>
              <a:gd name="connsiteY146" fmla="*/ 30951 h 6680790"/>
              <a:gd name="connsiteX147" fmla="*/ 8636594 w 8636594"/>
              <a:gd name="connsiteY147" fmla="*/ 0 h 6680790"/>
              <a:gd name="connsiteX0" fmla="*/ 8636594 w 8636594"/>
              <a:gd name="connsiteY0" fmla="*/ 0 h 6673902"/>
              <a:gd name="connsiteX1" fmla="*/ 5293 w 8636594"/>
              <a:gd name="connsiteY1" fmla="*/ 0 h 6673902"/>
              <a:gd name="connsiteX2" fmla="*/ 0 w 8636594"/>
              <a:gd name="connsiteY2" fmla="*/ 5587843 h 6673902"/>
              <a:gd name="connsiteX3" fmla="*/ 1594033 w 8636594"/>
              <a:gd name="connsiteY3" fmla="*/ 5600057 h 6673902"/>
              <a:gd name="connsiteX4" fmla="*/ 1686068 w 8636594"/>
              <a:gd name="connsiteY4" fmla="*/ 5599745 h 6673902"/>
              <a:gd name="connsiteX5" fmla="*/ 1692688 w 8636594"/>
              <a:gd name="connsiteY5" fmla="*/ 6673902 h 6673902"/>
              <a:gd name="connsiteX6" fmla="*/ 1756810 w 8636594"/>
              <a:gd name="connsiteY6" fmla="*/ 6666549 h 6673902"/>
              <a:gd name="connsiteX7" fmla="*/ 1820216 w 8636594"/>
              <a:gd name="connsiteY7" fmla="*/ 6658735 h 6673902"/>
              <a:gd name="connsiteX8" fmla="*/ 1882914 w 8636594"/>
              <a:gd name="connsiteY8" fmla="*/ 6650463 h 6673902"/>
              <a:gd name="connsiteX9" fmla="*/ 1944909 w 8636594"/>
              <a:gd name="connsiteY9" fmla="*/ 6641737 h 6673902"/>
              <a:gd name="connsiteX10" fmla="*/ 2006208 w 8636594"/>
              <a:gd name="connsiteY10" fmla="*/ 6632561 h 6673902"/>
              <a:gd name="connsiteX11" fmla="*/ 2066817 w 8636594"/>
              <a:gd name="connsiteY11" fmla="*/ 6622937 h 6673902"/>
              <a:gd name="connsiteX12" fmla="*/ 2126742 w 8636594"/>
              <a:gd name="connsiteY12" fmla="*/ 6612869 h 6673902"/>
              <a:gd name="connsiteX13" fmla="*/ 2185991 w 8636594"/>
              <a:gd name="connsiteY13" fmla="*/ 6602362 h 6673902"/>
              <a:gd name="connsiteX14" fmla="*/ 2244569 w 8636594"/>
              <a:gd name="connsiteY14" fmla="*/ 6591417 h 6673902"/>
              <a:gd name="connsiteX15" fmla="*/ 2302482 w 8636594"/>
              <a:gd name="connsiteY15" fmla="*/ 6580040 h 6673902"/>
              <a:gd name="connsiteX16" fmla="*/ 2359737 w 8636594"/>
              <a:gd name="connsiteY16" fmla="*/ 6568233 h 6673902"/>
              <a:gd name="connsiteX17" fmla="*/ 2416341 w 8636594"/>
              <a:gd name="connsiteY17" fmla="*/ 6555999 h 6673902"/>
              <a:gd name="connsiteX18" fmla="*/ 2472299 w 8636594"/>
              <a:gd name="connsiteY18" fmla="*/ 6543344 h 6673902"/>
              <a:gd name="connsiteX19" fmla="*/ 2527618 w 8636594"/>
              <a:gd name="connsiteY19" fmla="*/ 6530269 h 6673902"/>
              <a:gd name="connsiteX20" fmla="*/ 2582304 w 8636594"/>
              <a:gd name="connsiteY20" fmla="*/ 6516778 h 6673902"/>
              <a:gd name="connsiteX21" fmla="*/ 2636364 w 8636594"/>
              <a:gd name="connsiteY21" fmla="*/ 6502876 h 6673902"/>
              <a:gd name="connsiteX22" fmla="*/ 2689804 w 8636594"/>
              <a:gd name="connsiteY22" fmla="*/ 6488565 h 6673902"/>
              <a:gd name="connsiteX23" fmla="*/ 2742629 w 8636594"/>
              <a:gd name="connsiteY23" fmla="*/ 6473849 h 6673902"/>
              <a:gd name="connsiteX24" fmla="*/ 2794848 w 8636594"/>
              <a:gd name="connsiteY24" fmla="*/ 6458731 h 6673902"/>
              <a:gd name="connsiteX25" fmla="*/ 2846466 w 8636594"/>
              <a:gd name="connsiteY25" fmla="*/ 6443216 h 6673902"/>
              <a:gd name="connsiteX26" fmla="*/ 2897488 w 8636594"/>
              <a:gd name="connsiteY26" fmla="*/ 6427305 h 6673902"/>
              <a:gd name="connsiteX27" fmla="*/ 2947923 w 8636594"/>
              <a:gd name="connsiteY27" fmla="*/ 6411004 h 6673902"/>
              <a:gd name="connsiteX28" fmla="*/ 2997775 w 8636594"/>
              <a:gd name="connsiteY28" fmla="*/ 6394316 h 6673902"/>
              <a:gd name="connsiteX29" fmla="*/ 3047052 w 8636594"/>
              <a:gd name="connsiteY29" fmla="*/ 6377243 h 6673902"/>
              <a:gd name="connsiteX30" fmla="*/ 3095759 w 8636594"/>
              <a:gd name="connsiteY30" fmla="*/ 6359791 h 6673902"/>
              <a:gd name="connsiteX31" fmla="*/ 3143903 w 8636594"/>
              <a:gd name="connsiteY31" fmla="*/ 6341961 h 6673902"/>
              <a:gd name="connsiteX32" fmla="*/ 3191491 w 8636594"/>
              <a:gd name="connsiteY32" fmla="*/ 6323757 h 6673902"/>
              <a:gd name="connsiteX33" fmla="*/ 3238528 w 8636594"/>
              <a:gd name="connsiteY33" fmla="*/ 6305184 h 6673902"/>
              <a:gd name="connsiteX34" fmla="*/ 3285021 w 8636594"/>
              <a:gd name="connsiteY34" fmla="*/ 6286245 h 6673902"/>
              <a:gd name="connsiteX35" fmla="*/ 3330977 w 8636594"/>
              <a:gd name="connsiteY35" fmla="*/ 6266942 h 6673902"/>
              <a:gd name="connsiteX36" fmla="*/ 3376401 w 8636594"/>
              <a:gd name="connsiteY36" fmla="*/ 6247281 h 6673902"/>
              <a:gd name="connsiteX37" fmla="*/ 3421300 w 8636594"/>
              <a:gd name="connsiteY37" fmla="*/ 6227263 h 6673902"/>
              <a:gd name="connsiteX38" fmla="*/ 3465680 w 8636594"/>
              <a:gd name="connsiteY38" fmla="*/ 6206893 h 6673902"/>
              <a:gd name="connsiteX39" fmla="*/ 3509548 w 8636594"/>
              <a:gd name="connsiteY39" fmla="*/ 6186174 h 6673902"/>
              <a:gd name="connsiteX40" fmla="*/ 3552910 w 8636594"/>
              <a:gd name="connsiteY40" fmla="*/ 6165110 h 6673902"/>
              <a:gd name="connsiteX41" fmla="*/ 3595773 w 8636594"/>
              <a:gd name="connsiteY41" fmla="*/ 6143704 h 6673902"/>
              <a:gd name="connsiteX42" fmla="*/ 3638142 w 8636594"/>
              <a:gd name="connsiteY42" fmla="*/ 6121960 h 6673902"/>
              <a:gd name="connsiteX43" fmla="*/ 3680024 w 8636594"/>
              <a:gd name="connsiteY43" fmla="*/ 6099881 h 6673902"/>
              <a:gd name="connsiteX44" fmla="*/ 3721426 w 8636594"/>
              <a:gd name="connsiteY44" fmla="*/ 6077471 h 6673902"/>
              <a:gd name="connsiteX45" fmla="*/ 3762353 w 8636594"/>
              <a:gd name="connsiteY45" fmla="*/ 6054733 h 6673902"/>
              <a:gd name="connsiteX46" fmla="*/ 3802812 w 8636594"/>
              <a:gd name="connsiteY46" fmla="*/ 6031671 h 6673902"/>
              <a:gd name="connsiteX47" fmla="*/ 3842810 w 8636594"/>
              <a:gd name="connsiteY47" fmla="*/ 6008288 h 6673902"/>
              <a:gd name="connsiteX48" fmla="*/ 3882352 w 8636594"/>
              <a:gd name="connsiteY48" fmla="*/ 5984588 h 6673902"/>
              <a:gd name="connsiteX49" fmla="*/ 3921445 w 8636594"/>
              <a:gd name="connsiteY49" fmla="*/ 5960574 h 6673902"/>
              <a:gd name="connsiteX50" fmla="*/ 3960096 w 8636594"/>
              <a:gd name="connsiteY50" fmla="*/ 5936250 h 6673902"/>
              <a:gd name="connsiteX51" fmla="*/ 3998311 w 8636594"/>
              <a:gd name="connsiteY51" fmla="*/ 5911619 h 6673902"/>
              <a:gd name="connsiteX52" fmla="*/ 4036095 w 8636594"/>
              <a:gd name="connsiteY52" fmla="*/ 5886685 h 6673902"/>
              <a:gd name="connsiteX53" fmla="*/ 4073456 w 8636594"/>
              <a:gd name="connsiteY53" fmla="*/ 5861452 h 6673902"/>
              <a:gd name="connsiteX54" fmla="*/ 4110400 w 8636594"/>
              <a:gd name="connsiteY54" fmla="*/ 5835922 h 6673902"/>
              <a:gd name="connsiteX55" fmla="*/ 4146933 w 8636594"/>
              <a:gd name="connsiteY55" fmla="*/ 5810100 h 6673902"/>
              <a:gd name="connsiteX56" fmla="*/ 4183061 w 8636594"/>
              <a:gd name="connsiteY56" fmla="*/ 5783988 h 6673902"/>
              <a:gd name="connsiteX57" fmla="*/ 4218791 w 8636594"/>
              <a:gd name="connsiteY57" fmla="*/ 5757591 h 6673902"/>
              <a:gd name="connsiteX58" fmla="*/ 4254129 w 8636594"/>
              <a:gd name="connsiteY58" fmla="*/ 5730912 h 6673902"/>
              <a:gd name="connsiteX59" fmla="*/ 4289081 w 8636594"/>
              <a:gd name="connsiteY59" fmla="*/ 5703955 h 6673902"/>
              <a:gd name="connsiteX60" fmla="*/ 4323654 w 8636594"/>
              <a:gd name="connsiteY60" fmla="*/ 5676722 h 6673902"/>
              <a:gd name="connsiteX61" fmla="*/ 4357854 w 8636594"/>
              <a:gd name="connsiteY61" fmla="*/ 5649218 h 6673902"/>
              <a:gd name="connsiteX62" fmla="*/ 4391688 w 8636594"/>
              <a:gd name="connsiteY62" fmla="*/ 5621446 h 6673902"/>
              <a:gd name="connsiteX63" fmla="*/ 4425162 w 8636594"/>
              <a:gd name="connsiteY63" fmla="*/ 5593409 h 6673902"/>
              <a:gd name="connsiteX64" fmla="*/ 4458281 w 8636594"/>
              <a:gd name="connsiteY64" fmla="*/ 5565111 h 6673902"/>
              <a:gd name="connsiteX65" fmla="*/ 4491053 w 8636594"/>
              <a:gd name="connsiteY65" fmla="*/ 5536556 h 6673902"/>
              <a:gd name="connsiteX66" fmla="*/ 4523484 w 8636594"/>
              <a:gd name="connsiteY66" fmla="*/ 5507747 h 6673902"/>
              <a:gd name="connsiteX67" fmla="*/ 4555580 w 8636594"/>
              <a:gd name="connsiteY67" fmla="*/ 5478687 h 6673902"/>
              <a:gd name="connsiteX68" fmla="*/ 4587347 w 8636594"/>
              <a:gd name="connsiteY68" fmla="*/ 5449380 h 6673902"/>
              <a:gd name="connsiteX69" fmla="*/ 4618793 w 8636594"/>
              <a:gd name="connsiteY69" fmla="*/ 5419830 h 6673902"/>
              <a:gd name="connsiteX70" fmla="*/ 4649922 w 8636594"/>
              <a:gd name="connsiteY70" fmla="*/ 5390040 h 6673902"/>
              <a:gd name="connsiteX71" fmla="*/ 4680742 w 8636594"/>
              <a:gd name="connsiteY71" fmla="*/ 5360014 h 6673902"/>
              <a:gd name="connsiteX72" fmla="*/ 4711259 w 8636594"/>
              <a:gd name="connsiteY72" fmla="*/ 5329755 h 6673902"/>
              <a:gd name="connsiteX73" fmla="*/ 4741478 w 8636594"/>
              <a:gd name="connsiteY73" fmla="*/ 5299266 h 6673902"/>
              <a:gd name="connsiteX74" fmla="*/ 4771408 w 8636594"/>
              <a:gd name="connsiteY74" fmla="*/ 5268551 h 6673902"/>
              <a:gd name="connsiteX75" fmla="*/ 4801053 w 8636594"/>
              <a:gd name="connsiteY75" fmla="*/ 5237614 h 6673902"/>
              <a:gd name="connsiteX76" fmla="*/ 4830420 w 8636594"/>
              <a:gd name="connsiteY76" fmla="*/ 5206458 h 6673902"/>
              <a:gd name="connsiteX77" fmla="*/ 4859516 w 8636594"/>
              <a:gd name="connsiteY77" fmla="*/ 5175087 h 6673902"/>
              <a:gd name="connsiteX78" fmla="*/ 4888347 w 8636594"/>
              <a:gd name="connsiteY78" fmla="*/ 5143504 h 6673902"/>
              <a:gd name="connsiteX79" fmla="*/ 4916919 w 8636594"/>
              <a:gd name="connsiteY79" fmla="*/ 5111713 h 6673902"/>
              <a:gd name="connsiteX80" fmla="*/ 4945238 w 8636594"/>
              <a:gd name="connsiteY80" fmla="*/ 5079717 h 6673902"/>
              <a:gd name="connsiteX81" fmla="*/ 4973311 w 8636594"/>
              <a:gd name="connsiteY81" fmla="*/ 5047519 h 6673902"/>
              <a:gd name="connsiteX82" fmla="*/ 5001145 w 8636594"/>
              <a:gd name="connsiteY82" fmla="*/ 5015124 h 6673902"/>
              <a:gd name="connsiteX83" fmla="*/ 5028745 w 8636594"/>
              <a:gd name="connsiteY83" fmla="*/ 4982535 h 6673902"/>
              <a:gd name="connsiteX84" fmla="*/ 5056117 w 8636594"/>
              <a:gd name="connsiteY84" fmla="*/ 4949755 h 6673902"/>
              <a:gd name="connsiteX85" fmla="*/ 5083269 w 8636594"/>
              <a:gd name="connsiteY85" fmla="*/ 4916787 h 6673902"/>
              <a:gd name="connsiteX86" fmla="*/ 5110207 w 8636594"/>
              <a:gd name="connsiteY86" fmla="*/ 4883636 h 6673902"/>
              <a:gd name="connsiteX87" fmla="*/ 5136937 w 8636594"/>
              <a:gd name="connsiteY87" fmla="*/ 4850305 h 6673902"/>
              <a:gd name="connsiteX88" fmla="*/ 5163464 w 8636594"/>
              <a:gd name="connsiteY88" fmla="*/ 4816797 h 6673902"/>
              <a:gd name="connsiteX89" fmla="*/ 5215940 w 8636594"/>
              <a:gd name="connsiteY89" fmla="*/ 4749265 h 6673902"/>
              <a:gd name="connsiteX90" fmla="*/ 5267684 w 8636594"/>
              <a:gd name="connsiteY90" fmla="*/ 4681068 h 6673902"/>
              <a:gd name="connsiteX91" fmla="*/ 5318748 w 8636594"/>
              <a:gd name="connsiteY91" fmla="*/ 4612234 h 6673902"/>
              <a:gd name="connsiteX92" fmla="*/ 5369182 w 8636594"/>
              <a:gd name="connsiteY92" fmla="*/ 4542793 h 6673902"/>
              <a:gd name="connsiteX93" fmla="*/ 5419038 w 8636594"/>
              <a:gd name="connsiteY93" fmla="*/ 4472771 h 6673902"/>
              <a:gd name="connsiteX94" fmla="*/ 5468365 w 8636594"/>
              <a:gd name="connsiteY94" fmla="*/ 4402196 h 6673902"/>
              <a:gd name="connsiteX95" fmla="*/ 5517215 w 8636594"/>
              <a:gd name="connsiteY95" fmla="*/ 4331098 h 6673902"/>
              <a:gd name="connsiteX96" fmla="*/ 5565637 w 8636594"/>
              <a:gd name="connsiteY96" fmla="*/ 4259503 h 6673902"/>
              <a:gd name="connsiteX97" fmla="*/ 5613684 w 8636594"/>
              <a:gd name="connsiteY97" fmla="*/ 4187441 h 6673902"/>
              <a:gd name="connsiteX98" fmla="*/ 5685160 w 8636594"/>
              <a:gd name="connsiteY98" fmla="*/ 4078531 h 6673902"/>
              <a:gd name="connsiteX99" fmla="*/ 5756074 w 8636594"/>
              <a:gd name="connsiteY99" fmla="*/ 3968727 h 6673902"/>
              <a:gd name="connsiteX100" fmla="*/ 5873483 w 8636594"/>
              <a:gd name="connsiteY100" fmla="*/ 3783989 h 6673902"/>
              <a:gd name="connsiteX101" fmla="*/ 6203209 w 8636594"/>
              <a:gd name="connsiteY101" fmla="*/ 3258640 h 6673902"/>
              <a:gd name="connsiteX102" fmla="*/ 6299430 w 8636594"/>
              <a:gd name="connsiteY102" fmla="*/ 3107321 h 6673902"/>
              <a:gd name="connsiteX103" fmla="*/ 6372650 w 8636594"/>
              <a:gd name="connsiteY103" fmla="*/ 2993735 h 6673902"/>
              <a:gd name="connsiteX104" fmla="*/ 6453197 w 8636594"/>
              <a:gd name="connsiteY104" fmla="*/ 2869788 h 6673902"/>
              <a:gd name="connsiteX105" fmla="*/ 6564167 w 8636594"/>
              <a:gd name="connsiteY105" fmla="*/ 2696807 h 6673902"/>
              <a:gd name="connsiteX106" fmla="*/ 6976233 w 8636594"/>
              <a:gd name="connsiteY106" fmla="*/ 2045274 h 6673902"/>
              <a:gd name="connsiteX107" fmla="*/ 7086755 w 8636594"/>
              <a:gd name="connsiteY107" fmla="*/ 1872743 h 6673902"/>
              <a:gd name="connsiteX108" fmla="*/ 7170279 w 8636594"/>
              <a:gd name="connsiteY108" fmla="*/ 1744202 h 6673902"/>
              <a:gd name="connsiteX109" fmla="*/ 7226351 w 8636594"/>
              <a:gd name="connsiteY109" fmla="*/ 1659017 h 6673902"/>
              <a:gd name="connsiteX110" fmla="*/ 7282789 w 8636594"/>
              <a:gd name="connsiteY110" fmla="*/ 1574303 h 6673902"/>
              <a:gd name="connsiteX111" fmla="*/ 7339643 w 8636594"/>
              <a:gd name="connsiteY111" fmla="*/ 1490113 h 6673902"/>
              <a:gd name="connsiteX112" fmla="*/ 7396957 w 8636594"/>
              <a:gd name="connsiteY112" fmla="*/ 1406503 h 6673902"/>
              <a:gd name="connsiteX113" fmla="*/ 7454781 w 8636594"/>
              <a:gd name="connsiteY113" fmla="*/ 1323526 h 6673902"/>
              <a:gd name="connsiteX114" fmla="*/ 7513161 w 8636594"/>
              <a:gd name="connsiteY114" fmla="*/ 1241237 h 6673902"/>
              <a:gd name="connsiteX115" fmla="*/ 7572144 w 8636594"/>
              <a:gd name="connsiteY115" fmla="*/ 1159689 h 6673902"/>
              <a:gd name="connsiteX116" fmla="*/ 7601877 w 8636594"/>
              <a:gd name="connsiteY116" fmla="*/ 1119210 h 6673902"/>
              <a:gd name="connsiteX117" fmla="*/ 7631779 w 8636594"/>
              <a:gd name="connsiteY117" fmla="*/ 1078937 h 6673902"/>
              <a:gd name="connsiteX118" fmla="*/ 7661855 w 8636594"/>
              <a:gd name="connsiteY118" fmla="*/ 1038876 h 6673902"/>
              <a:gd name="connsiteX119" fmla="*/ 7692111 w 8636594"/>
              <a:gd name="connsiteY119" fmla="*/ 999035 h 6673902"/>
              <a:gd name="connsiteX120" fmla="*/ 7722554 w 8636594"/>
              <a:gd name="connsiteY120" fmla="*/ 959419 h 6673902"/>
              <a:gd name="connsiteX121" fmla="*/ 7753190 w 8636594"/>
              <a:gd name="connsiteY121" fmla="*/ 920037 h 6673902"/>
              <a:gd name="connsiteX122" fmla="*/ 7784023 w 8636594"/>
              <a:gd name="connsiteY122" fmla="*/ 880894 h 6673902"/>
              <a:gd name="connsiteX123" fmla="*/ 7815061 w 8636594"/>
              <a:gd name="connsiteY123" fmla="*/ 841997 h 6673902"/>
              <a:gd name="connsiteX124" fmla="*/ 7846308 w 8636594"/>
              <a:gd name="connsiteY124" fmla="*/ 803354 h 6673902"/>
              <a:gd name="connsiteX125" fmla="*/ 7877772 w 8636594"/>
              <a:gd name="connsiteY125" fmla="*/ 764970 h 6673902"/>
              <a:gd name="connsiteX126" fmla="*/ 7909458 w 8636594"/>
              <a:gd name="connsiteY126" fmla="*/ 726853 h 6673902"/>
              <a:gd name="connsiteX127" fmla="*/ 7941371 w 8636594"/>
              <a:gd name="connsiteY127" fmla="*/ 689010 h 6673902"/>
              <a:gd name="connsiteX128" fmla="*/ 7973518 w 8636594"/>
              <a:gd name="connsiteY128" fmla="*/ 651447 h 6673902"/>
              <a:gd name="connsiteX129" fmla="*/ 8005905 w 8636594"/>
              <a:gd name="connsiteY129" fmla="*/ 614171 h 6673902"/>
              <a:gd name="connsiteX130" fmla="*/ 8038538 w 8636594"/>
              <a:gd name="connsiteY130" fmla="*/ 577189 h 6673902"/>
              <a:gd name="connsiteX131" fmla="*/ 8071421 w 8636594"/>
              <a:gd name="connsiteY131" fmla="*/ 540507 h 6673902"/>
              <a:gd name="connsiteX132" fmla="*/ 8104563 w 8636594"/>
              <a:gd name="connsiteY132" fmla="*/ 504132 h 6673902"/>
              <a:gd name="connsiteX133" fmla="*/ 8137967 w 8636594"/>
              <a:gd name="connsiteY133" fmla="*/ 468072 h 6673902"/>
              <a:gd name="connsiteX134" fmla="*/ 8171641 w 8636594"/>
              <a:gd name="connsiteY134" fmla="*/ 432332 h 6673902"/>
              <a:gd name="connsiteX135" fmla="*/ 8205590 w 8636594"/>
              <a:gd name="connsiteY135" fmla="*/ 396920 h 6673902"/>
              <a:gd name="connsiteX136" fmla="*/ 8239820 w 8636594"/>
              <a:gd name="connsiteY136" fmla="*/ 361843 h 6673902"/>
              <a:gd name="connsiteX137" fmla="*/ 8274337 w 8636594"/>
              <a:gd name="connsiteY137" fmla="*/ 327107 h 6673902"/>
              <a:gd name="connsiteX138" fmla="*/ 8309147 w 8636594"/>
              <a:gd name="connsiteY138" fmla="*/ 292718 h 6673902"/>
              <a:gd name="connsiteX139" fmla="*/ 8344256 w 8636594"/>
              <a:gd name="connsiteY139" fmla="*/ 258685 h 6673902"/>
              <a:gd name="connsiteX140" fmla="*/ 8379669 w 8636594"/>
              <a:gd name="connsiteY140" fmla="*/ 225013 h 6673902"/>
              <a:gd name="connsiteX141" fmla="*/ 8415394 w 8636594"/>
              <a:gd name="connsiteY141" fmla="*/ 191709 h 6673902"/>
              <a:gd name="connsiteX142" fmla="*/ 8451434 w 8636594"/>
              <a:gd name="connsiteY142" fmla="*/ 158780 h 6673902"/>
              <a:gd name="connsiteX143" fmla="*/ 8487798 w 8636594"/>
              <a:gd name="connsiteY143" fmla="*/ 126233 h 6673902"/>
              <a:gd name="connsiteX144" fmla="*/ 8524489 w 8636594"/>
              <a:gd name="connsiteY144" fmla="*/ 94075 h 6673902"/>
              <a:gd name="connsiteX145" fmla="*/ 8561515 w 8636594"/>
              <a:gd name="connsiteY145" fmla="*/ 62312 h 6673902"/>
              <a:gd name="connsiteX146" fmla="*/ 8598881 w 8636594"/>
              <a:gd name="connsiteY146" fmla="*/ 30951 h 6673902"/>
              <a:gd name="connsiteX147" fmla="*/ 8636594 w 8636594"/>
              <a:gd name="connsiteY147" fmla="*/ 0 h 6673902"/>
              <a:gd name="connsiteX0" fmla="*/ 8636594 w 8636594"/>
              <a:gd name="connsiteY0" fmla="*/ 0 h 6666549"/>
              <a:gd name="connsiteX1" fmla="*/ 5293 w 8636594"/>
              <a:gd name="connsiteY1" fmla="*/ 0 h 6666549"/>
              <a:gd name="connsiteX2" fmla="*/ 0 w 8636594"/>
              <a:gd name="connsiteY2" fmla="*/ 5587843 h 6666549"/>
              <a:gd name="connsiteX3" fmla="*/ 1594033 w 8636594"/>
              <a:gd name="connsiteY3" fmla="*/ 5600057 h 6666549"/>
              <a:gd name="connsiteX4" fmla="*/ 1686068 w 8636594"/>
              <a:gd name="connsiteY4" fmla="*/ 5599745 h 6666549"/>
              <a:gd name="connsiteX5" fmla="*/ 1883237 w 8636594"/>
              <a:gd name="connsiteY5" fmla="*/ 5855484 h 6666549"/>
              <a:gd name="connsiteX6" fmla="*/ 1756810 w 8636594"/>
              <a:gd name="connsiteY6" fmla="*/ 6666549 h 6666549"/>
              <a:gd name="connsiteX7" fmla="*/ 1820216 w 8636594"/>
              <a:gd name="connsiteY7" fmla="*/ 6658735 h 6666549"/>
              <a:gd name="connsiteX8" fmla="*/ 1882914 w 8636594"/>
              <a:gd name="connsiteY8" fmla="*/ 6650463 h 6666549"/>
              <a:gd name="connsiteX9" fmla="*/ 1944909 w 8636594"/>
              <a:gd name="connsiteY9" fmla="*/ 6641737 h 6666549"/>
              <a:gd name="connsiteX10" fmla="*/ 2006208 w 8636594"/>
              <a:gd name="connsiteY10" fmla="*/ 6632561 h 6666549"/>
              <a:gd name="connsiteX11" fmla="*/ 2066817 w 8636594"/>
              <a:gd name="connsiteY11" fmla="*/ 6622937 h 6666549"/>
              <a:gd name="connsiteX12" fmla="*/ 2126742 w 8636594"/>
              <a:gd name="connsiteY12" fmla="*/ 6612869 h 6666549"/>
              <a:gd name="connsiteX13" fmla="*/ 2185991 w 8636594"/>
              <a:gd name="connsiteY13" fmla="*/ 6602362 h 6666549"/>
              <a:gd name="connsiteX14" fmla="*/ 2244569 w 8636594"/>
              <a:gd name="connsiteY14" fmla="*/ 6591417 h 6666549"/>
              <a:gd name="connsiteX15" fmla="*/ 2302482 w 8636594"/>
              <a:gd name="connsiteY15" fmla="*/ 6580040 h 6666549"/>
              <a:gd name="connsiteX16" fmla="*/ 2359737 w 8636594"/>
              <a:gd name="connsiteY16" fmla="*/ 6568233 h 6666549"/>
              <a:gd name="connsiteX17" fmla="*/ 2416341 w 8636594"/>
              <a:gd name="connsiteY17" fmla="*/ 6555999 h 6666549"/>
              <a:gd name="connsiteX18" fmla="*/ 2472299 w 8636594"/>
              <a:gd name="connsiteY18" fmla="*/ 6543344 h 6666549"/>
              <a:gd name="connsiteX19" fmla="*/ 2527618 w 8636594"/>
              <a:gd name="connsiteY19" fmla="*/ 6530269 h 6666549"/>
              <a:gd name="connsiteX20" fmla="*/ 2582304 w 8636594"/>
              <a:gd name="connsiteY20" fmla="*/ 6516778 h 6666549"/>
              <a:gd name="connsiteX21" fmla="*/ 2636364 w 8636594"/>
              <a:gd name="connsiteY21" fmla="*/ 6502876 h 6666549"/>
              <a:gd name="connsiteX22" fmla="*/ 2689804 w 8636594"/>
              <a:gd name="connsiteY22" fmla="*/ 6488565 h 6666549"/>
              <a:gd name="connsiteX23" fmla="*/ 2742629 w 8636594"/>
              <a:gd name="connsiteY23" fmla="*/ 6473849 h 6666549"/>
              <a:gd name="connsiteX24" fmla="*/ 2794848 w 8636594"/>
              <a:gd name="connsiteY24" fmla="*/ 6458731 h 6666549"/>
              <a:gd name="connsiteX25" fmla="*/ 2846466 w 8636594"/>
              <a:gd name="connsiteY25" fmla="*/ 6443216 h 6666549"/>
              <a:gd name="connsiteX26" fmla="*/ 2897488 w 8636594"/>
              <a:gd name="connsiteY26" fmla="*/ 6427305 h 6666549"/>
              <a:gd name="connsiteX27" fmla="*/ 2947923 w 8636594"/>
              <a:gd name="connsiteY27" fmla="*/ 6411004 h 6666549"/>
              <a:gd name="connsiteX28" fmla="*/ 2997775 w 8636594"/>
              <a:gd name="connsiteY28" fmla="*/ 6394316 h 6666549"/>
              <a:gd name="connsiteX29" fmla="*/ 3047052 w 8636594"/>
              <a:gd name="connsiteY29" fmla="*/ 6377243 h 6666549"/>
              <a:gd name="connsiteX30" fmla="*/ 3095759 w 8636594"/>
              <a:gd name="connsiteY30" fmla="*/ 6359791 h 6666549"/>
              <a:gd name="connsiteX31" fmla="*/ 3143903 w 8636594"/>
              <a:gd name="connsiteY31" fmla="*/ 6341961 h 6666549"/>
              <a:gd name="connsiteX32" fmla="*/ 3191491 w 8636594"/>
              <a:gd name="connsiteY32" fmla="*/ 6323757 h 6666549"/>
              <a:gd name="connsiteX33" fmla="*/ 3238528 w 8636594"/>
              <a:gd name="connsiteY33" fmla="*/ 6305184 h 6666549"/>
              <a:gd name="connsiteX34" fmla="*/ 3285021 w 8636594"/>
              <a:gd name="connsiteY34" fmla="*/ 6286245 h 6666549"/>
              <a:gd name="connsiteX35" fmla="*/ 3330977 w 8636594"/>
              <a:gd name="connsiteY35" fmla="*/ 6266942 h 6666549"/>
              <a:gd name="connsiteX36" fmla="*/ 3376401 w 8636594"/>
              <a:gd name="connsiteY36" fmla="*/ 6247281 h 6666549"/>
              <a:gd name="connsiteX37" fmla="*/ 3421300 w 8636594"/>
              <a:gd name="connsiteY37" fmla="*/ 6227263 h 6666549"/>
              <a:gd name="connsiteX38" fmla="*/ 3465680 w 8636594"/>
              <a:gd name="connsiteY38" fmla="*/ 6206893 h 6666549"/>
              <a:gd name="connsiteX39" fmla="*/ 3509548 w 8636594"/>
              <a:gd name="connsiteY39" fmla="*/ 6186174 h 6666549"/>
              <a:gd name="connsiteX40" fmla="*/ 3552910 w 8636594"/>
              <a:gd name="connsiteY40" fmla="*/ 6165110 h 6666549"/>
              <a:gd name="connsiteX41" fmla="*/ 3595773 w 8636594"/>
              <a:gd name="connsiteY41" fmla="*/ 6143704 h 6666549"/>
              <a:gd name="connsiteX42" fmla="*/ 3638142 w 8636594"/>
              <a:gd name="connsiteY42" fmla="*/ 6121960 h 6666549"/>
              <a:gd name="connsiteX43" fmla="*/ 3680024 w 8636594"/>
              <a:gd name="connsiteY43" fmla="*/ 6099881 h 6666549"/>
              <a:gd name="connsiteX44" fmla="*/ 3721426 w 8636594"/>
              <a:gd name="connsiteY44" fmla="*/ 6077471 h 6666549"/>
              <a:gd name="connsiteX45" fmla="*/ 3762353 w 8636594"/>
              <a:gd name="connsiteY45" fmla="*/ 6054733 h 6666549"/>
              <a:gd name="connsiteX46" fmla="*/ 3802812 w 8636594"/>
              <a:gd name="connsiteY46" fmla="*/ 6031671 h 6666549"/>
              <a:gd name="connsiteX47" fmla="*/ 3842810 w 8636594"/>
              <a:gd name="connsiteY47" fmla="*/ 6008288 h 6666549"/>
              <a:gd name="connsiteX48" fmla="*/ 3882352 w 8636594"/>
              <a:gd name="connsiteY48" fmla="*/ 5984588 h 6666549"/>
              <a:gd name="connsiteX49" fmla="*/ 3921445 w 8636594"/>
              <a:gd name="connsiteY49" fmla="*/ 5960574 h 6666549"/>
              <a:gd name="connsiteX50" fmla="*/ 3960096 w 8636594"/>
              <a:gd name="connsiteY50" fmla="*/ 5936250 h 6666549"/>
              <a:gd name="connsiteX51" fmla="*/ 3998311 w 8636594"/>
              <a:gd name="connsiteY51" fmla="*/ 5911619 h 6666549"/>
              <a:gd name="connsiteX52" fmla="*/ 4036095 w 8636594"/>
              <a:gd name="connsiteY52" fmla="*/ 5886685 h 6666549"/>
              <a:gd name="connsiteX53" fmla="*/ 4073456 w 8636594"/>
              <a:gd name="connsiteY53" fmla="*/ 5861452 h 6666549"/>
              <a:gd name="connsiteX54" fmla="*/ 4110400 w 8636594"/>
              <a:gd name="connsiteY54" fmla="*/ 5835922 h 6666549"/>
              <a:gd name="connsiteX55" fmla="*/ 4146933 w 8636594"/>
              <a:gd name="connsiteY55" fmla="*/ 5810100 h 6666549"/>
              <a:gd name="connsiteX56" fmla="*/ 4183061 w 8636594"/>
              <a:gd name="connsiteY56" fmla="*/ 5783988 h 6666549"/>
              <a:gd name="connsiteX57" fmla="*/ 4218791 w 8636594"/>
              <a:gd name="connsiteY57" fmla="*/ 5757591 h 6666549"/>
              <a:gd name="connsiteX58" fmla="*/ 4254129 w 8636594"/>
              <a:gd name="connsiteY58" fmla="*/ 5730912 h 6666549"/>
              <a:gd name="connsiteX59" fmla="*/ 4289081 w 8636594"/>
              <a:gd name="connsiteY59" fmla="*/ 5703955 h 6666549"/>
              <a:gd name="connsiteX60" fmla="*/ 4323654 w 8636594"/>
              <a:gd name="connsiteY60" fmla="*/ 5676722 h 6666549"/>
              <a:gd name="connsiteX61" fmla="*/ 4357854 w 8636594"/>
              <a:gd name="connsiteY61" fmla="*/ 5649218 h 6666549"/>
              <a:gd name="connsiteX62" fmla="*/ 4391688 w 8636594"/>
              <a:gd name="connsiteY62" fmla="*/ 5621446 h 6666549"/>
              <a:gd name="connsiteX63" fmla="*/ 4425162 w 8636594"/>
              <a:gd name="connsiteY63" fmla="*/ 5593409 h 6666549"/>
              <a:gd name="connsiteX64" fmla="*/ 4458281 w 8636594"/>
              <a:gd name="connsiteY64" fmla="*/ 5565111 h 6666549"/>
              <a:gd name="connsiteX65" fmla="*/ 4491053 w 8636594"/>
              <a:gd name="connsiteY65" fmla="*/ 5536556 h 6666549"/>
              <a:gd name="connsiteX66" fmla="*/ 4523484 w 8636594"/>
              <a:gd name="connsiteY66" fmla="*/ 5507747 h 6666549"/>
              <a:gd name="connsiteX67" fmla="*/ 4555580 w 8636594"/>
              <a:gd name="connsiteY67" fmla="*/ 5478687 h 6666549"/>
              <a:gd name="connsiteX68" fmla="*/ 4587347 w 8636594"/>
              <a:gd name="connsiteY68" fmla="*/ 5449380 h 6666549"/>
              <a:gd name="connsiteX69" fmla="*/ 4618793 w 8636594"/>
              <a:gd name="connsiteY69" fmla="*/ 5419830 h 6666549"/>
              <a:gd name="connsiteX70" fmla="*/ 4649922 w 8636594"/>
              <a:gd name="connsiteY70" fmla="*/ 5390040 h 6666549"/>
              <a:gd name="connsiteX71" fmla="*/ 4680742 w 8636594"/>
              <a:gd name="connsiteY71" fmla="*/ 5360014 h 6666549"/>
              <a:gd name="connsiteX72" fmla="*/ 4711259 w 8636594"/>
              <a:gd name="connsiteY72" fmla="*/ 5329755 h 6666549"/>
              <a:gd name="connsiteX73" fmla="*/ 4741478 w 8636594"/>
              <a:gd name="connsiteY73" fmla="*/ 5299266 h 6666549"/>
              <a:gd name="connsiteX74" fmla="*/ 4771408 w 8636594"/>
              <a:gd name="connsiteY74" fmla="*/ 5268551 h 6666549"/>
              <a:gd name="connsiteX75" fmla="*/ 4801053 w 8636594"/>
              <a:gd name="connsiteY75" fmla="*/ 5237614 h 6666549"/>
              <a:gd name="connsiteX76" fmla="*/ 4830420 w 8636594"/>
              <a:gd name="connsiteY76" fmla="*/ 5206458 h 6666549"/>
              <a:gd name="connsiteX77" fmla="*/ 4859516 w 8636594"/>
              <a:gd name="connsiteY77" fmla="*/ 5175087 h 6666549"/>
              <a:gd name="connsiteX78" fmla="*/ 4888347 w 8636594"/>
              <a:gd name="connsiteY78" fmla="*/ 5143504 h 6666549"/>
              <a:gd name="connsiteX79" fmla="*/ 4916919 w 8636594"/>
              <a:gd name="connsiteY79" fmla="*/ 5111713 h 6666549"/>
              <a:gd name="connsiteX80" fmla="*/ 4945238 w 8636594"/>
              <a:gd name="connsiteY80" fmla="*/ 5079717 h 6666549"/>
              <a:gd name="connsiteX81" fmla="*/ 4973311 w 8636594"/>
              <a:gd name="connsiteY81" fmla="*/ 5047519 h 6666549"/>
              <a:gd name="connsiteX82" fmla="*/ 5001145 w 8636594"/>
              <a:gd name="connsiteY82" fmla="*/ 5015124 h 6666549"/>
              <a:gd name="connsiteX83" fmla="*/ 5028745 w 8636594"/>
              <a:gd name="connsiteY83" fmla="*/ 4982535 h 6666549"/>
              <a:gd name="connsiteX84" fmla="*/ 5056117 w 8636594"/>
              <a:gd name="connsiteY84" fmla="*/ 4949755 h 6666549"/>
              <a:gd name="connsiteX85" fmla="*/ 5083269 w 8636594"/>
              <a:gd name="connsiteY85" fmla="*/ 4916787 h 6666549"/>
              <a:gd name="connsiteX86" fmla="*/ 5110207 w 8636594"/>
              <a:gd name="connsiteY86" fmla="*/ 4883636 h 6666549"/>
              <a:gd name="connsiteX87" fmla="*/ 5136937 w 8636594"/>
              <a:gd name="connsiteY87" fmla="*/ 4850305 h 6666549"/>
              <a:gd name="connsiteX88" fmla="*/ 5163464 w 8636594"/>
              <a:gd name="connsiteY88" fmla="*/ 4816797 h 6666549"/>
              <a:gd name="connsiteX89" fmla="*/ 5215940 w 8636594"/>
              <a:gd name="connsiteY89" fmla="*/ 4749265 h 6666549"/>
              <a:gd name="connsiteX90" fmla="*/ 5267684 w 8636594"/>
              <a:gd name="connsiteY90" fmla="*/ 4681068 h 6666549"/>
              <a:gd name="connsiteX91" fmla="*/ 5318748 w 8636594"/>
              <a:gd name="connsiteY91" fmla="*/ 4612234 h 6666549"/>
              <a:gd name="connsiteX92" fmla="*/ 5369182 w 8636594"/>
              <a:gd name="connsiteY92" fmla="*/ 4542793 h 6666549"/>
              <a:gd name="connsiteX93" fmla="*/ 5419038 w 8636594"/>
              <a:gd name="connsiteY93" fmla="*/ 4472771 h 6666549"/>
              <a:gd name="connsiteX94" fmla="*/ 5468365 w 8636594"/>
              <a:gd name="connsiteY94" fmla="*/ 4402196 h 6666549"/>
              <a:gd name="connsiteX95" fmla="*/ 5517215 w 8636594"/>
              <a:gd name="connsiteY95" fmla="*/ 4331098 h 6666549"/>
              <a:gd name="connsiteX96" fmla="*/ 5565637 w 8636594"/>
              <a:gd name="connsiteY96" fmla="*/ 4259503 h 6666549"/>
              <a:gd name="connsiteX97" fmla="*/ 5613684 w 8636594"/>
              <a:gd name="connsiteY97" fmla="*/ 4187441 h 6666549"/>
              <a:gd name="connsiteX98" fmla="*/ 5685160 w 8636594"/>
              <a:gd name="connsiteY98" fmla="*/ 4078531 h 6666549"/>
              <a:gd name="connsiteX99" fmla="*/ 5756074 w 8636594"/>
              <a:gd name="connsiteY99" fmla="*/ 3968727 h 6666549"/>
              <a:gd name="connsiteX100" fmla="*/ 5873483 w 8636594"/>
              <a:gd name="connsiteY100" fmla="*/ 3783989 h 6666549"/>
              <a:gd name="connsiteX101" fmla="*/ 6203209 w 8636594"/>
              <a:gd name="connsiteY101" fmla="*/ 3258640 h 6666549"/>
              <a:gd name="connsiteX102" fmla="*/ 6299430 w 8636594"/>
              <a:gd name="connsiteY102" fmla="*/ 3107321 h 6666549"/>
              <a:gd name="connsiteX103" fmla="*/ 6372650 w 8636594"/>
              <a:gd name="connsiteY103" fmla="*/ 2993735 h 6666549"/>
              <a:gd name="connsiteX104" fmla="*/ 6453197 w 8636594"/>
              <a:gd name="connsiteY104" fmla="*/ 2869788 h 6666549"/>
              <a:gd name="connsiteX105" fmla="*/ 6564167 w 8636594"/>
              <a:gd name="connsiteY105" fmla="*/ 2696807 h 6666549"/>
              <a:gd name="connsiteX106" fmla="*/ 6976233 w 8636594"/>
              <a:gd name="connsiteY106" fmla="*/ 2045274 h 6666549"/>
              <a:gd name="connsiteX107" fmla="*/ 7086755 w 8636594"/>
              <a:gd name="connsiteY107" fmla="*/ 1872743 h 6666549"/>
              <a:gd name="connsiteX108" fmla="*/ 7170279 w 8636594"/>
              <a:gd name="connsiteY108" fmla="*/ 1744202 h 6666549"/>
              <a:gd name="connsiteX109" fmla="*/ 7226351 w 8636594"/>
              <a:gd name="connsiteY109" fmla="*/ 1659017 h 6666549"/>
              <a:gd name="connsiteX110" fmla="*/ 7282789 w 8636594"/>
              <a:gd name="connsiteY110" fmla="*/ 1574303 h 6666549"/>
              <a:gd name="connsiteX111" fmla="*/ 7339643 w 8636594"/>
              <a:gd name="connsiteY111" fmla="*/ 1490113 h 6666549"/>
              <a:gd name="connsiteX112" fmla="*/ 7396957 w 8636594"/>
              <a:gd name="connsiteY112" fmla="*/ 1406503 h 6666549"/>
              <a:gd name="connsiteX113" fmla="*/ 7454781 w 8636594"/>
              <a:gd name="connsiteY113" fmla="*/ 1323526 h 6666549"/>
              <a:gd name="connsiteX114" fmla="*/ 7513161 w 8636594"/>
              <a:gd name="connsiteY114" fmla="*/ 1241237 h 6666549"/>
              <a:gd name="connsiteX115" fmla="*/ 7572144 w 8636594"/>
              <a:gd name="connsiteY115" fmla="*/ 1159689 h 6666549"/>
              <a:gd name="connsiteX116" fmla="*/ 7601877 w 8636594"/>
              <a:gd name="connsiteY116" fmla="*/ 1119210 h 6666549"/>
              <a:gd name="connsiteX117" fmla="*/ 7631779 w 8636594"/>
              <a:gd name="connsiteY117" fmla="*/ 1078937 h 6666549"/>
              <a:gd name="connsiteX118" fmla="*/ 7661855 w 8636594"/>
              <a:gd name="connsiteY118" fmla="*/ 1038876 h 6666549"/>
              <a:gd name="connsiteX119" fmla="*/ 7692111 w 8636594"/>
              <a:gd name="connsiteY119" fmla="*/ 999035 h 6666549"/>
              <a:gd name="connsiteX120" fmla="*/ 7722554 w 8636594"/>
              <a:gd name="connsiteY120" fmla="*/ 959419 h 6666549"/>
              <a:gd name="connsiteX121" fmla="*/ 7753190 w 8636594"/>
              <a:gd name="connsiteY121" fmla="*/ 920037 h 6666549"/>
              <a:gd name="connsiteX122" fmla="*/ 7784023 w 8636594"/>
              <a:gd name="connsiteY122" fmla="*/ 880894 h 6666549"/>
              <a:gd name="connsiteX123" fmla="*/ 7815061 w 8636594"/>
              <a:gd name="connsiteY123" fmla="*/ 841997 h 6666549"/>
              <a:gd name="connsiteX124" fmla="*/ 7846308 w 8636594"/>
              <a:gd name="connsiteY124" fmla="*/ 803354 h 6666549"/>
              <a:gd name="connsiteX125" fmla="*/ 7877772 w 8636594"/>
              <a:gd name="connsiteY125" fmla="*/ 764970 h 6666549"/>
              <a:gd name="connsiteX126" fmla="*/ 7909458 w 8636594"/>
              <a:gd name="connsiteY126" fmla="*/ 726853 h 6666549"/>
              <a:gd name="connsiteX127" fmla="*/ 7941371 w 8636594"/>
              <a:gd name="connsiteY127" fmla="*/ 689010 h 6666549"/>
              <a:gd name="connsiteX128" fmla="*/ 7973518 w 8636594"/>
              <a:gd name="connsiteY128" fmla="*/ 651447 h 6666549"/>
              <a:gd name="connsiteX129" fmla="*/ 8005905 w 8636594"/>
              <a:gd name="connsiteY129" fmla="*/ 614171 h 6666549"/>
              <a:gd name="connsiteX130" fmla="*/ 8038538 w 8636594"/>
              <a:gd name="connsiteY130" fmla="*/ 577189 h 6666549"/>
              <a:gd name="connsiteX131" fmla="*/ 8071421 w 8636594"/>
              <a:gd name="connsiteY131" fmla="*/ 540507 h 6666549"/>
              <a:gd name="connsiteX132" fmla="*/ 8104563 w 8636594"/>
              <a:gd name="connsiteY132" fmla="*/ 504132 h 6666549"/>
              <a:gd name="connsiteX133" fmla="*/ 8137967 w 8636594"/>
              <a:gd name="connsiteY133" fmla="*/ 468072 h 6666549"/>
              <a:gd name="connsiteX134" fmla="*/ 8171641 w 8636594"/>
              <a:gd name="connsiteY134" fmla="*/ 432332 h 6666549"/>
              <a:gd name="connsiteX135" fmla="*/ 8205590 w 8636594"/>
              <a:gd name="connsiteY135" fmla="*/ 396920 h 6666549"/>
              <a:gd name="connsiteX136" fmla="*/ 8239820 w 8636594"/>
              <a:gd name="connsiteY136" fmla="*/ 361843 h 6666549"/>
              <a:gd name="connsiteX137" fmla="*/ 8274337 w 8636594"/>
              <a:gd name="connsiteY137" fmla="*/ 327107 h 6666549"/>
              <a:gd name="connsiteX138" fmla="*/ 8309147 w 8636594"/>
              <a:gd name="connsiteY138" fmla="*/ 292718 h 6666549"/>
              <a:gd name="connsiteX139" fmla="*/ 8344256 w 8636594"/>
              <a:gd name="connsiteY139" fmla="*/ 258685 h 6666549"/>
              <a:gd name="connsiteX140" fmla="*/ 8379669 w 8636594"/>
              <a:gd name="connsiteY140" fmla="*/ 225013 h 6666549"/>
              <a:gd name="connsiteX141" fmla="*/ 8415394 w 8636594"/>
              <a:gd name="connsiteY141" fmla="*/ 191709 h 6666549"/>
              <a:gd name="connsiteX142" fmla="*/ 8451434 w 8636594"/>
              <a:gd name="connsiteY142" fmla="*/ 158780 h 6666549"/>
              <a:gd name="connsiteX143" fmla="*/ 8487798 w 8636594"/>
              <a:gd name="connsiteY143" fmla="*/ 126233 h 6666549"/>
              <a:gd name="connsiteX144" fmla="*/ 8524489 w 8636594"/>
              <a:gd name="connsiteY144" fmla="*/ 94075 h 6666549"/>
              <a:gd name="connsiteX145" fmla="*/ 8561515 w 8636594"/>
              <a:gd name="connsiteY145" fmla="*/ 62312 h 6666549"/>
              <a:gd name="connsiteX146" fmla="*/ 8598881 w 8636594"/>
              <a:gd name="connsiteY146" fmla="*/ 30951 h 6666549"/>
              <a:gd name="connsiteX147" fmla="*/ 8636594 w 8636594"/>
              <a:gd name="connsiteY147" fmla="*/ 0 h 6666549"/>
              <a:gd name="connsiteX0" fmla="*/ 8636594 w 8636594"/>
              <a:gd name="connsiteY0" fmla="*/ 0 h 6658735"/>
              <a:gd name="connsiteX1" fmla="*/ 5293 w 8636594"/>
              <a:gd name="connsiteY1" fmla="*/ 0 h 6658735"/>
              <a:gd name="connsiteX2" fmla="*/ 0 w 8636594"/>
              <a:gd name="connsiteY2" fmla="*/ 5587843 h 6658735"/>
              <a:gd name="connsiteX3" fmla="*/ 1594033 w 8636594"/>
              <a:gd name="connsiteY3" fmla="*/ 5600057 h 6658735"/>
              <a:gd name="connsiteX4" fmla="*/ 1686068 w 8636594"/>
              <a:gd name="connsiteY4" fmla="*/ 5599745 h 6658735"/>
              <a:gd name="connsiteX5" fmla="*/ 1883237 w 8636594"/>
              <a:gd name="connsiteY5" fmla="*/ 5855484 h 6658735"/>
              <a:gd name="connsiteX6" fmla="*/ 2084977 w 8636594"/>
              <a:gd name="connsiteY6" fmla="*/ 5695440 h 6658735"/>
              <a:gd name="connsiteX7" fmla="*/ 1820216 w 8636594"/>
              <a:gd name="connsiteY7" fmla="*/ 6658735 h 6658735"/>
              <a:gd name="connsiteX8" fmla="*/ 1882914 w 8636594"/>
              <a:gd name="connsiteY8" fmla="*/ 6650463 h 6658735"/>
              <a:gd name="connsiteX9" fmla="*/ 1944909 w 8636594"/>
              <a:gd name="connsiteY9" fmla="*/ 6641737 h 6658735"/>
              <a:gd name="connsiteX10" fmla="*/ 2006208 w 8636594"/>
              <a:gd name="connsiteY10" fmla="*/ 6632561 h 6658735"/>
              <a:gd name="connsiteX11" fmla="*/ 2066817 w 8636594"/>
              <a:gd name="connsiteY11" fmla="*/ 6622937 h 6658735"/>
              <a:gd name="connsiteX12" fmla="*/ 2126742 w 8636594"/>
              <a:gd name="connsiteY12" fmla="*/ 6612869 h 6658735"/>
              <a:gd name="connsiteX13" fmla="*/ 2185991 w 8636594"/>
              <a:gd name="connsiteY13" fmla="*/ 6602362 h 6658735"/>
              <a:gd name="connsiteX14" fmla="*/ 2244569 w 8636594"/>
              <a:gd name="connsiteY14" fmla="*/ 6591417 h 6658735"/>
              <a:gd name="connsiteX15" fmla="*/ 2302482 w 8636594"/>
              <a:gd name="connsiteY15" fmla="*/ 6580040 h 6658735"/>
              <a:gd name="connsiteX16" fmla="*/ 2359737 w 8636594"/>
              <a:gd name="connsiteY16" fmla="*/ 6568233 h 6658735"/>
              <a:gd name="connsiteX17" fmla="*/ 2416341 w 8636594"/>
              <a:gd name="connsiteY17" fmla="*/ 6555999 h 6658735"/>
              <a:gd name="connsiteX18" fmla="*/ 2472299 w 8636594"/>
              <a:gd name="connsiteY18" fmla="*/ 6543344 h 6658735"/>
              <a:gd name="connsiteX19" fmla="*/ 2527618 w 8636594"/>
              <a:gd name="connsiteY19" fmla="*/ 6530269 h 6658735"/>
              <a:gd name="connsiteX20" fmla="*/ 2582304 w 8636594"/>
              <a:gd name="connsiteY20" fmla="*/ 6516778 h 6658735"/>
              <a:gd name="connsiteX21" fmla="*/ 2636364 w 8636594"/>
              <a:gd name="connsiteY21" fmla="*/ 6502876 h 6658735"/>
              <a:gd name="connsiteX22" fmla="*/ 2689804 w 8636594"/>
              <a:gd name="connsiteY22" fmla="*/ 6488565 h 6658735"/>
              <a:gd name="connsiteX23" fmla="*/ 2742629 w 8636594"/>
              <a:gd name="connsiteY23" fmla="*/ 6473849 h 6658735"/>
              <a:gd name="connsiteX24" fmla="*/ 2794848 w 8636594"/>
              <a:gd name="connsiteY24" fmla="*/ 6458731 h 6658735"/>
              <a:gd name="connsiteX25" fmla="*/ 2846466 w 8636594"/>
              <a:gd name="connsiteY25" fmla="*/ 6443216 h 6658735"/>
              <a:gd name="connsiteX26" fmla="*/ 2897488 w 8636594"/>
              <a:gd name="connsiteY26" fmla="*/ 6427305 h 6658735"/>
              <a:gd name="connsiteX27" fmla="*/ 2947923 w 8636594"/>
              <a:gd name="connsiteY27" fmla="*/ 6411004 h 6658735"/>
              <a:gd name="connsiteX28" fmla="*/ 2997775 w 8636594"/>
              <a:gd name="connsiteY28" fmla="*/ 6394316 h 6658735"/>
              <a:gd name="connsiteX29" fmla="*/ 3047052 w 8636594"/>
              <a:gd name="connsiteY29" fmla="*/ 6377243 h 6658735"/>
              <a:gd name="connsiteX30" fmla="*/ 3095759 w 8636594"/>
              <a:gd name="connsiteY30" fmla="*/ 6359791 h 6658735"/>
              <a:gd name="connsiteX31" fmla="*/ 3143903 w 8636594"/>
              <a:gd name="connsiteY31" fmla="*/ 6341961 h 6658735"/>
              <a:gd name="connsiteX32" fmla="*/ 3191491 w 8636594"/>
              <a:gd name="connsiteY32" fmla="*/ 6323757 h 6658735"/>
              <a:gd name="connsiteX33" fmla="*/ 3238528 w 8636594"/>
              <a:gd name="connsiteY33" fmla="*/ 6305184 h 6658735"/>
              <a:gd name="connsiteX34" fmla="*/ 3285021 w 8636594"/>
              <a:gd name="connsiteY34" fmla="*/ 6286245 h 6658735"/>
              <a:gd name="connsiteX35" fmla="*/ 3330977 w 8636594"/>
              <a:gd name="connsiteY35" fmla="*/ 6266942 h 6658735"/>
              <a:gd name="connsiteX36" fmla="*/ 3376401 w 8636594"/>
              <a:gd name="connsiteY36" fmla="*/ 6247281 h 6658735"/>
              <a:gd name="connsiteX37" fmla="*/ 3421300 w 8636594"/>
              <a:gd name="connsiteY37" fmla="*/ 6227263 h 6658735"/>
              <a:gd name="connsiteX38" fmla="*/ 3465680 w 8636594"/>
              <a:gd name="connsiteY38" fmla="*/ 6206893 h 6658735"/>
              <a:gd name="connsiteX39" fmla="*/ 3509548 w 8636594"/>
              <a:gd name="connsiteY39" fmla="*/ 6186174 h 6658735"/>
              <a:gd name="connsiteX40" fmla="*/ 3552910 w 8636594"/>
              <a:gd name="connsiteY40" fmla="*/ 6165110 h 6658735"/>
              <a:gd name="connsiteX41" fmla="*/ 3595773 w 8636594"/>
              <a:gd name="connsiteY41" fmla="*/ 6143704 h 6658735"/>
              <a:gd name="connsiteX42" fmla="*/ 3638142 w 8636594"/>
              <a:gd name="connsiteY42" fmla="*/ 6121960 h 6658735"/>
              <a:gd name="connsiteX43" fmla="*/ 3680024 w 8636594"/>
              <a:gd name="connsiteY43" fmla="*/ 6099881 h 6658735"/>
              <a:gd name="connsiteX44" fmla="*/ 3721426 w 8636594"/>
              <a:gd name="connsiteY44" fmla="*/ 6077471 h 6658735"/>
              <a:gd name="connsiteX45" fmla="*/ 3762353 w 8636594"/>
              <a:gd name="connsiteY45" fmla="*/ 6054733 h 6658735"/>
              <a:gd name="connsiteX46" fmla="*/ 3802812 w 8636594"/>
              <a:gd name="connsiteY46" fmla="*/ 6031671 h 6658735"/>
              <a:gd name="connsiteX47" fmla="*/ 3842810 w 8636594"/>
              <a:gd name="connsiteY47" fmla="*/ 6008288 h 6658735"/>
              <a:gd name="connsiteX48" fmla="*/ 3882352 w 8636594"/>
              <a:gd name="connsiteY48" fmla="*/ 5984588 h 6658735"/>
              <a:gd name="connsiteX49" fmla="*/ 3921445 w 8636594"/>
              <a:gd name="connsiteY49" fmla="*/ 5960574 h 6658735"/>
              <a:gd name="connsiteX50" fmla="*/ 3960096 w 8636594"/>
              <a:gd name="connsiteY50" fmla="*/ 5936250 h 6658735"/>
              <a:gd name="connsiteX51" fmla="*/ 3998311 w 8636594"/>
              <a:gd name="connsiteY51" fmla="*/ 5911619 h 6658735"/>
              <a:gd name="connsiteX52" fmla="*/ 4036095 w 8636594"/>
              <a:gd name="connsiteY52" fmla="*/ 5886685 h 6658735"/>
              <a:gd name="connsiteX53" fmla="*/ 4073456 w 8636594"/>
              <a:gd name="connsiteY53" fmla="*/ 5861452 h 6658735"/>
              <a:gd name="connsiteX54" fmla="*/ 4110400 w 8636594"/>
              <a:gd name="connsiteY54" fmla="*/ 5835922 h 6658735"/>
              <a:gd name="connsiteX55" fmla="*/ 4146933 w 8636594"/>
              <a:gd name="connsiteY55" fmla="*/ 5810100 h 6658735"/>
              <a:gd name="connsiteX56" fmla="*/ 4183061 w 8636594"/>
              <a:gd name="connsiteY56" fmla="*/ 5783988 h 6658735"/>
              <a:gd name="connsiteX57" fmla="*/ 4218791 w 8636594"/>
              <a:gd name="connsiteY57" fmla="*/ 5757591 h 6658735"/>
              <a:gd name="connsiteX58" fmla="*/ 4254129 w 8636594"/>
              <a:gd name="connsiteY58" fmla="*/ 5730912 h 6658735"/>
              <a:gd name="connsiteX59" fmla="*/ 4289081 w 8636594"/>
              <a:gd name="connsiteY59" fmla="*/ 5703955 h 6658735"/>
              <a:gd name="connsiteX60" fmla="*/ 4323654 w 8636594"/>
              <a:gd name="connsiteY60" fmla="*/ 5676722 h 6658735"/>
              <a:gd name="connsiteX61" fmla="*/ 4357854 w 8636594"/>
              <a:gd name="connsiteY61" fmla="*/ 5649218 h 6658735"/>
              <a:gd name="connsiteX62" fmla="*/ 4391688 w 8636594"/>
              <a:gd name="connsiteY62" fmla="*/ 5621446 h 6658735"/>
              <a:gd name="connsiteX63" fmla="*/ 4425162 w 8636594"/>
              <a:gd name="connsiteY63" fmla="*/ 5593409 h 6658735"/>
              <a:gd name="connsiteX64" fmla="*/ 4458281 w 8636594"/>
              <a:gd name="connsiteY64" fmla="*/ 5565111 h 6658735"/>
              <a:gd name="connsiteX65" fmla="*/ 4491053 w 8636594"/>
              <a:gd name="connsiteY65" fmla="*/ 5536556 h 6658735"/>
              <a:gd name="connsiteX66" fmla="*/ 4523484 w 8636594"/>
              <a:gd name="connsiteY66" fmla="*/ 5507747 h 6658735"/>
              <a:gd name="connsiteX67" fmla="*/ 4555580 w 8636594"/>
              <a:gd name="connsiteY67" fmla="*/ 5478687 h 6658735"/>
              <a:gd name="connsiteX68" fmla="*/ 4587347 w 8636594"/>
              <a:gd name="connsiteY68" fmla="*/ 5449380 h 6658735"/>
              <a:gd name="connsiteX69" fmla="*/ 4618793 w 8636594"/>
              <a:gd name="connsiteY69" fmla="*/ 5419830 h 6658735"/>
              <a:gd name="connsiteX70" fmla="*/ 4649922 w 8636594"/>
              <a:gd name="connsiteY70" fmla="*/ 5390040 h 6658735"/>
              <a:gd name="connsiteX71" fmla="*/ 4680742 w 8636594"/>
              <a:gd name="connsiteY71" fmla="*/ 5360014 h 6658735"/>
              <a:gd name="connsiteX72" fmla="*/ 4711259 w 8636594"/>
              <a:gd name="connsiteY72" fmla="*/ 5329755 h 6658735"/>
              <a:gd name="connsiteX73" fmla="*/ 4741478 w 8636594"/>
              <a:gd name="connsiteY73" fmla="*/ 5299266 h 6658735"/>
              <a:gd name="connsiteX74" fmla="*/ 4771408 w 8636594"/>
              <a:gd name="connsiteY74" fmla="*/ 5268551 h 6658735"/>
              <a:gd name="connsiteX75" fmla="*/ 4801053 w 8636594"/>
              <a:gd name="connsiteY75" fmla="*/ 5237614 h 6658735"/>
              <a:gd name="connsiteX76" fmla="*/ 4830420 w 8636594"/>
              <a:gd name="connsiteY76" fmla="*/ 5206458 h 6658735"/>
              <a:gd name="connsiteX77" fmla="*/ 4859516 w 8636594"/>
              <a:gd name="connsiteY77" fmla="*/ 5175087 h 6658735"/>
              <a:gd name="connsiteX78" fmla="*/ 4888347 w 8636594"/>
              <a:gd name="connsiteY78" fmla="*/ 5143504 h 6658735"/>
              <a:gd name="connsiteX79" fmla="*/ 4916919 w 8636594"/>
              <a:gd name="connsiteY79" fmla="*/ 5111713 h 6658735"/>
              <a:gd name="connsiteX80" fmla="*/ 4945238 w 8636594"/>
              <a:gd name="connsiteY80" fmla="*/ 5079717 h 6658735"/>
              <a:gd name="connsiteX81" fmla="*/ 4973311 w 8636594"/>
              <a:gd name="connsiteY81" fmla="*/ 5047519 h 6658735"/>
              <a:gd name="connsiteX82" fmla="*/ 5001145 w 8636594"/>
              <a:gd name="connsiteY82" fmla="*/ 5015124 h 6658735"/>
              <a:gd name="connsiteX83" fmla="*/ 5028745 w 8636594"/>
              <a:gd name="connsiteY83" fmla="*/ 4982535 h 6658735"/>
              <a:gd name="connsiteX84" fmla="*/ 5056117 w 8636594"/>
              <a:gd name="connsiteY84" fmla="*/ 4949755 h 6658735"/>
              <a:gd name="connsiteX85" fmla="*/ 5083269 w 8636594"/>
              <a:gd name="connsiteY85" fmla="*/ 4916787 h 6658735"/>
              <a:gd name="connsiteX86" fmla="*/ 5110207 w 8636594"/>
              <a:gd name="connsiteY86" fmla="*/ 4883636 h 6658735"/>
              <a:gd name="connsiteX87" fmla="*/ 5136937 w 8636594"/>
              <a:gd name="connsiteY87" fmla="*/ 4850305 h 6658735"/>
              <a:gd name="connsiteX88" fmla="*/ 5163464 w 8636594"/>
              <a:gd name="connsiteY88" fmla="*/ 4816797 h 6658735"/>
              <a:gd name="connsiteX89" fmla="*/ 5215940 w 8636594"/>
              <a:gd name="connsiteY89" fmla="*/ 4749265 h 6658735"/>
              <a:gd name="connsiteX90" fmla="*/ 5267684 w 8636594"/>
              <a:gd name="connsiteY90" fmla="*/ 4681068 h 6658735"/>
              <a:gd name="connsiteX91" fmla="*/ 5318748 w 8636594"/>
              <a:gd name="connsiteY91" fmla="*/ 4612234 h 6658735"/>
              <a:gd name="connsiteX92" fmla="*/ 5369182 w 8636594"/>
              <a:gd name="connsiteY92" fmla="*/ 4542793 h 6658735"/>
              <a:gd name="connsiteX93" fmla="*/ 5419038 w 8636594"/>
              <a:gd name="connsiteY93" fmla="*/ 4472771 h 6658735"/>
              <a:gd name="connsiteX94" fmla="*/ 5468365 w 8636594"/>
              <a:gd name="connsiteY94" fmla="*/ 4402196 h 6658735"/>
              <a:gd name="connsiteX95" fmla="*/ 5517215 w 8636594"/>
              <a:gd name="connsiteY95" fmla="*/ 4331098 h 6658735"/>
              <a:gd name="connsiteX96" fmla="*/ 5565637 w 8636594"/>
              <a:gd name="connsiteY96" fmla="*/ 4259503 h 6658735"/>
              <a:gd name="connsiteX97" fmla="*/ 5613684 w 8636594"/>
              <a:gd name="connsiteY97" fmla="*/ 4187441 h 6658735"/>
              <a:gd name="connsiteX98" fmla="*/ 5685160 w 8636594"/>
              <a:gd name="connsiteY98" fmla="*/ 4078531 h 6658735"/>
              <a:gd name="connsiteX99" fmla="*/ 5756074 w 8636594"/>
              <a:gd name="connsiteY99" fmla="*/ 3968727 h 6658735"/>
              <a:gd name="connsiteX100" fmla="*/ 5873483 w 8636594"/>
              <a:gd name="connsiteY100" fmla="*/ 3783989 h 6658735"/>
              <a:gd name="connsiteX101" fmla="*/ 6203209 w 8636594"/>
              <a:gd name="connsiteY101" fmla="*/ 3258640 h 6658735"/>
              <a:gd name="connsiteX102" fmla="*/ 6299430 w 8636594"/>
              <a:gd name="connsiteY102" fmla="*/ 3107321 h 6658735"/>
              <a:gd name="connsiteX103" fmla="*/ 6372650 w 8636594"/>
              <a:gd name="connsiteY103" fmla="*/ 2993735 h 6658735"/>
              <a:gd name="connsiteX104" fmla="*/ 6453197 w 8636594"/>
              <a:gd name="connsiteY104" fmla="*/ 2869788 h 6658735"/>
              <a:gd name="connsiteX105" fmla="*/ 6564167 w 8636594"/>
              <a:gd name="connsiteY105" fmla="*/ 2696807 h 6658735"/>
              <a:gd name="connsiteX106" fmla="*/ 6976233 w 8636594"/>
              <a:gd name="connsiteY106" fmla="*/ 2045274 h 6658735"/>
              <a:gd name="connsiteX107" fmla="*/ 7086755 w 8636594"/>
              <a:gd name="connsiteY107" fmla="*/ 1872743 h 6658735"/>
              <a:gd name="connsiteX108" fmla="*/ 7170279 w 8636594"/>
              <a:gd name="connsiteY108" fmla="*/ 1744202 h 6658735"/>
              <a:gd name="connsiteX109" fmla="*/ 7226351 w 8636594"/>
              <a:gd name="connsiteY109" fmla="*/ 1659017 h 6658735"/>
              <a:gd name="connsiteX110" fmla="*/ 7282789 w 8636594"/>
              <a:gd name="connsiteY110" fmla="*/ 1574303 h 6658735"/>
              <a:gd name="connsiteX111" fmla="*/ 7339643 w 8636594"/>
              <a:gd name="connsiteY111" fmla="*/ 1490113 h 6658735"/>
              <a:gd name="connsiteX112" fmla="*/ 7396957 w 8636594"/>
              <a:gd name="connsiteY112" fmla="*/ 1406503 h 6658735"/>
              <a:gd name="connsiteX113" fmla="*/ 7454781 w 8636594"/>
              <a:gd name="connsiteY113" fmla="*/ 1323526 h 6658735"/>
              <a:gd name="connsiteX114" fmla="*/ 7513161 w 8636594"/>
              <a:gd name="connsiteY114" fmla="*/ 1241237 h 6658735"/>
              <a:gd name="connsiteX115" fmla="*/ 7572144 w 8636594"/>
              <a:gd name="connsiteY115" fmla="*/ 1159689 h 6658735"/>
              <a:gd name="connsiteX116" fmla="*/ 7601877 w 8636594"/>
              <a:gd name="connsiteY116" fmla="*/ 1119210 h 6658735"/>
              <a:gd name="connsiteX117" fmla="*/ 7631779 w 8636594"/>
              <a:gd name="connsiteY117" fmla="*/ 1078937 h 6658735"/>
              <a:gd name="connsiteX118" fmla="*/ 7661855 w 8636594"/>
              <a:gd name="connsiteY118" fmla="*/ 1038876 h 6658735"/>
              <a:gd name="connsiteX119" fmla="*/ 7692111 w 8636594"/>
              <a:gd name="connsiteY119" fmla="*/ 999035 h 6658735"/>
              <a:gd name="connsiteX120" fmla="*/ 7722554 w 8636594"/>
              <a:gd name="connsiteY120" fmla="*/ 959419 h 6658735"/>
              <a:gd name="connsiteX121" fmla="*/ 7753190 w 8636594"/>
              <a:gd name="connsiteY121" fmla="*/ 920037 h 6658735"/>
              <a:gd name="connsiteX122" fmla="*/ 7784023 w 8636594"/>
              <a:gd name="connsiteY122" fmla="*/ 880894 h 6658735"/>
              <a:gd name="connsiteX123" fmla="*/ 7815061 w 8636594"/>
              <a:gd name="connsiteY123" fmla="*/ 841997 h 6658735"/>
              <a:gd name="connsiteX124" fmla="*/ 7846308 w 8636594"/>
              <a:gd name="connsiteY124" fmla="*/ 803354 h 6658735"/>
              <a:gd name="connsiteX125" fmla="*/ 7877772 w 8636594"/>
              <a:gd name="connsiteY125" fmla="*/ 764970 h 6658735"/>
              <a:gd name="connsiteX126" fmla="*/ 7909458 w 8636594"/>
              <a:gd name="connsiteY126" fmla="*/ 726853 h 6658735"/>
              <a:gd name="connsiteX127" fmla="*/ 7941371 w 8636594"/>
              <a:gd name="connsiteY127" fmla="*/ 689010 h 6658735"/>
              <a:gd name="connsiteX128" fmla="*/ 7973518 w 8636594"/>
              <a:gd name="connsiteY128" fmla="*/ 651447 h 6658735"/>
              <a:gd name="connsiteX129" fmla="*/ 8005905 w 8636594"/>
              <a:gd name="connsiteY129" fmla="*/ 614171 h 6658735"/>
              <a:gd name="connsiteX130" fmla="*/ 8038538 w 8636594"/>
              <a:gd name="connsiteY130" fmla="*/ 577189 h 6658735"/>
              <a:gd name="connsiteX131" fmla="*/ 8071421 w 8636594"/>
              <a:gd name="connsiteY131" fmla="*/ 540507 h 6658735"/>
              <a:gd name="connsiteX132" fmla="*/ 8104563 w 8636594"/>
              <a:gd name="connsiteY132" fmla="*/ 504132 h 6658735"/>
              <a:gd name="connsiteX133" fmla="*/ 8137967 w 8636594"/>
              <a:gd name="connsiteY133" fmla="*/ 468072 h 6658735"/>
              <a:gd name="connsiteX134" fmla="*/ 8171641 w 8636594"/>
              <a:gd name="connsiteY134" fmla="*/ 432332 h 6658735"/>
              <a:gd name="connsiteX135" fmla="*/ 8205590 w 8636594"/>
              <a:gd name="connsiteY135" fmla="*/ 396920 h 6658735"/>
              <a:gd name="connsiteX136" fmla="*/ 8239820 w 8636594"/>
              <a:gd name="connsiteY136" fmla="*/ 361843 h 6658735"/>
              <a:gd name="connsiteX137" fmla="*/ 8274337 w 8636594"/>
              <a:gd name="connsiteY137" fmla="*/ 327107 h 6658735"/>
              <a:gd name="connsiteX138" fmla="*/ 8309147 w 8636594"/>
              <a:gd name="connsiteY138" fmla="*/ 292718 h 6658735"/>
              <a:gd name="connsiteX139" fmla="*/ 8344256 w 8636594"/>
              <a:gd name="connsiteY139" fmla="*/ 258685 h 6658735"/>
              <a:gd name="connsiteX140" fmla="*/ 8379669 w 8636594"/>
              <a:gd name="connsiteY140" fmla="*/ 225013 h 6658735"/>
              <a:gd name="connsiteX141" fmla="*/ 8415394 w 8636594"/>
              <a:gd name="connsiteY141" fmla="*/ 191709 h 6658735"/>
              <a:gd name="connsiteX142" fmla="*/ 8451434 w 8636594"/>
              <a:gd name="connsiteY142" fmla="*/ 158780 h 6658735"/>
              <a:gd name="connsiteX143" fmla="*/ 8487798 w 8636594"/>
              <a:gd name="connsiteY143" fmla="*/ 126233 h 6658735"/>
              <a:gd name="connsiteX144" fmla="*/ 8524489 w 8636594"/>
              <a:gd name="connsiteY144" fmla="*/ 94075 h 6658735"/>
              <a:gd name="connsiteX145" fmla="*/ 8561515 w 8636594"/>
              <a:gd name="connsiteY145" fmla="*/ 62312 h 6658735"/>
              <a:gd name="connsiteX146" fmla="*/ 8598881 w 8636594"/>
              <a:gd name="connsiteY146" fmla="*/ 30951 h 6658735"/>
              <a:gd name="connsiteX147" fmla="*/ 8636594 w 8636594"/>
              <a:gd name="connsiteY147" fmla="*/ 0 h 6658735"/>
              <a:gd name="connsiteX0" fmla="*/ 8636594 w 8636594"/>
              <a:gd name="connsiteY0" fmla="*/ 0 h 6650463"/>
              <a:gd name="connsiteX1" fmla="*/ 5293 w 8636594"/>
              <a:gd name="connsiteY1" fmla="*/ 0 h 6650463"/>
              <a:gd name="connsiteX2" fmla="*/ 0 w 8636594"/>
              <a:gd name="connsiteY2" fmla="*/ 5587843 h 6650463"/>
              <a:gd name="connsiteX3" fmla="*/ 1594033 w 8636594"/>
              <a:gd name="connsiteY3" fmla="*/ 5600057 h 6650463"/>
              <a:gd name="connsiteX4" fmla="*/ 1686068 w 8636594"/>
              <a:gd name="connsiteY4" fmla="*/ 5599745 h 6650463"/>
              <a:gd name="connsiteX5" fmla="*/ 1883237 w 8636594"/>
              <a:gd name="connsiteY5" fmla="*/ 5855484 h 6650463"/>
              <a:gd name="connsiteX6" fmla="*/ 2084977 w 8636594"/>
              <a:gd name="connsiteY6" fmla="*/ 5695440 h 6650463"/>
              <a:gd name="connsiteX7" fmla="*/ 2222486 w 8636594"/>
              <a:gd name="connsiteY7" fmla="*/ 5687627 h 6650463"/>
              <a:gd name="connsiteX8" fmla="*/ 1882914 w 8636594"/>
              <a:gd name="connsiteY8" fmla="*/ 6650463 h 6650463"/>
              <a:gd name="connsiteX9" fmla="*/ 1944909 w 8636594"/>
              <a:gd name="connsiteY9" fmla="*/ 6641737 h 6650463"/>
              <a:gd name="connsiteX10" fmla="*/ 2006208 w 8636594"/>
              <a:gd name="connsiteY10" fmla="*/ 6632561 h 6650463"/>
              <a:gd name="connsiteX11" fmla="*/ 2066817 w 8636594"/>
              <a:gd name="connsiteY11" fmla="*/ 6622937 h 6650463"/>
              <a:gd name="connsiteX12" fmla="*/ 2126742 w 8636594"/>
              <a:gd name="connsiteY12" fmla="*/ 6612869 h 6650463"/>
              <a:gd name="connsiteX13" fmla="*/ 2185991 w 8636594"/>
              <a:gd name="connsiteY13" fmla="*/ 6602362 h 6650463"/>
              <a:gd name="connsiteX14" fmla="*/ 2244569 w 8636594"/>
              <a:gd name="connsiteY14" fmla="*/ 6591417 h 6650463"/>
              <a:gd name="connsiteX15" fmla="*/ 2302482 w 8636594"/>
              <a:gd name="connsiteY15" fmla="*/ 6580040 h 6650463"/>
              <a:gd name="connsiteX16" fmla="*/ 2359737 w 8636594"/>
              <a:gd name="connsiteY16" fmla="*/ 6568233 h 6650463"/>
              <a:gd name="connsiteX17" fmla="*/ 2416341 w 8636594"/>
              <a:gd name="connsiteY17" fmla="*/ 6555999 h 6650463"/>
              <a:gd name="connsiteX18" fmla="*/ 2472299 w 8636594"/>
              <a:gd name="connsiteY18" fmla="*/ 6543344 h 6650463"/>
              <a:gd name="connsiteX19" fmla="*/ 2527618 w 8636594"/>
              <a:gd name="connsiteY19" fmla="*/ 6530269 h 6650463"/>
              <a:gd name="connsiteX20" fmla="*/ 2582304 w 8636594"/>
              <a:gd name="connsiteY20" fmla="*/ 6516778 h 6650463"/>
              <a:gd name="connsiteX21" fmla="*/ 2636364 w 8636594"/>
              <a:gd name="connsiteY21" fmla="*/ 6502876 h 6650463"/>
              <a:gd name="connsiteX22" fmla="*/ 2689804 w 8636594"/>
              <a:gd name="connsiteY22" fmla="*/ 6488565 h 6650463"/>
              <a:gd name="connsiteX23" fmla="*/ 2742629 w 8636594"/>
              <a:gd name="connsiteY23" fmla="*/ 6473849 h 6650463"/>
              <a:gd name="connsiteX24" fmla="*/ 2794848 w 8636594"/>
              <a:gd name="connsiteY24" fmla="*/ 6458731 h 6650463"/>
              <a:gd name="connsiteX25" fmla="*/ 2846466 w 8636594"/>
              <a:gd name="connsiteY25" fmla="*/ 6443216 h 6650463"/>
              <a:gd name="connsiteX26" fmla="*/ 2897488 w 8636594"/>
              <a:gd name="connsiteY26" fmla="*/ 6427305 h 6650463"/>
              <a:gd name="connsiteX27" fmla="*/ 2947923 w 8636594"/>
              <a:gd name="connsiteY27" fmla="*/ 6411004 h 6650463"/>
              <a:gd name="connsiteX28" fmla="*/ 2997775 w 8636594"/>
              <a:gd name="connsiteY28" fmla="*/ 6394316 h 6650463"/>
              <a:gd name="connsiteX29" fmla="*/ 3047052 w 8636594"/>
              <a:gd name="connsiteY29" fmla="*/ 6377243 h 6650463"/>
              <a:gd name="connsiteX30" fmla="*/ 3095759 w 8636594"/>
              <a:gd name="connsiteY30" fmla="*/ 6359791 h 6650463"/>
              <a:gd name="connsiteX31" fmla="*/ 3143903 w 8636594"/>
              <a:gd name="connsiteY31" fmla="*/ 6341961 h 6650463"/>
              <a:gd name="connsiteX32" fmla="*/ 3191491 w 8636594"/>
              <a:gd name="connsiteY32" fmla="*/ 6323757 h 6650463"/>
              <a:gd name="connsiteX33" fmla="*/ 3238528 w 8636594"/>
              <a:gd name="connsiteY33" fmla="*/ 6305184 h 6650463"/>
              <a:gd name="connsiteX34" fmla="*/ 3285021 w 8636594"/>
              <a:gd name="connsiteY34" fmla="*/ 6286245 h 6650463"/>
              <a:gd name="connsiteX35" fmla="*/ 3330977 w 8636594"/>
              <a:gd name="connsiteY35" fmla="*/ 6266942 h 6650463"/>
              <a:gd name="connsiteX36" fmla="*/ 3376401 w 8636594"/>
              <a:gd name="connsiteY36" fmla="*/ 6247281 h 6650463"/>
              <a:gd name="connsiteX37" fmla="*/ 3421300 w 8636594"/>
              <a:gd name="connsiteY37" fmla="*/ 6227263 h 6650463"/>
              <a:gd name="connsiteX38" fmla="*/ 3465680 w 8636594"/>
              <a:gd name="connsiteY38" fmla="*/ 6206893 h 6650463"/>
              <a:gd name="connsiteX39" fmla="*/ 3509548 w 8636594"/>
              <a:gd name="connsiteY39" fmla="*/ 6186174 h 6650463"/>
              <a:gd name="connsiteX40" fmla="*/ 3552910 w 8636594"/>
              <a:gd name="connsiteY40" fmla="*/ 6165110 h 6650463"/>
              <a:gd name="connsiteX41" fmla="*/ 3595773 w 8636594"/>
              <a:gd name="connsiteY41" fmla="*/ 6143704 h 6650463"/>
              <a:gd name="connsiteX42" fmla="*/ 3638142 w 8636594"/>
              <a:gd name="connsiteY42" fmla="*/ 6121960 h 6650463"/>
              <a:gd name="connsiteX43" fmla="*/ 3680024 w 8636594"/>
              <a:gd name="connsiteY43" fmla="*/ 6099881 h 6650463"/>
              <a:gd name="connsiteX44" fmla="*/ 3721426 w 8636594"/>
              <a:gd name="connsiteY44" fmla="*/ 6077471 h 6650463"/>
              <a:gd name="connsiteX45" fmla="*/ 3762353 w 8636594"/>
              <a:gd name="connsiteY45" fmla="*/ 6054733 h 6650463"/>
              <a:gd name="connsiteX46" fmla="*/ 3802812 w 8636594"/>
              <a:gd name="connsiteY46" fmla="*/ 6031671 h 6650463"/>
              <a:gd name="connsiteX47" fmla="*/ 3842810 w 8636594"/>
              <a:gd name="connsiteY47" fmla="*/ 6008288 h 6650463"/>
              <a:gd name="connsiteX48" fmla="*/ 3882352 w 8636594"/>
              <a:gd name="connsiteY48" fmla="*/ 5984588 h 6650463"/>
              <a:gd name="connsiteX49" fmla="*/ 3921445 w 8636594"/>
              <a:gd name="connsiteY49" fmla="*/ 5960574 h 6650463"/>
              <a:gd name="connsiteX50" fmla="*/ 3960096 w 8636594"/>
              <a:gd name="connsiteY50" fmla="*/ 5936250 h 6650463"/>
              <a:gd name="connsiteX51" fmla="*/ 3998311 w 8636594"/>
              <a:gd name="connsiteY51" fmla="*/ 5911619 h 6650463"/>
              <a:gd name="connsiteX52" fmla="*/ 4036095 w 8636594"/>
              <a:gd name="connsiteY52" fmla="*/ 5886685 h 6650463"/>
              <a:gd name="connsiteX53" fmla="*/ 4073456 w 8636594"/>
              <a:gd name="connsiteY53" fmla="*/ 5861452 h 6650463"/>
              <a:gd name="connsiteX54" fmla="*/ 4110400 w 8636594"/>
              <a:gd name="connsiteY54" fmla="*/ 5835922 h 6650463"/>
              <a:gd name="connsiteX55" fmla="*/ 4146933 w 8636594"/>
              <a:gd name="connsiteY55" fmla="*/ 5810100 h 6650463"/>
              <a:gd name="connsiteX56" fmla="*/ 4183061 w 8636594"/>
              <a:gd name="connsiteY56" fmla="*/ 5783988 h 6650463"/>
              <a:gd name="connsiteX57" fmla="*/ 4218791 w 8636594"/>
              <a:gd name="connsiteY57" fmla="*/ 5757591 h 6650463"/>
              <a:gd name="connsiteX58" fmla="*/ 4254129 w 8636594"/>
              <a:gd name="connsiteY58" fmla="*/ 5730912 h 6650463"/>
              <a:gd name="connsiteX59" fmla="*/ 4289081 w 8636594"/>
              <a:gd name="connsiteY59" fmla="*/ 5703955 h 6650463"/>
              <a:gd name="connsiteX60" fmla="*/ 4323654 w 8636594"/>
              <a:gd name="connsiteY60" fmla="*/ 5676722 h 6650463"/>
              <a:gd name="connsiteX61" fmla="*/ 4357854 w 8636594"/>
              <a:gd name="connsiteY61" fmla="*/ 5649218 h 6650463"/>
              <a:gd name="connsiteX62" fmla="*/ 4391688 w 8636594"/>
              <a:gd name="connsiteY62" fmla="*/ 5621446 h 6650463"/>
              <a:gd name="connsiteX63" fmla="*/ 4425162 w 8636594"/>
              <a:gd name="connsiteY63" fmla="*/ 5593409 h 6650463"/>
              <a:gd name="connsiteX64" fmla="*/ 4458281 w 8636594"/>
              <a:gd name="connsiteY64" fmla="*/ 5565111 h 6650463"/>
              <a:gd name="connsiteX65" fmla="*/ 4491053 w 8636594"/>
              <a:gd name="connsiteY65" fmla="*/ 5536556 h 6650463"/>
              <a:gd name="connsiteX66" fmla="*/ 4523484 w 8636594"/>
              <a:gd name="connsiteY66" fmla="*/ 5507747 h 6650463"/>
              <a:gd name="connsiteX67" fmla="*/ 4555580 w 8636594"/>
              <a:gd name="connsiteY67" fmla="*/ 5478687 h 6650463"/>
              <a:gd name="connsiteX68" fmla="*/ 4587347 w 8636594"/>
              <a:gd name="connsiteY68" fmla="*/ 5449380 h 6650463"/>
              <a:gd name="connsiteX69" fmla="*/ 4618793 w 8636594"/>
              <a:gd name="connsiteY69" fmla="*/ 5419830 h 6650463"/>
              <a:gd name="connsiteX70" fmla="*/ 4649922 w 8636594"/>
              <a:gd name="connsiteY70" fmla="*/ 5390040 h 6650463"/>
              <a:gd name="connsiteX71" fmla="*/ 4680742 w 8636594"/>
              <a:gd name="connsiteY71" fmla="*/ 5360014 h 6650463"/>
              <a:gd name="connsiteX72" fmla="*/ 4711259 w 8636594"/>
              <a:gd name="connsiteY72" fmla="*/ 5329755 h 6650463"/>
              <a:gd name="connsiteX73" fmla="*/ 4741478 w 8636594"/>
              <a:gd name="connsiteY73" fmla="*/ 5299266 h 6650463"/>
              <a:gd name="connsiteX74" fmla="*/ 4771408 w 8636594"/>
              <a:gd name="connsiteY74" fmla="*/ 5268551 h 6650463"/>
              <a:gd name="connsiteX75" fmla="*/ 4801053 w 8636594"/>
              <a:gd name="connsiteY75" fmla="*/ 5237614 h 6650463"/>
              <a:gd name="connsiteX76" fmla="*/ 4830420 w 8636594"/>
              <a:gd name="connsiteY76" fmla="*/ 5206458 h 6650463"/>
              <a:gd name="connsiteX77" fmla="*/ 4859516 w 8636594"/>
              <a:gd name="connsiteY77" fmla="*/ 5175087 h 6650463"/>
              <a:gd name="connsiteX78" fmla="*/ 4888347 w 8636594"/>
              <a:gd name="connsiteY78" fmla="*/ 5143504 h 6650463"/>
              <a:gd name="connsiteX79" fmla="*/ 4916919 w 8636594"/>
              <a:gd name="connsiteY79" fmla="*/ 5111713 h 6650463"/>
              <a:gd name="connsiteX80" fmla="*/ 4945238 w 8636594"/>
              <a:gd name="connsiteY80" fmla="*/ 5079717 h 6650463"/>
              <a:gd name="connsiteX81" fmla="*/ 4973311 w 8636594"/>
              <a:gd name="connsiteY81" fmla="*/ 5047519 h 6650463"/>
              <a:gd name="connsiteX82" fmla="*/ 5001145 w 8636594"/>
              <a:gd name="connsiteY82" fmla="*/ 5015124 h 6650463"/>
              <a:gd name="connsiteX83" fmla="*/ 5028745 w 8636594"/>
              <a:gd name="connsiteY83" fmla="*/ 4982535 h 6650463"/>
              <a:gd name="connsiteX84" fmla="*/ 5056117 w 8636594"/>
              <a:gd name="connsiteY84" fmla="*/ 4949755 h 6650463"/>
              <a:gd name="connsiteX85" fmla="*/ 5083269 w 8636594"/>
              <a:gd name="connsiteY85" fmla="*/ 4916787 h 6650463"/>
              <a:gd name="connsiteX86" fmla="*/ 5110207 w 8636594"/>
              <a:gd name="connsiteY86" fmla="*/ 4883636 h 6650463"/>
              <a:gd name="connsiteX87" fmla="*/ 5136937 w 8636594"/>
              <a:gd name="connsiteY87" fmla="*/ 4850305 h 6650463"/>
              <a:gd name="connsiteX88" fmla="*/ 5163464 w 8636594"/>
              <a:gd name="connsiteY88" fmla="*/ 4816797 h 6650463"/>
              <a:gd name="connsiteX89" fmla="*/ 5215940 w 8636594"/>
              <a:gd name="connsiteY89" fmla="*/ 4749265 h 6650463"/>
              <a:gd name="connsiteX90" fmla="*/ 5267684 w 8636594"/>
              <a:gd name="connsiteY90" fmla="*/ 4681068 h 6650463"/>
              <a:gd name="connsiteX91" fmla="*/ 5318748 w 8636594"/>
              <a:gd name="connsiteY91" fmla="*/ 4612234 h 6650463"/>
              <a:gd name="connsiteX92" fmla="*/ 5369182 w 8636594"/>
              <a:gd name="connsiteY92" fmla="*/ 4542793 h 6650463"/>
              <a:gd name="connsiteX93" fmla="*/ 5419038 w 8636594"/>
              <a:gd name="connsiteY93" fmla="*/ 4472771 h 6650463"/>
              <a:gd name="connsiteX94" fmla="*/ 5468365 w 8636594"/>
              <a:gd name="connsiteY94" fmla="*/ 4402196 h 6650463"/>
              <a:gd name="connsiteX95" fmla="*/ 5517215 w 8636594"/>
              <a:gd name="connsiteY95" fmla="*/ 4331098 h 6650463"/>
              <a:gd name="connsiteX96" fmla="*/ 5565637 w 8636594"/>
              <a:gd name="connsiteY96" fmla="*/ 4259503 h 6650463"/>
              <a:gd name="connsiteX97" fmla="*/ 5613684 w 8636594"/>
              <a:gd name="connsiteY97" fmla="*/ 4187441 h 6650463"/>
              <a:gd name="connsiteX98" fmla="*/ 5685160 w 8636594"/>
              <a:gd name="connsiteY98" fmla="*/ 4078531 h 6650463"/>
              <a:gd name="connsiteX99" fmla="*/ 5756074 w 8636594"/>
              <a:gd name="connsiteY99" fmla="*/ 3968727 h 6650463"/>
              <a:gd name="connsiteX100" fmla="*/ 5873483 w 8636594"/>
              <a:gd name="connsiteY100" fmla="*/ 3783989 h 6650463"/>
              <a:gd name="connsiteX101" fmla="*/ 6203209 w 8636594"/>
              <a:gd name="connsiteY101" fmla="*/ 3258640 h 6650463"/>
              <a:gd name="connsiteX102" fmla="*/ 6299430 w 8636594"/>
              <a:gd name="connsiteY102" fmla="*/ 3107321 h 6650463"/>
              <a:gd name="connsiteX103" fmla="*/ 6372650 w 8636594"/>
              <a:gd name="connsiteY103" fmla="*/ 2993735 h 6650463"/>
              <a:gd name="connsiteX104" fmla="*/ 6453197 w 8636594"/>
              <a:gd name="connsiteY104" fmla="*/ 2869788 h 6650463"/>
              <a:gd name="connsiteX105" fmla="*/ 6564167 w 8636594"/>
              <a:gd name="connsiteY105" fmla="*/ 2696807 h 6650463"/>
              <a:gd name="connsiteX106" fmla="*/ 6976233 w 8636594"/>
              <a:gd name="connsiteY106" fmla="*/ 2045274 h 6650463"/>
              <a:gd name="connsiteX107" fmla="*/ 7086755 w 8636594"/>
              <a:gd name="connsiteY107" fmla="*/ 1872743 h 6650463"/>
              <a:gd name="connsiteX108" fmla="*/ 7170279 w 8636594"/>
              <a:gd name="connsiteY108" fmla="*/ 1744202 h 6650463"/>
              <a:gd name="connsiteX109" fmla="*/ 7226351 w 8636594"/>
              <a:gd name="connsiteY109" fmla="*/ 1659017 h 6650463"/>
              <a:gd name="connsiteX110" fmla="*/ 7282789 w 8636594"/>
              <a:gd name="connsiteY110" fmla="*/ 1574303 h 6650463"/>
              <a:gd name="connsiteX111" fmla="*/ 7339643 w 8636594"/>
              <a:gd name="connsiteY111" fmla="*/ 1490113 h 6650463"/>
              <a:gd name="connsiteX112" fmla="*/ 7396957 w 8636594"/>
              <a:gd name="connsiteY112" fmla="*/ 1406503 h 6650463"/>
              <a:gd name="connsiteX113" fmla="*/ 7454781 w 8636594"/>
              <a:gd name="connsiteY113" fmla="*/ 1323526 h 6650463"/>
              <a:gd name="connsiteX114" fmla="*/ 7513161 w 8636594"/>
              <a:gd name="connsiteY114" fmla="*/ 1241237 h 6650463"/>
              <a:gd name="connsiteX115" fmla="*/ 7572144 w 8636594"/>
              <a:gd name="connsiteY115" fmla="*/ 1159689 h 6650463"/>
              <a:gd name="connsiteX116" fmla="*/ 7601877 w 8636594"/>
              <a:gd name="connsiteY116" fmla="*/ 1119210 h 6650463"/>
              <a:gd name="connsiteX117" fmla="*/ 7631779 w 8636594"/>
              <a:gd name="connsiteY117" fmla="*/ 1078937 h 6650463"/>
              <a:gd name="connsiteX118" fmla="*/ 7661855 w 8636594"/>
              <a:gd name="connsiteY118" fmla="*/ 1038876 h 6650463"/>
              <a:gd name="connsiteX119" fmla="*/ 7692111 w 8636594"/>
              <a:gd name="connsiteY119" fmla="*/ 999035 h 6650463"/>
              <a:gd name="connsiteX120" fmla="*/ 7722554 w 8636594"/>
              <a:gd name="connsiteY120" fmla="*/ 959419 h 6650463"/>
              <a:gd name="connsiteX121" fmla="*/ 7753190 w 8636594"/>
              <a:gd name="connsiteY121" fmla="*/ 920037 h 6650463"/>
              <a:gd name="connsiteX122" fmla="*/ 7784023 w 8636594"/>
              <a:gd name="connsiteY122" fmla="*/ 880894 h 6650463"/>
              <a:gd name="connsiteX123" fmla="*/ 7815061 w 8636594"/>
              <a:gd name="connsiteY123" fmla="*/ 841997 h 6650463"/>
              <a:gd name="connsiteX124" fmla="*/ 7846308 w 8636594"/>
              <a:gd name="connsiteY124" fmla="*/ 803354 h 6650463"/>
              <a:gd name="connsiteX125" fmla="*/ 7877772 w 8636594"/>
              <a:gd name="connsiteY125" fmla="*/ 764970 h 6650463"/>
              <a:gd name="connsiteX126" fmla="*/ 7909458 w 8636594"/>
              <a:gd name="connsiteY126" fmla="*/ 726853 h 6650463"/>
              <a:gd name="connsiteX127" fmla="*/ 7941371 w 8636594"/>
              <a:gd name="connsiteY127" fmla="*/ 689010 h 6650463"/>
              <a:gd name="connsiteX128" fmla="*/ 7973518 w 8636594"/>
              <a:gd name="connsiteY128" fmla="*/ 651447 h 6650463"/>
              <a:gd name="connsiteX129" fmla="*/ 8005905 w 8636594"/>
              <a:gd name="connsiteY129" fmla="*/ 614171 h 6650463"/>
              <a:gd name="connsiteX130" fmla="*/ 8038538 w 8636594"/>
              <a:gd name="connsiteY130" fmla="*/ 577189 h 6650463"/>
              <a:gd name="connsiteX131" fmla="*/ 8071421 w 8636594"/>
              <a:gd name="connsiteY131" fmla="*/ 540507 h 6650463"/>
              <a:gd name="connsiteX132" fmla="*/ 8104563 w 8636594"/>
              <a:gd name="connsiteY132" fmla="*/ 504132 h 6650463"/>
              <a:gd name="connsiteX133" fmla="*/ 8137967 w 8636594"/>
              <a:gd name="connsiteY133" fmla="*/ 468072 h 6650463"/>
              <a:gd name="connsiteX134" fmla="*/ 8171641 w 8636594"/>
              <a:gd name="connsiteY134" fmla="*/ 432332 h 6650463"/>
              <a:gd name="connsiteX135" fmla="*/ 8205590 w 8636594"/>
              <a:gd name="connsiteY135" fmla="*/ 396920 h 6650463"/>
              <a:gd name="connsiteX136" fmla="*/ 8239820 w 8636594"/>
              <a:gd name="connsiteY136" fmla="*/ 361843 h 6650463"/>
              <a:gd name="connsiteX137" fmla="*/ 8274337 w 8636594"/>
              <a:gd name="connsiteY137" fmla="*/ 327107 h 6650463"/>
              <a:gd name="connsiteX138" fmla="*/ 8309147 w 8636594"/>
              <a:gd name="connsiteY138" fmla="*/ 292718 h 6650463"/>
              <a:gd name="connsiteX139" fmla="*/ 8344256 w 8636594"/>
              <a:gd name="connsiteY139" fmla="*/ 258685 h 6650463"/>
              <a:gd name="connsiteX140" fmla="*/ 8379669 w 8636594"/>
              <a:gd name="connsiteY140" fmla="*/ 225013 h 6650463"/>
              <a:gd name="connsiteX141" fmla="*/ 8415394 w 8636594"/>
              <a:gd name="connsiteY141" fmla="*/ 191709 h 6650463"/>
              <a:gd name="connsiteX142" fmla="*/ 8451434 w 8636594"/>
              <a:gd name="connsiteY142" fmla="*/ 158780 h 6650463"/>
              <a:gd name="connsiteX143" fmla="*/ 8487798 w 8636594"/>
              <a:gd name="connsiteY143" fmla="*/ 126233 h 6650463"/>
              <a:gd name="connsiteX144" fmla="*/ 8524489 w 8636594"/>
              <a:gd name="connsiteY144" fmla="*/ 94075 h 6650463"/>
              <a:gd name="connsiteX145" fmla="*/ 8561515 w 8636594"/>
              <a:gd name="connsiteY145" fmla="*/ 62312 h 6650463"/>
              <a:gd name="connsiteX146" fmla="*/ 8598881 w 8636594"/>
              <a:gd name="connsiteY146" fmla="*/ 30951 h 6650463"/>
              <a:gd name="connsiteX147" fmla="*/ 8636594 w 8636594"/>
              <a:gd name="connsiteY147" fmla="*/ 0 h 6650463"/>
              <a:gd name="connsiteX0" fmla="*/ 8636594 w 8636594"/>
              <a:gd name="connsiteY0" fmla="*/ 0 h 6641737"/>
              <a:gd name="connsiteX1" fmla="*/ 5293 w 8636594"/>
              <a:gd name="connsiteY1" fmla="*/ 0 h 6641737"/>
              <a:gd name="connsiteX2" fmla="*/ 0 w 8636594"/>
              <a:gd name="connsiteY2" fmla="*/ 5587843 h 6641737"/>
              <a:gd name="connsiteX3" fmla="*/ 1594033 w 8636594"/>
              <a:gd name="connsiteY3" fmla="*/ 5600057 h 6641737"/>
              <a:gd name="connsiteX4" fmla="*/ 1686068 w 8636594"/>
              <a:gd name="connsiteY4" fmla="*/ 5599745 h 6641737"/>
              <a:gd name="connsiteX5" fmla="*/ 1883237 w 8636594"/>
              <a:gd name="connsiteY5" fmla="*/ 5855484 h 6641737"/>
              <a:gd name="connsiteX6" fmla="*/ 2084977 w 8636594"/>
              <a:gd name="connsiteY6" fmla="*/ 5695440 h 6641737"/>
              <a:gd name="connsiteX7" fmla="*/ 2222486 w 8636594"/>
              <a:gd name="connsiteY7" fmla="*/ 5687627 h 6641737"/>
              <a:gd name="connsiteX8" fmla="*/ 2412216 w 8636594"/>
              <a:gd name="connsiteY8" fmla="*/ 5587741 h 6641737"/>
              <a:gd name="connsiteX9" fmla="*/ 1944909 w 8636594"/>
              <a:gd name="connsiteY9" fmla="*/ 6641737 h 6641737"/>
              <a:gd name="connsiteX10" fmla="*/ 2006208 w 8636594"/>
              <a:gd name="connsiteY10" fmla="*/ 6632561 h 6641737"/>
              <a:gd name="connsiteX11" fmla="*/ 2066817 w 8636594"/>
              <a:gd name="connsiteY11" fmla="*/ 6622937 h 6641737"/>
              <a:gd name="connsiteX12" fmla="*/ 2126742 w 8636594"/>
              <a:gd name="connsiteY12" fmla="*/ 6612869 h 6641737"/>
              <a:gd name="connsiteX13" fmla="*/ 2185991 w 8636594"/>
              <a:gd name="connsiteY13" fmla="*/ 6602362 h 6641737"/>
              <a:gd name="connsiteX14" fmla="*/ 2244569 w 8636594"/>
              <a:gd name="connsiteY14" fmla="*/ 6591417 h 6641737"/>
              <a:gd name="connsiteX15" fmla="*/ 2302482 w 8636594"/>
              <a:gd name="connsiteY15" fmla="*/ 6580040 h 6641737"/>
              <a:gd name="connsiteX16" fmla="*/ 2359737 w 8636594"/>
              <a:gd name="connsiteY16" fmla="*/ 6568233 h 6641737"/>
              <a:gd name="connsiteX17" fmla="*/ 2416341 w 8636594"/>
              <a:gd name="connsiteY17" fmla="*/ 6555999 h 6641737"/>
              <a:gd name="connsiteX18" fmla="*/ 2472299 w 8636594"/>
              <a:gd name="connsiteY18" fmla="*/ 6543344 h 6641737"/>
              <a:gd name="connsiteX19" fmla="*/ 2527618 w 8636594"/>
              <a:gd name="connsiteY19" fmla="*/ 6530269 h 6641737"/>
              <a:gd name="connsiteX20" fmla="*/ 2582304 w 8636594"/>
              <a:gd name="connsiteY20" fmla="*/ 6516778 h 6641737"/>
              <a:gd name="connsiteX21" fmla="*/ 2636364 w 8636594"/>
              <a:gd name="connsiteY21" fmla="*/ 6502876 h 6641737"/>
              <a:gd name="connsiteX22" fmla="*/ 2689804 w 8636594"/>
              <a:gd name="connsiteY22" fmla="*/ 6488565 h 6641737"/>
              <a:gd name="connsiteX23" fmla="*/ 2742629 w 8636594"/>
              <a:gd name="connsiteY23" fmla="*/ 6473849 h 6641737"/>
              <a:gd name="connsiteX24" fmla="*/ 2794848 w 8636594"/>
              <a:gd name="connsiteY24" fmla="*/ 6458731 h 6641737"/>
              <a:gd name="connsiteX25" fmla="*/ 2846466 w 8636594"/>
              <a:gd name="connsiteY25" fmla="*/ 6443216 h 6641737"/>
              <a:gd name="connsiteX26" fmla="*/ 2897488 w 8636594"/>
              <a:gd name="connsiteY26" fmla="*/ 6427305 h 6641737"/>
              <a:gd name="connsiteX27" fmla="*/ 2947923 w 8636594"/>
              <a:gd name="connsiteY27" fmla="*/ 6411004 h 6641737"/>
              <a:gd name="connsiteX28" fmla="*/ 2997775 w 8636594"/>
              <a:gd name="connsiteY28" fmla="*/ 6394316 h 6641737"/>
              <a:gd name="connsiteX29" fmla="*/ 3047052 w 8636594"/>
              <a:gd name="connsiteY29" fmla="*/ 6377243 h 6641737"/>
              <a:gd name="connsiteX30" fmla="*/ 3095759 w 8636594"/>
              <a:gd name="connsiteY30" fmla="*/ 6359791 h 6641737"/>
              <a:gd name="connsiteX31" fmla="*/ 3143903 w 8636594"/>
              <a:gd name="connsiteY31" fmla="*/ 6341961 h 6641737"/>
              <a:gd name="connsiteX32" fmla="*/ 3191491 w 8636594"/>
              <a:gd name="connsiteY32" fmla="*/ 6323757 h 6641737"/>
              <a:gd name="connsiteX33" fmla="*/ 3238528 w 8636594"/>
              <a:gd name="connsiteY33" fmla="*/ 6305184 h 6641737"/>
              <a:gd name="connsiteX34" fmla="*/ 3285021 w 8636594"/>
              <a:gd name="connsiteY34" fmla="*/ 6286245 h 6641737"/>
              <a:gd name="connsiteX35" fmla="*/ 3330977 w 8636594"/>
              <a:gd name="connsiteY35" fmla="*/ 6266942 h 6641737"/>
              <a:gd name="connsiteX36" fmla="*/ 3376401 w 8636594"/>
              <a:gd name="connsiteY36" fmla="*/ 6247281 h 6641737"/>
              <a:gd name="connsiteX37" fmla="*/ 3421300 w 8636594"/>
              <a:gd name="connsiteY37" fmla="*/ 6227263 h 6641737"/>
              <a:gd name="connsiteX38" fmla="*/ 3465680 w 8636594"/>
              <a:gd name="connsiteY38" fmla="*/ 6206893 h 6641737"/>
              <a:gd name="connsiteX39" fmla="*/ 3509548 w 8636594"/>
              <a:gd name="connsiteY39" fmla="*/ 6186174 h 6641737"/>
              <a:gd name="connsiteX40" fmla="*/ 3552910 w 8636594"/>
              <a:gd name="connsiteY40" fmla="*/ 6165110 h 6641737"/>
              <a:gd name="connsiteX41" fmla="*/ 3595773 w 8636594"/>
              <a:gd name="connsiteY41" fmla="*/ 6143704 h 6641737"/>
              <a:gd name="connsiteX42" fmla="*/ 3638142 w 8636594"/>
              <a:gd name="connsiteY42" fmla="*/ 6121960 h 6641737"/>
              <a:gd name="connsiteX43" fmla="*/ 3680024 w 8636594"/>
              <a:gd name="connsiteY43" fmla="*/ 6099881 h 6641737"/>
              <a:gd name="connsiteX44" fmla="*/ 3721426 w 8636594"/>
              <a:gd name="connsiteY44" fmla="*/ 6077471 h 6641737"/>
              <a:gd name="connsiteX45" fmla="*/ 3762353 w 8636594"/>
              <a:gd name="connsiteY45" fmla="*/ 6054733 h 6641737"/>
              <a:gd name="connsiteX46" fmla="*/ 3802812 w 8636594"/>
              <a:gd name="connsiteY46" fmla="*/ 6031671 h 6641737"/>
              <a:gd name="connsiteX47" fmla="*/ 3842810 w 8636594"/>
              <a:gd name="connsiteY47" fmla="*/ 6008288 h 6641737"/>
              <a:gd name="connsiteX48" fmla="*/ 3882352 w 8636594"/>
              <a:gd name="connsiteY48" fmla="*/ 5984588 h 6641737"/>
              <a:gd name="connsiteX49" fmla="*/ 3921445 w 8636594"/>
              <a:gd name="connsiteY49" fmla="*/ 5960574 h 6641737"/>
              <a:gd name="connsiteX50" fmla="*/ 3960096 w 8636594"/>
              <a:gd name="connsiteY50" fmla="*/ 5936250 h 6641737"/>
              <a:gd name="connsiteX51" fmla="*/ 3998311 w 8636594"/>
              <a:gd name="connsiteY51" fmla="*/ 5911619 h 6641737"/>
              <a:gd name="connsiteX52" fmla="*/ 4036095 w 8636594"/>
              <a:gd name="connsiteY52" fmla="*/ 5886685 h 6641737"/>
              <a:gd name="connsiteX53" fmla="*/ 4073456 w 8636594"/>
              <a:gd name="connsiteY53" fmla="*/ 5861452 h 6641737"/>
              <a:gd name="connsiteX54" fmla="*/ 4110400 w 8636594"/>
              <a:gd name="connsiteY54" fmla="*/ 5835922 h 6641737"/>
              <a:gd name="connsiteX55" fmla="*/ 4146933 w 8636594"/>
              <a:gd name="connsiteY55" fmla="*/ 5810100 h 6641737"/>
              <a:gd name="connsiteX56" fmla="*/ 4183061 w 8636594"/>
              <a:gd name="connsiteY56" fmla="*/ 5783988 h 6641737"/>
              <a:gd name="connsiteX57" fmla="*/ 4218791 w 8636594"/>
              <a:gd name="connsiteY57" fmla="*/ 5757591 h 6641737"/>
              <a:gd name="connsiteX58" fmla="*/ 4254129 w 8636594"/>
              <a:gd name="connsiteY58" fmla="*/ 5730912 h 6641737"/>
              <a:gd name="connsiteX59" fmla="*/ 4289081 w 8636594"/>
              <a:gd name="connsiteY59" fmla="*/ 5703955 h 6641737"/>
              <a:gd name="connsiteX60" fmla="*/ 4323654 w 8636594"/>
              <a:gd name="connsiteY60" fmla="*/ 5676722 h 6641737"/>
              <a:gd name="connsiteX61" fmla="*/ 4357854 w 8636594"/>
              <a:gd name="connsiteY61" fmla="*/ 5649218 h 6641737"/>
              <a:gd name="connsiteX62" fmla="*/ 4391688 w 8636594"/>
              <a:gd name="connsiteY62" fmla="*/ 5621446 h 6641737"/>
              <a:gd name="connsiteX63" fmla="*/ 4425162 w 8636594"/>
              <a:gd name="connsiteY63" fmla="*/ 5593409 h 6641737"/>
              <a:gd name="connsiteX64" fmla="*/ 4458281 w 8636594"/>
              <a:gd name="connsiteY64" fmla="*/ 5565111 h 6641737"/>
              <a:gd name="connsiteX65" fmla="*/ 4491053 w 8636594"/>
              <a:gd name="connsiteY65" fmla="*/ 5536556 h 6641737"/>
              <a:gd name="connsiteX66" fmla="*/ 4523484 w 8636594"/>
              <a:gd name="connsiteY66" fmla="*/ 5507747 h 6641737"/>
              <a:gd name="connsiteX67" fmla="*/ 4555580 w 8636594"/>
              <a:gd name="connsiteY67" fmla="*/ 5478687 h 6641737"/>
              <a:gd name="connsiteX68" fmla="*/ 4587347 w 8636594"/>
              <a:gd name="connsiteY68" fmla="*/ 5449380 h 6641737"/>
              <a:gd name="connsiteX69" fmla="*/ 4618793 w 8636594"/>
              <a:gd name="connsiteY69" fmla="*/ 5419830 h 6641737"/>
              <a:gd name="connsiteX70" fmla="*/ 4649922 w 8636594"/>
              <a:gd name="connsiteY70" fmla="*/ 5390040 h 6641737"/>
              <a:gd name="connsiteX71" fmla="*/ 4680742 w 8636594"/>
              <a:gd name="connsiteY71" fmla="*/ 5360014 h 6641737"/>
              <a:gd name="connsiteX72" fmla="*/ 4711259 w 8636594"/>
              <a:gd name="connsiteY72" fmla="*/ 5329755 h 6641737"/>
              <a:gd name="connsiteX73" fmla="*/ 4741478 w 8636594"/>
              <a:gd name="connsiteY73" fmla="*/ 5299266 h 6641737"/>
              <a:gd name="connsiteX74" fmla="*/ 4771408 w 8636594"/>
              <a:gd name="connsiteY74" fmla="*/ 5268551 h 6641737"/>
              <a:gd name="connsiteX75" fmla="*/ 4801053 w 8636594"/>
              <a:gd name="connsiteY75" fmla="*/ 5237614 h 6641737"/>
              <a:gd name="connsiteX76" fmla="*/ 4830420 w 8636594"/>
              <a:gd name="connsiteY76" fmla="*/ 5206458 h 6641737"/>
              <a:gd name="connsiteX77" fmla="*/ 4859516 w 8636594"/>
              <a:gd name="connsiteY77" fmla="*/ 5175087 h 6641737"/>
              <a:gd name="connsiteX78" fmla="*/ 4888347 w 8636594"/>
              <a:gd name="connsiteY78" fmla="*/ 5143504 h 6641737"/>
              <a:gd name="connsiteX79" fmla="*/ 4916919 w 8636594"/>
              <a:gd name="connsiteY79" fmla="*/ 5111713 h 6641737"/>
              <a:gd name="connsiteX80" fmla="*/ 4945238 w 8636594"/>
              <a:gd name="connsiteY80" fmla="*/ 5079717 h 6641737"/>
              <a:gd name="connsiteX81" fmla="*/ 4973311 w 8636594"/>
              <a:gd name="connsiteY81" fmla="*/ 5047519 h 6641737"/>
              <a:gd name="connsiteX82" fmla="*/ 5001145 w 8636594"/>
              <a:gd name="connsiteY82" fmla="*/ 5015124 h 6641737"/>
              <a:gd name="connsiteX83" fmla="*/ 5028745 w 8636594"/>
              <a:gd name="connsiteY83" fmla="*/ 4982535 h 6641737"/>
              <a:gd name="connsiteX84" fmla="*/ 5056117 w 8636594"/>
              <a:gd name="connsiteY84" fmla="*/ 4949755 h 6641737"/>
              <a:gd name="connsiteX85" fmla="*/ 5083269 w 8636594"/>
              <a:gd name="connsiteY85" fmla="*/ 4916787 h 6641737"/>
              <a:gd name="connsiteX86" fmla="*/ 5110207 w 8636594"/>
              <a:gd name="connsiteY86" fmla="*/ 4883636 h 6641737"/>
              <a:gd name="connsiteX87" fmla="*/ 5136937 w 8636594"/>
              <a:gd name="connsiteY87" fmla="*/ 4850305 h 6641737"/>
              <a:gd name="connsiteX88" fmla="*/ 5163464 w 8636594"/>
              <a:gd name="connsiteY88" fmla="*/ 4816797 h 6641737"/>
              <a:gd name="connsiteX89" fmla="*/ 5215940 w 8636594"/>
              <a:gd name="connsiteY89" fmla="*/ 4749265 h 6641737"/>
              <a:gd name="connsiteX90" fmla="*/ 5267684 w 8636594"/>
              <a:gd name="connsiteY90" fmla="*/ 4681068 h 6641737"/>
              <a:gd name="connsiteX91" fmla="*/ 5318748 w 8636594"/>
              <a:gd name="connsiteY91" fmla="*/ 4612234 h 6641737"/>
              <a:gd name="connsiteX92" fmla="*/ 5369182 w 8636594"/>
              <a:gd name="connsiteY92" fmla="*/ 4542793 h 6641737"/>
              <a:gd name="connsiteX93" fmla="*/ 5419038 w 8636594"/>
              <a:gd name="connsiteY93" fmla="*/ 4472771 h 6641737"/>
              <a:gd name="connsiteX94" fmla="*/ 5468365 w 8636594"/>
              <a:gd name="connsiteY94" fmla="*/ 4402196 h 6641737"/>
              <a:gd name="connsiteX95" fmla="*/ 5517215 w 8636594"/>
              <a:gd name="connsiteY95" fmla="*/ 4331098 h 6641737"/>
              <a:gd name="connsiteX96" fmla="*/ 5565637 w 8636594"/>
              <a:gd name="connsiteY96" fmla="*/ 4259503 h 6641737"/>
              <a:gd name="connsiteX97" fmla="*/ 5613684 w 8636594"/>
              <a:gd name="connsiteY97" fmla="*/ 4187441 h 6641737"/>
              <a:gd name="connsiteX98" fmla="*/ 5685160 w 8636594"/>
              <a:gd name="connsiteY98" fmla="*/ 4078531 h 6641737"/>
              <a:gd name="connsiteX99" fmla="*/ 5756074 w 8636594"/>
              <a:gd name="connsiteY99" fmla="*/ 3968727 h 6641737"/>
              <a:gd name="connsiteX100" fmla="*/ 5873483 w 8636594"/>
              <a:gd name="connsiteY100" fmla="*/ 3783989 h 6641737"/>
              <a:gd name="connsiteX101" fmla="*/ 6203209 w 8636594"/>
              <a:gd name="connsiteY101" fmla="*/ 3258640 h 6641737"/>
              <a:gd name="connsiteX102" fmla="*/ 6299430 w 8636594"/>
              <a:gd name="connsiteY102" fmla="*/ 3107321 h 6641737"/>
              <a:gd name="connsiteX103" fmla="*/ 6372650 w 8636594"/>
              <a:gd name="connsiteY103" fmla="*/ 2993735 h 6641737"/>
              <a:gd name="connsiteX104" fmla="*/ 6453197 w 8636594"/>
              <a:gd name="connsiteY104" fmla="*/ 2869788 h 6641737"/>
              <a:gd name="connsiteX105" fmla="*/ 6564167 w 8636594"/>
              <a:gd name="connsiteY105" fmla="*/ 2696807 h 6641737"/>
              <a:gd name="connsiteX106" fmla="*/ 6976233 w 8636594"/>
              <a:gd name="connsiteY106" fmla="*/ 2045274 h 6641737"/>
              <a:gd name="connsiteX107" fmla="*/ 7086755 w 8636594"/>
              <a:gd name="connsiteY107" fmla="*/ 1872743 h 6641737"/>
              <a:gd name="connsiteX108" fmla="*/ 7170279 w 8636594"/>
              <a:gd name="connsiteY108" fmla="*/ 1744202 h 6641737"/>
              <a:gd name="connsiteX109" fmla="*/ 7226351 w 8636594"/>
              <a:gd name="connsiteY109" fmla="*/ 1659017 h 6641737"/>
              <a:gd name="connsiteX110" fmla="*/ 7282789 w 8636594"/>
              <a:gd name="connsiteY110" fmla="*/ 1574303 h 6641737"/>
              <a:gd name="connsiteX111" fmla="*/ 7339643 w 8636594"/>
              <a:gd name="connsiteY111" fmla="*/ 1490113 h 6641737"/>
              <a:gd name="connsiteX112" fmla="*/ 7396957 w 8636594"/>
              <a:gd name="connsiteY112" fmla="*/ 1406503 h 6641737"/>
              <a:gd name="connsiteX113" fmla="*/ 7454781 w 8636594"/>
              <a:gd name="connsiteY113" fmla="*/ 1323526 h 6641737"/>
              <a:gd name="connsiteX114" fmla="*/ 7513161 w 8636594"/>
              <a:gd name="connsiteY114" fmla="*/ 1241237 h 6641737"/>
              <a:gd name="connsiteX115" fmla="*/ 7572144 w 8636594"/>
              <a:gd name="connsiteY115" fmla="*/ 1159689 h 6641737"/>
              <a:gd name="connsiteX116" fmla="*/ 7601877 w 8636594"/>
              <a:gd name="connsiteY116" fmla="*/ 1119210 h 6641737"/>
              <a:gd name="connsiteX117" fmla="*/ 7631779 w 8636594"/>
              <a:gd name="connsiteY117" fmla="*/ 1078937 h 6641737"/>
              <a:gd name="connsiteX118" fmla="*/ 7661855 w 8636594"/>
              <a:gd name="connsiteY118" fmla="*/ 1038876 h 6641737"/>
              <a:gd name="connsiteX119" fmla="*/ 7692111 w 8636594"/>
              <a:gd name="connsiteY119" fmla="*/ 999035 h 6641737"/>
              <a:gd name="connsiteX120" fmla="*/ 7722554 w 8636594"/>
              <a:gd name="connsiteY120" fmla="*/ 959419 h 6641737"/>
              <a:gd name="connsiteX121" fmla="*/ 7753190 w 8636594"/>
              <a:gd name="connsiteY121" fmla="*/ 920037 h 6641737"/>
              <a:gd name="connsiteX122" fmla="*/ 7784023 w 8636594"/>
              <a:gd name="connsiteY122" fmla="*/ 880894 h 6641737"/>
              <a:gd name="connsiteX123" fmla="*/ 7815061 w 8636594"/>
              <a:gd name="connsiteY123" fmla="*/ 841997 h 6641737"/>
              <a:gd name="connsiteX124" fmla="*/ 7846308 w 8636594"/>
              <a:gd name="connsiteY124" fmla="*/ 803354 h 6641737"/>
              <a:gd name="connsiteX125" fmla="*/ 7877772 w 8636594"/>
              <a:gd name="connsiteY125" fmla="*/ 764970 h 6641737"/>
              <a:gd name="connsiteX126" fmla="*/ 7909458 w 8636594"/>
              <a:gd name="connsiteY126" fmla="*/ 726853 h 6641737"/>
              <a:gd name="connsiteX127" fmla="*/ 7941371 w 8636594"/>
              <a:gd name="connsiteY127" fmla="*/ 689010 h 6641737"/>
              <a:gd name="connsiteX128" fmla="*/ 7973518 w 8636594"/>
              <a:gd name="connsiteY128" fmla="*/ 651447 h 6641737"/>
              <a:gd name="connsiteX129" fmla="*/ 8005905 w 8636594"/>
              <a:gd name="connsiteY129" fmla="*/ 614171 h 6641737"/>
              <a:gd name="connsiteX130" fmla="*/ 8038538 w 8636594"/>
              <a:gd name="connsiteY130" fmla="*/ 577189 h 6641737"/>
              <a:gd name="connsiteX131" fmla="*/ 8071421 w 8636594"/>
              <a:gd name="connsiteY131" fmla="*/ 540507 h 6641737"/>
              <a:gd name="connsiteX132" fmla="*/ 8104563 w 8636594"/>
              <a:gd name="connsiteY132" fmla="*/ 504132 h 6641737"/>
              <a:gd name="connsiteX133" fmla="*/ 8137967 w 8636594"/>
              <a:gd name="connsiteY133" fmla="*/ 468072 h 6641737"/>
              <a:gd name="connsiteX134" fmla="*/ 8171641 w 8636594"/>
              <a:gd name="connsiteY134" fmla="*/ 432332 h 6641737"/>
              <a:gd name="connsiteX135" fmla="*/ 8205590 w 8636594"/>
              <a:gd name="connsiteY135" fmla="*/ 396920 h 6641737"/>
              <a:gd name="connsiteX136" fmla="*/ 8239820 w 8636594"/>
              <a:gd name="connsiteY136" fmla="*/ 361843 h 6641737"/>
              <a:gd name="connsiteX137" fmla="*/ 8274337 w 8636594"/>
              <a:gd name="connsiteY137" fmla="*/ 327107 h 6641737"/>
              <a:gd name="connsiteX138" fmla="*/ 8309147 w 8636594"/>
              <a:gd name="connsiteY138" fmla="*/ 292718 h 6641737"/>
              <a:gd name="connsiteX139" fmla="*/ 8344256 w 8636594"/>
              <a:gd name="connsiteY139" fmla="*/ 258685 h 6641737"/>
              <a:gd name="connsiteX140" fmla="*/ 8379669 w 8636594"/>
              <a:gd name="connsiteY140" fmla="*/ 225013 h 6641737"/>
              <a:gd name="connsiteX141" fmla="*/ 8415394 w 8636594"/>
              <a:gd name="connsiteY141" fmla="*/ 191709 h 6641737"/>
              <a:gd name="connsiteX142" fmla="*/ 8451434 w 8636594"/>
              <a:gd name="connsiteY142" fmla="*/ 158780 h 6641737"/>
              <a:gd name="connsiteX143" fmla="*/ 8487798 w 8636594"/>
              <a:gd name="connsiteY143" fmla="*/ 126233 h 6641737"/>
              <a:gd name="connsiteX144" fmla="*/ 8524489 w 8636594"/>
              <a:gd name="connsiteY144" fmla="*/ 94075 h 6641737"/>
              <a:gd name="connsiteX145" fmla="*/ 8561515 w 8636594"/>
              <a:gd name="connsiteY145" fmla="*/ 62312 h 6641737"/>
              <a:gd name="connsiteX146" fmla="*/ 8598881 w 8636594"/>
              <a:gd name="connsiteY146" fmla="*/ 30951 h 6641737"/>
              <a:gd name="connsiteX147" fmla="*/ 8636594 w 8636594"/>
              <a:gd name="connsiteY147" fmla="*/ 0 h 6641737"/>
              <a:gd name="connsiteX0" fmla="*/ 8636594 w 8636594"/>
              <a:gd name="connsiteY0" fmla="*/ 0 h 6632561"/>
              <a:gd name="connsiteX1" fmla="*/ 5293 w 8636594"/>
              <a:gd name="connsiteY1" fmla="*/ 0 h 6632561"/>
              <a:gd name="connsiteX2" fmla="*/ 0 w 8636594"/>
              <a:gd name="connsiteY2" fmla="*/ 5587843 h 6632561"/>
              <a:gd name="connsiteX3" fmla="*/ 1594033 w 8636594"/>
              <a:gd name="connsiteY3" fmla="*/ 5600057 h 6632561"/>
              <a:gd name="connsiteX4" fmla="*/ 1686068 w 8636594"/>
              <a:gd name="connsiteY4" fmla="*/ 5599745 h 6632561"/>
              <a:gd name="connsiteX5" fmla="*/ 1883237 w 8636594"/>
              <a:gd name="connsiteY5" fmla="*/ 5855484 h 6632561"/>
              <a:gd name="connsiteX6" fmla="*/ 2084977 w 8636594"/>
              <a:gd name="connsiteY6" fmla="*/ 5695440 h 6632561"/>
              <a:gd name="connsiteX7" fmla="*/ 2222486 w 8636594"/>
              <a:gd name="connsiteY7" fmla="*/ 5687627 h 6632561"/>
              <a:gd name="connsiteX8" fmla="*/ 2412216 w 8636594"/>
              <a:gd name="connsiteY8" fmla="*/ 5587741 h 6632561"/>
              <a:gd name="connsiteX9" fmla="*/ 2490090 w 8636594"/>
              <a:gd name="connsiteY9" fmla="*/ 5591230 h 6632561"/>
              <a:gd name="connsiteX10" fmla="*/ 2006208 w 8636594"/>
              <a:gd name="connsiteY10" fmla="*/ 6632561 h 6632561"/>
              <a:gd name="connsiteX11" fmla="*/ 2066817 w 8636594"/>
              <a:gd name="connsiteY11" fmla="*/ 6622937 h 6632561"/>
              <a:gd name="connsiteX12" fmla="*/ 2126742 w 8636594"/>
              <a:gd name="connsiteY12" fmla="*/ 6612869 h 6632561"/>
              <a:gd name="connsiteX13" fmla="*/ 2185991 w 8636594"/>
              <a:gd name="connsiteY13" fmla="*/ 6602362 h 6632561"/>
              <a:gd name="connsiteX14" fmla="*/ 2244569 w 8636594"/>
              <a:gd name="connsiteY14" fmla="*/ 6591417 h 6632561"/>
              <a:gd name="connsiteX15" fmla="*/ 2302482 w 8636594"/>
              <a:gd name="connsiteY15" fmla="*/ 6580040 h 6632561"/>
              <a:gd name="connsiteX16" fmla="*/ 2359737 w 8636594"/>
              <a:gd name="connsiteY16" fmla="*/ 6568233 h 6632561"/>
              <a:gd name="connsiteX17" fmla="*/ 2416341 w 8636594"/>
              <a:gd name="connsiteY17" fmla="*/ 6555999 h 6632561"/>
              <a:gd name="connsiteX18" fmla="*/ 2472299 w 8636594"/>
              <a:gd name="connsiteY18" fmla="*/ 6543344 h 6632561"/>
              <a:gd name="connsiteX19" fmla="*/ 2527618 w 8636594"/>
              <a:gd name="connsiteY19" fmla="*/ 6530269 h 6632561"/>
              <a:gd name="connsiteX20" fmla="*/ 2582304 w 8636594"/>
              <a:gd name="connsiteY20" fmla="*/ 6516778 h 6632561"/>
              <a:gd name="connsiteX21" fmla="*/ 2636364 w 8636594"/>
              <a:gd name="connsiteY21" fmla="*/ 6502876 h 6632561"/>
              <a:gd name="connsiteX22" fmla="*/ 2689804 w 8636594"/>
              <a:gd name="connsiteY22" fmla="*/ 6488565 h 6632561"/>
              <a:gd name="connsiteX23" fmla="*/ 2742629 w 8636594"/>
              <a:gd name="connsiteY23" fmla="*/ 6473849 h 6632561"/>
              <a:gd name="connsiteX24" fmla="*/ 2794848 w 8636594"/>
              <a:gd name="connsiteY24" fmla="*/ 6458731 h 6632561"/>
              <a:gd name="connsiteX25" fmla="*/ 2846466 w 8636594"/>
              <a:gd name="connsiteY25" fmla="*/ 6443216 h 6632561"/>
              <a:gd name="connsiteX26" fmla="*/ 2897488 w 8636594"/>
              <a:gd name="connsiteY26" fmla="*/ 6427305 h 6632561"/>
              <a:gd name="connsiteX27" fmla="*/ 2947923 w 8636594"/>
              <a:gd name="connsiteY27" fmla="*/ 6411004 h 6632561"/>
              <a:gd name="connsiteX28" fmla="*/ 2997775 w 8636594"/>
              <a:gd name="connsiteY28" fmla="*/ 6394316 h 6632561"/>
              <a:gd name="connsiteX29" fmla="*/ 3047052 w 8636594"/>
              <a:gd name="connsiteY29" fmla="*/ 6377243 h 6632561"/>
              <a:gd name="connsiteX30" fmla="*/ 3095759 w 8636594"/>
              <a:gd name="connsiteY30" fmla="*/ 6359791 h 6632561"/>
              <a:gd name="connsiteX31" fmla="*/ 3143903 w 8636594"/>
              <a:gd name="connsiteY31" fmla="*/ 6341961 h 6632561"/>
              <a:gd name="connsiteX32" fmla="*/ 3191491 w 8636594"/>
              <a:gd name="connsiteY32" fmla="*/ 6323757 h 6632561"/>
              <a:gd name="connsiteX33" fmla="*/ 3238528 w 8636594"/>
              <a:gd name="connsiteY33" fmla="*/ 6305184 h 6632561"/>
              <a:gd name="connsiteX34" fmla="*/ 3285021 w 8636594"/>
              <a:gd name="connsiteY34" fmla="*/ 6286245 h 6632561"/>
              <a:gd name="connsiteX35" fmla="*/ 3330977 w 8636594"/>
              <a:gd name="connsiteY35" fmla="*/ 6266942 h 6632561"/>
              <a:gd name="connsiteX36" fmla="*/ 3376401 w 8636594"/>
              <a:gd name="connsiteY36" fmla="*/ 6247281 h 6632561"/>
              <a:gd name="connsiteX37" fmla="*/ 3421300 w 8636594"/>
              <a:gd name="connsiteY37" fmla="*/ 6227263 h 6632561"/>
              <a:gd name="connsiteX38" fmla="*/ 3465680 w 8636594"/>
              <a:gd name="connsiteY38" fmla="*/ 6206893 h 6632561"/>
              <a:gd name="connsiteX39" fmla="*/ 3509548 w 8636594"/>
              <a:gd name="connsiteY39" fmla="*/ 6186174 h 6632561"/>
              <a:gd name="connsiteX40" fmla="*/ 3552910 w 8636594"/>
              <a:gd name="connsiteY40" fmla="*/ 6165110 h 6632561"/>
              <a:gd name="connsiteX41" fmla="*/ 3595773 w 8636594"/>
              <a:gd name="connsiteY41" fmla="*/ 6143704 h 6632561"/>
              <a:gd name="connsiteX42" fmla="*/ 3638142 w 8636594"/>
              <a:gd name="connsiteY42" fmla="*/ 6121960 h 6632561"/>
              <a:gd name="connsiteX43" fmla="*/ 3680024 w 8636594"/>
              <a:gd name="connsiteY43" fmla="*/ 6099881 h 6632561"/>
              <a:gd name="connsiteX44" fmla="*/ 3721426 w 8636594"/>
              <a:gd name="connsiteY44" fmla="*/ 6077471 h 6632561"/>
              <a:gd name="connsiteX45" fmla="*/ 3762353 w 8636594"/>
              <a:gd name="connsiteY45" fmla="*/ 6054733 h 6632561"/>
              <a:gd name="connsiteX46" fmla="*/ 3802812 w 8636594"/>
              <a:gd name="connsiteY46" fmla="*/ 6031671 h 6632561"/>
              <a:gd name="connsiteX47" fmla="*/ 3842810 w 8636594"/>
              <a:gd name="connsiteY47" fmla="*/ 6008288 h 6632561"/>
              <a:gd name="connsiteX48" fmla="*/ 3882352 w 8636594"/>
              <a:gd name="connsiteY48" fmla="*/ 5984588 h 6632561"/>
              <a:gd name="connsiteX49" fmla="*/ 3921445 w 8636594"/>
              <a:gd name="connsiteY49" fmla="*/ 5960574 h 6632561"/>
              <a:gd name="connsiteX50" fmla="*/ 3960096 w 8636594"/>
              <a:gd name="connsiteY50" fmla="*/ 5936250 h 6632561"/>
              <a:gd name="connsiteX51" fmla="*/ 3998311 w 8636594"/>
              <a:gd name="connsiteY51" fmla="*/ 5911619 h 6632561"/>
              <a:gd name="connsiteX52" fmla="*/ 4036095 w 8636594"/>
              <a:gd name="connsiteY52" fmla="*/ 5886685 h 6632561"/>
              <a:gd name="connsiteX53" fmla="*/ 4073456 w 8636594"/>
              <a:gd name="connsiteY53" fmla="*/ 5861452 h 6632561"/>
              <a:gd name="connsiteX54" fmla="*/ 4110400 w 8636594"/>
              <a:gd name="connsiteY54" fmla="*/ 5835922 h 6632561"/>
              <a:gd name="connsiteX55" fmla="*/ 4146933 w 8636594"/>
              <a:gd name="connsiteY55" fmla="*/ 5810100 h 6632561"/>
              <a:gd name="connsiteX56" fmla="*/ 4183061 w 8636594"/>
              <a:gd name="connsiteY56" fmla="*/ 5783988 h 6632561"/>
              <a:gd name="connsiteX57" fmla="*/ 4218791 w 8636594"/>
              <a:gd name="connsiteY57" fmla="*/ 5757591 h 6632561"/>
              <a:gd name="connsiteX58" fmla="*/ 4254129 w 8636594"/>
              <a:gd name="connsiteY58" fmla="*/ 5730912 h 6632561"/>
              <a:gd name="connsiteX59" fmla="*/ 4289081 w 8636594"/>
              <a:gd name="connsiteY59" fmla="*/ 5703955 h 6632561"/>
              <a:gd name="connsiteX60" fmla="*/ 4323654 w 8636594"/>
              <a:gd name="connsiteY60" fmla="*/ 5676722 h 6632561"/>
              <a:gd name="connsiteX61" fmla="*/ 4357854 w 8636594"/>
              <a:gd name="connsiteY61" fmla="*/ 5649218 h 6632561"/>
              <a:gd name="connsiteX62" fmla="*/ 4391688 w 8636594"/>
              <a:gd name="connsiteY62" fmla="*/ 5621446 h 6632561"/>
              <a:gd name="connsiteX63" fmla="*/ 4425162 w 8636594"/>
              <a:gd name="connsiteY63" fmla="*/ 5593409 h 6632561"/>
              <a:gd name="connsiteX64" fmla="*/ 4458281 w 8636594"/>
              <a:gd name="connsiteY64" fmla="*/ 5565111 h 6632561"/>
              <a:gd name="connsiteX65" fmla="*/ 4491053 w 8636594"/>
              <a:gd name="connsiteY65" fmla="*/ 5536556 h 6632561"/>
              <a:gd name="connsiteX66" fmla="*/ 4523484 w 8636594"/>
              <a:gd name="connsiteY66" fmla="*/ 5507747 h 6632561"/>
              <a:gd name="connsiteX67" fmla="*/ 4555580 w 8636594"/>
              <a:gd name="connsiteY67" fmla="*/ 5478687 h 6632561"/>
              <a:gd name="connsiteX68" fmla="*/ 4587347 w 8636594"/>
              <a:gd name="connsiteY68" fmla="*/ 5449380 h 6632561"/>
              <a:gd name="connsiteX69" fmla="*/ 4618793 w 8636594"/>
              <a:gd name="connsiteY69" fmla="*/ 5419830 h 6632561"/>
              <a:gd name="connsiteX70" fmla="*/ 4649922 w 8636594"/>
              <a:gd name="connsiteY70" fmla="*/ 5390040 h 6632561"/>
              <a:gd name="connsiteX71" fmla="*/ 4680742 w 8636594"/>
              <a:gd name="connsiteY71" fmla="*/ 5360014 h 6632561"/>
              <a:gd name="connsiteX72" fmla="*/ 4711259 w 8636594"/>
              <a:gd name="connsiteY72" fmla="*/ 5329755 h 6632561"/>
              <a:gd name="connsiteX73" fmla="*/ 4741478 w 8636594"/>
              <a:gd name="connsiteY73" fmla="*/ 5299266 h 6632561"/>
              <a:gd name="connsiteX74" fmla="*/ 4771408 w 8636594"/>
              <a:gd name="connsiteY74" fmla="*/ 5268551 h 6632561"/>
              <a:gd name="connsiteX75" fmla="*/ 4801053 w 8636594"/>
              <a:gd name="connsiteY75" fmla="*/ 5237614 h 6632561"/>
              <a:gd name="connsiteX76" fmla="*/ 4830420 w 8636594"/>
              <a:gd name="connsiteY76" fmla="*/ 5206458 h 6632561"/>
              <a:gd name="connsiteX77" fmla="*/ 4859516 w 8636594"/>
              <a:gd name="connsiteY77" fmla="*/ 5175087 h 6632561"/>
              <a:gd name="connsiteX78" fmla="*/ 4888347 w 8636594"/>
              <a:gd name="connsiteY78" fmla="*/ 5143504 h 6632561"/>
              <a:gd name="connsiteX79" fmla="*/ 4916919 w 8636594"/>
              <a:gd name="connsiteY79" fmla="*/ 5111713 h 6632561"/>
              <a:gd name="connsiteX80" fmla="*/ 4945238 w 8636594"/>
              <a:gd name="connsiteY80" fmla="*/ 5079717 h 6632561"/>
              <a:gd name="connsiteX81" fmla="*/ 4973311 w 8636594"/>
              <a:gd name="connsiteY81" fmla="*/ 5047519 h 6632561"/>
              <a:gd name="connsiteX82" fmla="*/ 5001145 w 8636594"/>
              <a:gd name="connsiteY82" fmla="*/ 5015124 h 6632561"/>
              <a:gd name="connsiteX83" fmla="*/ 5028745 w 8636594"/>
              <a:gd name="connsiteY83" fmla="*/ 4982535 h 6632561"/>
              <a:gd name="connsiteX84" fmla="*/ 5056117 w 8636594"/>
              <a:gd name="connsiteY84" fmla="*/ 4949755 h 6632561"/>
              <a:gd name="connsiteX85" fmla="*/ 5083269 w 8636594"/>
              <a:gd name="connsiteY85" fmla="*/ 4916787 h 6632561"/>
              <a:gd name="connsiteX86" fmla="*/ 5110207 w 8636594"/>
              <a:gd name="connsiteY86" fmla="*/ 4883636 h 6632561"/>
              <a:gd name="connsiteX87" fmla="*/ 5136937 w 8636594"/>
              <a:gd name="connsiteY87" fmla="*/ 4850305 h 6632561"/>
              <a:gd name="connsiteX88" fmla="*/ 5163464 w 8636594"/>
              <a:gd name="connsiteY88" fmla="*/ 4816797 h 6632561"/>
              <a:gd name="connsiteX89" fmla="*/ 5215940 w 8636594"/>
              <a:gd name="connsiteY89" fmla="*/ 4749265 h 6632561"/>
              <a:gd name="connsiteX90" fmla="*/ 5267684 w 8636594"/>
              <a:gd name="connsiteY90" fmla="*/ 4681068 h 6632561"/>
              <a:gd name="connsiteX91" fmla="*/ 5318748 w 8636594"/>
              <a:gd name="connsiteY91" fmla="*/ 4612234 h 6632561"/>
              <a:gd name="connsiteX92" fmla="*/ 5369182 w 8636594"/>
              <a:gd name="connsiteY92" fmla="*/ 4542793 h 6632561"/>
              <a:gd name="connsiteX93" fmla="*/ 5419038 w 8636594"/>
              <a:gd name="connsiteY93" fmla="*/ 4472771 h 6632561"/>
              <a:gd name="connsiteX94" fmla="*/ 5468365 w 8636594"/>
              <a:gd name="connsiteY94" fmla="*/ 4402196 h 6632561"/>
              <a:gd name="connsiteX95" fmla="*/ 5517215 w 8636594"/>
              <a:gd name="connsiteY95" fmla="*/ 4331098 h 6632561"/>
              <a:gd name="connsiteX96" fmla="*/ 5565637 w 8636594"/>
              <a:gd name="connsiteY96" fmla="*/ 4259503 h 6632561"/>
              <a:gd name="connsiteX97" fmla="*/ 5613684 w 8636594"/>
              <a:gd name="connsiteY97" fmla="*/ 4187441 h 6632561"/>
              <a:gd name="connsiteX98" fmla="*/ 5685160 w 8636594"/>
              <a:gd name="connsiteY98" fmla="*/ 4078531 h 6632561"/>
              <a:gd name="connsiteX99" fmla="*/ 5756074 w 8636594"/>
              <a:gd name="connsiteY99" fmla="*/ 3968727 h 6632561"/>
              <a:gd name="connsiteX100" fmla="*/ 5873483 w 8636594"/>
              <a:gd name="connsiteY100" fmla="*/ 3783989 h 6632561"/>
              <a:gd name="connsiteX101" fmla="*/ 6203209 w 8636594"/>
              <a:gd name="connsiteY101" fmla="*/ 3258640 h 6632561"/>
              <a:gd name="connsiteX102" fmla="*/ 6299430 w 8636594"/>
              <a:gd name="connsiteY102" fmla="*/ 3107321 h 6632561"/>
              <a:gd name="connsiteX103" fmla="*/ 6372650 w 8636594"/>
              <a:gd name="connsiteY103" fmla="*/ 2993735 h 6632561"/>
              <a:gd name="connsiteX104" fmla="*/ 6453197 w 8636594"/>
              <a:gd name="connsiteY104" fmla="*/ 2869788 h 6632561"/>
              <a:gd name="connsiteX105" fmla="*/ 6564167 w 8636594"/>
              <a:gd name="connsiteY105" fmla="*/ 2696807 h 6632561"/>
              <a:gd name="connsiteX106" fmla="*/ 6976233 w 8636594"/>
              <a:gd name="connsiteY106" fmla="*/ 2045274 h 6632561"/>
              <a:gd name="connsiteX107" fmla="*/ 7086755 w 8636594"/>
              <a:gd name="connsiteY107" fmla="*/ 1872743 h 6632561"/>
              <a:gd name="connsiteX108" fmla="*/ 7170279 w 8636594"/>
              <a:gd name="connsiteY108" fmla="*/ 1744202 h 6632561"/>
              <a:gd name="connsiteX109" fmla="*/ 7226351 w 8636594"/>
              <a:gd name="connsiteY109" fmla="*/ 1659017 h 6632561"/>
              <a:gd name="connsiteX110" fmla="*/ 7282789 w 8636594"/>
              <a:gd name="connsiteY110" fmla="*/ 1574303 h 6632561"/>
              <a:gd name="connsiteX111" fmla="*/ 7339643 w 8636594"/>
              <a:gd name="connsiteY111" fmla="*/ 1490113 h 6632561"/>
              <a:gd name="connsiteX112" fmla="*/ 7396957 w 8636594"/>
              <a:gd name="connsiteY112" fmla="*/ 1406503 h 6632561"/>
              <a:gd name="connsiteX113" fmla="*/ 7454781 w 8636594"/>
              <a:gd name="connsiteY113" fmla="*/ 1323526 h 6632561"/>
              <a:gd name="connsiteX114" fmla="*/ 7513161 w 8636594"/>
              <a:gd name="connsiteY114" fmla="*/ 1241237 h 6632561"/>
              <a:gd name="connsiteX115" fmla="*/ 7572144 w 8636594"/>
              <a:gd name="connsiteY115" fmla="*/ 1159689 h 6632561"/>
              <a:gd name="connsiteX116" fmla="*/ 7601877 w 8636594"/>
              <a:gd name="connsiteY116" fmla="*/ 1119210 h 6632561"/>
              <a:gd name="connsiteX117" fmla="*/ 7631779 w 8636594"/>
              <a:gd name="connsiteY117" fmla="*/ 1078937 h 6632561"/>
              <a:gd name="connsiteX118" fmla="*/ 7661855 w 8636594"/>
              <a:gd name="connsiteY118" fmla="*/ 1038876 h 6632561"/>
              <a:gd name="connsiteX119" fmla="*/ 7692111 w 8636594"/>
              <a:gd name="connsiteY119" fmla="*/ 999035 h 6632561"/>
              <a:gd name="connsiteX120" fmla="*/ 7722554 w 8636594"/>
              <a:gd name="connsiteY120" fmla="*/ 959419 h 6632561"/>
              <a:gd name="connsiteX121" fmla="*/ 7753190 w 8636594"/>
              <a:gd name="connsiteY121" fmla="*/ 920037 h 6632561"/>
              <a:gd name="connsiteX122" fmla="*/ 7784023 w 8636594"/>
              <a:gd name="connsiteY122" fmla="*/ 880894 h 6632561"/>
              <a:gd name="connsiteX123" fmla="*/ 7815061 w 8636594"/>
              <a:gd name="connsiteY123" fmla="*/ 841997 h 6632561"/>
              <a:gd name="connsiteX124" fmla="*/ 7846308 w 8636594"/>
              <a:gd name="connsiteY124" fmla="*/ 803354 h 6632561"/>
              <a:gd name="connsiteX125" fmla="*/ 7877772 w 8636594"/>
              <a:gd name="connsiteY125" fmla="*/ 764970 h 6632561"/>
              <a:gd name="connsiteX126" fmla="*/ 7909458 w 8636594"/>
              <a:gd name="connsiteY126" fmla="*/ 726853 h 6632561"/>
              <a:gd name="connsiteX127" fmla="*/ 7941371 w 8636594"/>
              <a:gd name="connsiteY127" fmla="*/ 689010 h 6632561"/>
              <a:gd name="connsiteX128" fmla="*/ 7973518 w 8636594"/>
              <a:gd name="connsiteY128" fmla="*/ 651447 h 6632561"/>
              <a:gd name="connsiteX129" fmla="*/ 8005905 w 8636594"/>
              <a:gd name="connsiteY129" fmla="*/ 614171 h 6632561"/>
              <a:gd name="connsiteX130" fmla="*/ 8038538 w 8636594"/>
              <a:gd name="connsiteY130" fmla="*/ 577189 h 6632561"/>
              <a:gd name="connsiteX131" fmla="*/ 8071421 w 8636594"/>
              <a:gd name="connsiteY131" fmla="*/ 540507 h 6632561"/>
              <a:gd name="connsiteX132" fmla="*/ 8104563 w 8636594"/>
              <a:gd name="connsiteY132" fmla="*/ 504132 h 6632561"/>
              <a:gd name="connsiteX133" fmla="*/ 8137967 w 8636594"/>
              <a:gd name="connsiteY133" fmla="*/ 468072 h 6632561"/>
              <a:gd name="connsiteX134" fmla="*/ 8171641 w 8636594"/>
              <a:gd name="connsiteY134" fmla="*/ 432332 h 6632561"/>
              <a:gd name="connsiteX135" fmla="*/ 8205590 w 8636594"/>
              <a:gd name="connsiteY135" fmla="*/ 396920 h 6632561"/>
              <a:gd name="connsiteX136" fmla="*/ 8239820 w 8636594"/>
              <a:gd name="connsiteY136" fmla="*/ 361843 h 6632561"/>
              <a:gd name="connsiteX137" fmla="*/ 8274337 w 8636594"/>
              <a:gd name="connsiteY137" fmla="*/ 327107 h 6632561"/>
              <a:gd name="connsiteX138" fmla="*/ 8309147 w 8636594"/>
              <a:gd name="connsiteY138" fmla="*/ 292718 h 6632561"/>
              <a:gd name="connsiteX139" fmla="*/ 8344256 w 8636594"/>
              <a:gd name="connsiteY139" fmla="*/ 258685 h 6632561"/>
              <a:gd name="connsiteX140" fmla="*/ 8379669 w 8636594"/>
              <a:gd name="connsiteY140" fmla="*/ 225013 h 6632561"/>
              <a:gd name="connsiteX141" fmla="*/ 8415394 w 8636594"/>
              <a:gd name="connsiteY141" fmla="*/ 191709 h 6632561"/>
              <a:gd name="connsiteX142" fmla="*/ 8451434 w 8636594"/>
              <a:gd name="connsiteY142" fmla="*/ 158780 h 6632561"/>
              <a:gd name="connsiteX143" fmla="*/ 8487798 w 8636594"/>
              <a:gd name="connsiteY143" fmla="*/ 126233 h 6632561"/>
              <a:gd name="connsiteX144" fmla="*/ 8524489 w 8636594"/>
              <a:gd name="connsiteY144" fmla="*/ 94075 h 6632561"/>
              <a:gd name="connsiteX145" fmla="*/ 8561515 w 8636594"/>
              <a:gd name="connsiteY145" fmla="*/ 62312 h 6632561"/>
              <a:gd name="connsiteX146" fmla="*/ 8598881 w 8636594"/>
              <a:gd name="connsiteY146" fmla="*/ 30951 h 6632561"/>
              <a:gd name="connsiteX147" fmla="*/ 8636594 w 8636594"/>
              <a:gd name="connsiteY147" fmla="*/ 0 h 6632561"/>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83237 w 8636594"/>
              <a:gd name="connsiteY5" fmla="*/ 5855484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084977 w 8636594"/>
              <a:gd name="connsiteY6" fmla="*/ 5695440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1942065 w 8636594"/>
              <a:gd name="connsiteY6" fmla="*/ 5597719 h 6622937"/>
              <a:gd name="connsiteX7" fmla="*/ 2222486 w 8636594"/>
              <a:gd name="connsiteY7" fmla="*/ 5687627 h 6622937"/>
              <a:gd name="connsiteX8" fmla="*/ 2412216 w 8636594"/>
              <a:gd name="connsiteY8" fmla="*/ 5587741 h 6622937"/>
              <a:gd name="connsiteX9" fmla="*/ 2490090 w 8636594"/>
              <a:gd name="connsiteY9" fmla="*/ 5591230 h 6622937"/>
              <a:gd name="connsiteX10" fmla="*/ 2561975 w 8636594"/>
              <a:gd name="connsiteY10" fmla="*/ 5533193 h 6622937"/>
              <a:gd name="connsiteX11" fmla="*/ 2066817 w 8636594"/>
              <a:gd name="connsiteY11" fmla="*/ 6622937 h 6622937"/>
              <a:gd name="connsiteX12" fmla="*/ 2126742 w 8636594"/>
              <a:gd name="connsiteY12" fmla="*/ 6612869 h 6622937"/>
              <a:gd name="connsiteX13" fmla="*/ 2185991 w 8636594"/>
              <a:gd name="connsiteY13" fmla="*/ 6602362 h 6622937"/>
              <a:gd name="connsiteX14" fmla="*/ 2244569 w 8636594"/>
              <a:gd name="connsiteY14" fmla="*/ 6591417 h 6622937"/>
              <a:gd name="connsiteX15" fmla="*/ 2302482 w 8636594"/>
              <a:gd name="connsiteY15" fmla="*/ 6580040 h 6622937"/>
              <a:gd name="connsiteX16" fmla="*/ 2359737 w 8636594"/>
              <a:gd name="connsiteY16" fmla="*/ 6568233 h 6622937"/>
              <a:gd name="connsiteX17" fmla="*/ 2416341 w 8636594"/>
              <a:gd name="connsiteY17" fmla="*/ 6555999 h 6622937"/>
              <a:gd name="connsiteX18" fmla="*/ 2472299 w 8636594"/>
              <a:gd name="connsiteY18" fmla="*/ 6543344 h 6622937"/>
              <a:gd name="connsiteX19" fmla="*/ 2527618 w 8636594"/>
              <a:gd name="connsiteY19" fmla="*/ 6530269 h 6622937"/>
              <a:gd name="connsiteX20" fmla="*/ 2582304 w 8636594"/>
              <a:gd name="connsiteY20" fmla="*/ 6516778 h 6622937"/>
              <a:gd name="connsiteX21" fmla="*/ 2636364 w 8636594"/>
              <a:gd name="connsiteY21" fmla="*/ 6502876 h 6622937"/>
              <a:gd name="connsiteX22" fmla="*/ 2689804 w 8636594"/>
              <a:gd name="connsiteY22" fmla="*/ 6488565 h 6622937"/>
              <a:gd name="connsiteX23" fmla="*/ 2742629 w 8636594"/>
              <a:gd name="connsiteY23" fmla="*/ 6473849 h 6622937"/>
              <a:gd name="connsiteX24" fmla="*/ 2794848 w 8636594"/>
              <a:gd name="connsiteY24" fmla="*/ 6458731 h 6622937"/>
              <a:gd name="connsiteX25" fmla="*/ 2846466 w 8636594"/>
              <a:gd name="connsiteY25" fmla="*/ 6443216 h 6622937"/>
              <a:gd name="connsiteX26" fmla="*/ 2897488 w 8636594"/>
              <a:gd name="connsiteY26" fmla="*/ 6427305 h 6622937"/>
              <a:gd name="connsiteX27" fmla="*/ 2947923 w 8636594"/>
              <a:gd name="connsiteY27" fmla="*/ 6411004 h 6622937"/>
              <a:gd name="connsiteX28" fmla="*/ 2997775 w 8636594"/>
              <a:gd name="connsiteY28" fmla="*/ 6394316 h 6622937"/>
              <a:gd name="connsiteX29" fmla="*/ 3047052 w 8636594"/>
              <a:gd name="connsiteY29" fmla="*/ 6377243 h 6622937"/>
              <a:gd name="connsiteX30" fmla="*/ 3095759 w 8636594"/>
              <a:gd name="connsiteY30" fmla="*/ 6359791 h 6622937"/>
              <a:gd name="connsiteX31" fmla="*/ 3143903 w 8636594"/>
              <a:gd name="connsiteY31" fmla="*/ 6341961 h 6622937"/>
              <a:gd name="connsiteX32" fmla="*/ 3191491 w 8636594"/>
              <a:gd name="connsiteY32" fmla="*/ 6323757 h 6622937"/>
              <a:gd name="connsiteX33" fmla="*/ 3238528 w 8636594"/>
              <a:gd name="connsiteY33" fmla="*/ 6305184 h 6622937"/>
              <a:gd name="connsiteX34" fmla="*/ 3285021 w 8636594"/>
              <a:gd name="connsiteY34" fmla="*/ 6286245 h 6622937"/>
              <a:gd name="connsiteX35" fmla="*/ 3330977 w 8636594"/>
              <a:gd name="connsiteY35" fmla="*/ 6266942 h 6622937"/>
              <a:gd name="connsiteX36" fmla="*/ 3376401 w 8636594"/>
              <a:gd name="connsiteY36" fmla="*/ 6247281 h 6622937"/>
              <a:gd name="connsiteX37" fmla="*/ 3421300 w 8636594"/>
              <a:gd name="connsiteY37" fmla="*/ 6227263 h 6622937"/>
              <a:gd name="connsiteX38" fmla="*/ 3465680 w 8636594"/>
              <a:gd name="connsiteY38" fmla="*/ 6206893 h 6622937"/>
              <a:gd name="connsiteX39" fmla="*/ 3509548 w 8636594"/>
              <a:gd name="connsiteY39" fmla="*/ 6186174 h 6622937"/>
              <a:gd name="connsiteX40" fmla="*/ 3552910 w 8636594"/>
              <a:gd name="connsiteY40" fmla="*/ 6165110 h 6622937"/>
              <a:gd name="connsiteX41" fmla="*/ 3595773 w 8636594"/>
              <a:gd name="connsiteY41" fmla="*/ 6143704 h 6622937"/>
              <a:gd name="connsiteX42" fmla="*/ 3638142 w 8636594"/>
              <a:gd name="connsiteY42" fmla="*/ 6121960 h 6622937"/>
              <a:gd name="connsiteX43" fmla="*/ 3680024 w 8636594"/>
              <a:gd name="connsiteY43" fmla="*/ 6099881 h 6622937"/>
              <a:gd name="connsiteX44" fmla="*/ 3721426 w 8636594"/>
              <a:gd name="connsiteY44" fmla="*/ 6077471 h 6622937"/>
              <a:gd name="connsiteX45" fmla="*/ 3762353 w 8636594"/>
              <a:gd name="connsiteY45" fmla="*/ 6054733 h 6622937"/>
              <a:gd name="connsiteX46" fmla="*/ 3802812 w 8636594"/>
              <a:gd name="connsiteY46" fmla="*/ 6031671 h 6622937"/>
              <a:gd name="connsiteX47" fmla="*/ 3842810 w 8636594"/>
              <a:gd name="connsiteY47" fmla="*/ 6008288 h 6622937"/>
              <a:gd name="connsiteX48" fmla="*/ 3882352 w 8636594"/>
              <a:gd name="connsiteY48" fmla="*/ 5984588 h 6622937"/>
              <a:gd name="connsiteX49" fmla="*/ 3921445 w 8636594"/>
              <a:gd name="connsiteY49" fmla="*/ 5960574 h 6622937"/>
              <a:gd name="connsiteX50" fmla="*/ 3960096 w 8636594"/>
              <a:gd name="connsiteY50" fmla="*/ 5936250 h 6622937"/>
              <a:gd name="connsiteX51" fmla="*/ 3998311 w 8636594"/>
              <a:gd name="connsiteY51" fmla="*/ 5911619 h 6622937"/>
              <a:gd name="connsiteX52" fmla="*/ 4036095 w 8636594"/>
              <a:gd name="connsiteY52" fmla="*/ 5886685 h 6622937"/>
              <a:gd name="connsiteX53" fmla="*/ 4073456 w 8636594"/>
              <a:gd name="connsiteY53" fmla="*/ 5861452 h 6622937"/>
              <a:gd name="connsiteX54" fmla="*/ 4110400 w 8636594"/>
              <a:gd name="connsiteY54" fmla="*/ 5835922 h 6622937"/>
              <a:gd name="connsiteX55" fmla="*/ 4146933 w 8636594"/>
              <a:gd name="connsiteY55" fmla="*/ 5810100 h 6622937"/>
              <a:gd name="connsiteX56" fmla="*/ 4183061 w 8636594"/>
              <a:gd name="connsiteY56" fmla="*/ 5783988 h 6622937"/>
              <a:gd name="connsiteX57" fmla="*/ 4218791 w 8636594"/>
              <a:gd name="connsiteY57" fmla="*/ 5757591 h 6622937"/>
              <a:gd name="connsiteX58" fmla="*/ 4254129 w 8636594"/>
              <a:gd name="connsiteY58" fmla="*/ 5730912 h 6622937"/>
              <a:gd name="connsiteX59" fmla="*/ 4289081 w 8636594"/>
              <a:gd name="connsiteY59" fmla="*/ 5703955 h 6622937"/>
              <a:gd name="connsiteX60" fmla="*/ 4323654 w 8636594"/>
              <a:gd name="connsiteY60" fmla="*/ 5676722 h 6622937"/>
              <a:gd name="connsiteX61" fmla="*/ 4357854 w 8636594"/>
              <a:gd name="connsiteY61" fmla="*/ 5649218 h 6622937"/>
              <a:gd name="connsiteX62" fmla="*/ 4391688 w 8636594"/>
              <a:gd name="connsiteY62" fmla="*/ 5621446 h 6622937"/>
              <a:gd name="connsiteX63" fmla="*/ 4425162 w 8636594"/>
              <a:gd name="connsiteY63" fmla="*/ 5593409 h 6622937"/>
              <a:gd name="connsiteX64" fmla="*/ 4458281 w 8636594"/>
              <a:gd name="connsiteY64" fmla="*/ 5565111 h 6622937"/>
              <a:gd name="connsiteX65" fmla="*/ 4491053 w 8636594"/>
              <a:gd name="connsiteY65" fmla="*/ 5536556 h 6622937"/>
              <a:gd name="connsiteX66" fmla="*/ 4523484 w 8636594"/>
              <a:gd name="connsiteY66" fmla="*/ 5507747 h 6622937"/>
              <a:gd name="connsiteX67" fmla="*/ 4555580 w 8636594"/>
              <a:gd name="connsiteY67" fmla="*/ 5478687 h 6622937"/>
              <a:gd name="connsiteX68" fmla="*/ 4587347 w 8636594"/>
              <a:gd name="connsiteY68" fmla="*/ 5449380 h 6622937"/>
              <a:gd name="connsiteX69" fmla="*/ 4618793 w 8636594"/>
              <a:gd name="connsiteY69" fmla="*/ 5419830 h 6622937"/>
              <a:gd name="connsiteX70" fmla="*/ 4649922 w 8636594"/>
              <a:gd name="connsiteY70" fmla="*/ 5390040 h 6622937"/>
              <a:gd name="connsiteX71" fmla="*/ 4680742 w 8636594"/>
              <a:gd name="connsiteY71" fmla="*/ 5360014 h 6622937"/>
              <a:gd name="connsiteX72" fmla="*/ 4711259 w 8636594"/>
              <a:gd name="connsiteY72" fmla="*/ 5329755 h 6622937"/>
              <a:gd name="connsiteX73" fmla="*/ 4741478 w 8636594"/>
              <a:gd name="connsiteY73" fmla="*/ 5299266 h 6622937"/>
              <a:gd name="connsiteX74" fmla="*/ 4771408 w 8636594"/>
              <a:gd name="connsiteY74" fmla="*/ 5268551 h 6622937"/>
              <a:gd name="connsiteX75" fmla="*/ 4801053 w 8636594"/>
              <a:gd name="connsiteY75" fmla="*/ 5237614 h 6622937"/>
              <a:gd name="connsiteX76" fmla="*/ 4830420 w 8636594"/>
              <a:gd name="connsiteY76" fmla="*/ 5206458 h 6622937"/>
              <a:gd name="connsiteX77" fmla="*/ 4859516 w 8636594"/>
              <a:gd name="connsiteY77" fmla="*/ 5175087 h 6622937"/>
              <a:gd name="connsiteX78" fmla="*/ 4888347 w 8636594"/>
              <a:gd name="connsiteY78" fmla="*/ 5143504 h 6622937"/>
              <a:gd name="connsiteX79" fmla="*/ 4916919 w 8636594"/>
              <a:gd name="connsiteY79" fmla="*/ 5111713 h 6622937"/>
              <a:gd name="connsiteX80" fmla="*/ 4945238 w 8636594"/>
              <a:gd name="connsiteY80" fmla="*/ 5079717 h 6622937"/>
              <a:gd name="connsiteX81" fmla="*/ 4973311 w 8636594"/>
              <a:gd name="connsiteY81" fmla="*/ 5047519 h 6622937"/>
              <a:gd name="connsiteX82" fmla="*/ 5001145 w 8636594"/>
              <a:gd name="connsiteY82" fmla="*/ 5015124 h 6622937"/>
              <a:gd name="connsiteX83" fmla="*/ 5028745 w 8636594"/>
              <a:gd name="connsiteY83" fmla="*/ 4982535 h 6622937"/>
              <a:gd name="connsiteX84" fmla="*/ 5056117 w 8636594"/>
              <a:gd name="connsiteY84" fmla="*/ 4949755 h 6622937"/>
              <a:gd name="connsiteX85" fmla="*/ 5083269 w 8636594"/>
              <a:gd name="connsiteY85" fmla="*/ 4916787 h 6622937"/>
              <a:gd name="connsiteX86" fmla="*/ 5110207 w 8636594"/>
              <a:gd name="connsiteY86" fmla="*/ 4883636 h 6622937"/>
              <a:gd name="connsiteX87" fmla="*/ 5136937 w 8636594"/>
              <a:gd name="connsiteY87" fmla="*/ 4850305 h 6622937"/>
              <a:gd name="connsiteX88" fmla="*/ 5163464 w 8636594"/>
              <a:gd name="connsiteY88" fmla="*/ 4816797 h 6622937"/>
              <a:gd name="connsiteX89" fmla="*/ 5215940 w 8636594"/>
              <a:gd name="connsiteY89" fmla="*/ 4749265 h 6622937"/>
              <a:gd name="connsiteX90" fmla="*/ 5267684 w 8636594"/>
              <a:gd name="connsiteY90" fmla="*/ 4681068 h 6622937"/>
              <a:gd name="connsiteX91" fmla="*/ 5318748 w 8636594"/>
              <a:gd name="connsiteY91" fmla="*/ 4612234 h 6622937"/>
              <a:gd name="connsiteX92" fmla="*/ 5369182 w 8636594"/>
              <a:gd name="connsiteY92" fmla="*/ 4542793 h 6622937"/>
              <a:gd name="connsiteX93" fmla="*/ 5419038 w 8636594"/>
              <a:gd name="connsiteY93" fmla="*/ 4472771 h 6622937"/>
              <a:gd name="connsiteX94" fmla="*/ 5468365 w 8636594"/>
              <a:gd name="connsiteY94" fmla="*/ 4402196 h 6622937"/>
              <a:gd name="connsiteX95" fmla="*/ 5517215 w 8636594"/>
              <a:gd name="connsiteY95" fmla="*/ 4331098 h 6622937"/>
              <a:gd name="connsiteX96" fmla="*/ 5565637 w 8636594"/>
              <a:gd name="connsiteY96" fmla="*/ 4259503 h 6622937"/>
              <a:gd name="connsiteX97" fmla="*/ 5613684 w 8636594"/>
              <a:gd name="connsiteY97" fmla="*/ 4187441 h 6622937"/>
              <a:gd name="connsiteX98" fmla="*/ 5685160 w 8636594"/>
              <a:gd name="connsiteY98" fmla="*/ 4078531 h 6622937"/>
              <a:gd name="connsiteX99" fmla="*/ 5756074 w 8636594"/>
              <a:gd name="connsiteY99" fmla="*/ 3968727 h 6622937"/>
              <a:gd name="connsiteX100" fmla="*/ 5873483 w 8636594"/>
              <a:gd name="connsiteY100" fmla="*/ 3783989 h 6622937"/>
              <a:gd name="connsiteX101" fmla="*/ 6203209 w 8636594"/>
              <a:gd name="connsiteY101" fmla="*/ 3258640 h 6622937"/>
              <a:gd name="connsiteX102" fmla="*/ 6299430 w 8636594"/>
              <a:gd name="connsiteY102" fmla="*/ 3107321 h 6622937"/>
              <a:gd name="connsiteX103" fmla="*/ 6372650 w 8636594"/>
              <a:gd name="connsiteY103" fmla="*/ 2993735 h 6622937"/>
              <a:gd name="connsiteX104" fmla="*/ 6453197 w 8636594"/>
              <a:gd name="connsiteY104" fmla="*/ 2869788 h 6622937"/>
              <a:gd name="connsiteX105" fmla="*/ 6564167 w 8636594"/>
              <a:gd name="connsiteY105" fmla="*/ 2696807 h 6622937"/>
              <a:gd name="connsiteX106" fmla="*/ 6976233 w 8636594"/>
              <a:gd name="connsiteY106" fmla="*/ 2045274 h 6622937"/>
              <a:gd name="connsiteX107" fmla="*/ 7086755 w 8636594"/>
              <a:gd name="connsiteY107" fmla="*/ 1872743 h 6622937"/>
              <a:gd name="connsiteX108" fmla="*/ 7170279 w 8636594"/>
              <a:gd name="connsiteY108" fmla="*/ 1744202 h 6622937"/>
              <a:gd name="connsiteX109" fmla="*/ 7226351 w 8636594"/>
              <a:gd name="connsiteY109" fmla="*/ 1659017 h 6622937"/>
              <a:gd name="connsiteX110" fmla="*/ 7282789 w 8636594"/>
              <a:gd name="connsiteY110" fmla="*/ 1574303 h 6622937"/>
              <a:gd name="connsiteX111" fmla="*/ 7339643 w 8636594"/>
              <a:gd name="connsiteY111" fmla="*/ 1490113 h 6622937"/>
              <a:gd name="connsiteX112" fmla="*/ 7396957 w 8636594"/>
              <a:gd name="connsiteY112" fmla="*/ 1406503 h 6622937"/>
              <a:gd name="connsiteX113" fmla="*/ 7454781 w 8636594"/>
              <a:gd name="connsiteY113" fmla="*/ 1323526 h 6622937"/>
              <a:gd name="connsiteX114" fmla="*/ 7513161 w 8636594"/>
              <a:gd name="connsiteY114" fmla="*/ 1241237 h 6622937"/>
              <a:gd name="connsiteX115" fmla="*/ 7572144 w 8636594"/>
              <a:gd name="connsiteY115" fmla="*/ 1159689 h 6622937"/>
              <a:gd name="connsiteX116" fmla="*/ 7601877 w 8636594"/>
              <a:gd name="connsiteY116" fmla="*/ 1119210 h 6622937"/>
              <a:gd name="connsiteX117" fmla="*/ 7631779 w 8636594"/>
              <a:gd name="connsiteY117" fmla="*/ 1078937 h 6622937"/>
              <a:gd name="connsiteX118" fmla="*/ 7661855 w 8636594"/>
              <a:gd name="connsiteY118" fmla="*/ 1038876 h 6622937"/>
              <a:gd name="connsiteX119" fmla="*/ 7692111 w 8636594"/>
              <a:gd name="connsiteY119" fmla="*/ 999035 h 6622937"/>
              <a:gd name="connsiteX120" fmla="*/ 7722554 w 8636594"/>
              <a:gd name="connsiteY120" fmla="*/ 959419 h 6622937"/>
              <a:gd name="connsiteX121" fmla="*/ 7753190 w 8636594"/>
              <a:gd name="connsiteY121" fmla="*/ 920037 h 6622937"/>
              <a:gd name="connsiteX122" fmla="*/ 7784023 w 8636594"/>
              <a:gd name="connsiteY122" fmla="*/ 880894 h 6622937"/>
              <a:gd name="connsiteX123" fmla="*/ 7815061 w 8636594"/>
              <a:gd name="connsiteY123" fmla="*/ 841997 h 6622937"/>
              <a:gd name="connsiteX124" fmla="*/ 7846308 w 8636594"/>
              <a:gd name="connsiteY124" fmla="*/ 803354 h 6622937"/>
              <a:gd name="connsiteX125" fmla="*/ 7877772 w 8636594"/>
              <a:gd name="connsiteY125" fmla="*/ 764970 h 6622937"/>
              <a:gd name="connsiteX126" fmla="*/ 7909458 w 8636594"/>
              <a:gd name="connsiteY126" fmla="*/ 726853 h 6622937"/>
              <a:gd name="connsiteX127" fmla="*/ 7941371 w 8636594"/>
              <a:gd name="connsiteY127" fmla="*/ 689010 h 6622937"/>
              <a:gd name="connsiteX128" fmla="*/ 7973518 w 8636594"/>
              <a:gd name="connsiteY128" fmla="*/ 651447 h 6622937"/>
              <a:gd name="connsiteX129" fmla="*/ 8005905 w 8636594"/>
              <a:gd name="connsiteY129" fmla="*/ 614171 h 6622937"/>
              <a:gd name="connsiteX130" fmla="*/ 8038538 w 8636594"/>
              <a:gd name="connsiteY130" fmla="*/ 577189 h 6622937"/>
              <a:gd name="connsiteX131" fmla="*/ 8071421 w 8636594"/>
              <a:gd name="connsiteY131" fmla="*/ 540507 h 6622937"/>
              <a:gd name="connsiteX132" fmla="*/ 8104563 w 8636594"/>
              <a:gd name="connsiteY132" fmla="*/ 504132 h 6622937"/>
              <a:gd name="connsiteX133" fmla="*/ 8137967 w 8636594"/>
              <a:gd name="connsiteY133" fmla="*/ 468072 h 6622937"/>
              <a:gd name="connsiteX134" fmla="*/ 8171641 w 8636594"/>
              <a:gd name="connsiteY134" fmla="*/ 432332 h 6622937"/>
              <a:gd name="connsiteX135" fmla="*/ 8205590 w 8636594"/>
              <a:gd name="connsiteY135" fmla="*/ 396920 h 6622937"/>
              <a:gd name="connsiteX136" fmla="*/ 8239820 w 8636594"/>
              <a:gd name="connsiteY136" fmla="*/ 361843 h 6622937"/>
              <a:gd name="connsiteX137" fmla="*/ 8274337 w 8636594"/>
              <a:gd name="connsiteY137" fmla="*/ 327107 h 6622937"/>
              <a:gd name="connsiteX138" fmla="*/ 8309147 w 8636594"/>
              <a:gd name="connsiteY138" fmla="*/ 292718 h 6622937"/>
              <a:gd name="connsiteX139" fmla="*/ 8344256 w 8636594"/>
              <a:gd name="connsiteY139" fmla="*/ 258685 h 6622937"/>
              <a:gd name="connsiteX140" fmla="*/ 8379669 w 8636594"/>
              <a:gd name="connsiteY140" fmla="*/ 225013 h 6622937"/>
              <a:gd name="connsiteX141" fmla="*/ 8415394 w 8636594"/>
              <a:gd name="connsiteY141" fmla="*/ 191709 h 6622937"/>
              <a:gd name="connsiteX142" fmla="*/ 8451434 w 8636594"/>
              <a:gd name="connsiteY142" fmla="*/ 158780 h 6622937"/>
              <a:gd name="connsiteX143" fmla="*/ 8487798 w 8636594"/>
              <a:gd name="connsiteY143" fmla="*/ 126233 h 6622937"/>
              <a:gd name="connsiteX144" fmla="*/ 8524489 w 8636594"/>
              <a:gd name="connsiteY144" fmla="*/ 94075 h 6622937"/>
              <a:gd name="connsiteX145" fmla="*/ 8561515 w 8636594"/>
              <a:gd name="connsiteY145" fmla="*/ 62312 h 6622937"/>
              <a:gd name="connsiteX146" fmla="*/ 8598881 w 8636594"/>
              <a:gd name="connsiteY146" fmla="*/ 30951 h 6622937"/>
              <a:gd name="connsiteX147" fmla="*/ 8636594 w 8636594"/>
              <a:gd name="connsiteY147"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1825014 w 8636594"/>
              <a:gd name="connsiteY5" fmla="*/ 5592857 h 6622937"/>
              <a:gd name="connsiteX6" fmla="*/ 2222486 w 8636594"/>
              <a:gd name="connsiteY6" fmla="*/ 5687627 h 6622937"/>
              <a:gd name="connsiteX7" fmla="*/ 2412216 w 8636594"/>
              <a:gd name="connsiteY7" fmla="*/ 5587741 h 6622937"/>
              <a:gd name="connsiteX8" fmla="*/ 2490090 w 8636594"/>
              <a:gd name="connsiteY8" fmla="*/ 5591230 h 6622937"/>
              <a:gd name="connsiteX9" fmla="*/ 2561975 w 8636594"/>
              <a:gd name="connsiteY9" fmla="*/ 5533193 h 6622937"/>
              <a:gd name="connsiteX10" fmla="*/ 2066817 w 8636594"/>
              <a:gd name="connsiteY10" fmla="*/ 6622937 h 6622937"/>
              <a:gd name="connsiteX11" fmla="*/ 2126742 w 8636594"/>
              <a:gd name="connsiteY11" fmla="*/ 6612869 h 6622937"/>
              <a:gd name="connsiteX12" fmla="*/ 2185991 w 8636594"/>
              <a:gd name="connsiteY12" fmla="*/ 6602362 h 6622937"/>
              <a:gd name="connsiteX13" fmla="*/ 2244569 w 8636594"/>
              <a:gd name="connsiteY13" fmla="*/ 6591417 h 6622937"/>
              <a:gd name="connsiteX14" fmla="*/ 2302482 w 8636594"/>
              <a:gd name="connsiteY14" fmla="*/ 6580040 h 6622937"/>
              <a:gd name="connsiteX15" fmla="*/ 2359737 w 8636594"/>
              <a:gd name="connsiteY15" fmla="*/ 6568233 h 6622937"/>
              <a:gd name="connsiteX16" fmla="*/ 2416341 w 8636594"/>
              <a:gd name="connsiteY16" fmla="*/ 6555999 h 6622937"/>
              <a:gd name="connsiteX17" fmla="*/ 2472299 w 8636594"/>
              <a:gd name="connsiteY17" fmla="*/ 6543344 h 6622937"/>
              <a:gd name="connsiteX18" fmla="*/ 2527618 w 8636594"/>
              <a:gd name="connsiteY18" fmla="*/ 6530269 h 6622937"/>
              <a:gd name="connsiteX19" fmla="*/ 2582304 w 8636594"/>
              <a:gd name="connsiteY19" fmla="*/ 6516778 h 6622937"/>
              <a:gd name="connsiteX20" fmla="*/ 2636364 w 8636594"/>
              <a:gd name="connsiteY20" fmla="*/ 6502876 h 6622937"/>
              <a:gd name="connsiteX21" fmla="*/ 2689804 w 8636594"/>
              <a:gd name="connsiteY21" fmla="*/ 6488565 h 6622937"/>
              <a:gd name="connsiteX22" fmla="*/ 2742629 w 8636594"/>
              <a:gd name="connsiteY22" fmla="*/ 6473849 h 6622937"/>
              <a:gd name="connsiteX23" fmla="*/ 2794848 w 8636594"/>
              <a:gd name="connsiteY23" fmla="*/ 6458731 h 6622937"/>
              <a:gd name="connsiteX24" fmla="*/ 2846466 w 8636594"/>
              <a:gd name="connsiteY24" fmla="*/ 6443216 h 6622937"/>
              <a:gd name="connsiteX25" fmla="*/ 2897488 w 8636594"/>
              <a:gd name="connsiteY25" fmla="*/ 6427305 h 6622937"/>
              <a:gd name="connsiteX26" fmla="*/ 2947923 w 8636594"/>
              <a:gd name="connsiteY26" fmla="*/ 6411004 h 6622937"/>
              <a:gd name="connsiteX27" fmla="*/ 2997775 w 8636594"/>
              <a:gd name="connsiteY27" fmla="*/ 6394316 h 6622937"/>
              <a:gd name="connsiteX28" fmla="*/ 3047052 w 8636594"/>
              <a:gd name="connsiteY28" fmla="*/ 6377243 h 6622937"/>
              <a:gd name="connsiteX29" fmla="*/ 3095759 w 8636594"/>
              <a:gd name="connsiteY29" fmla="*/ 6359791 h 6622937"/>
              <a:gd name="connsiteX30" fmla="*/ 3143903 w 8636594"/>
              <a:gd name="connsiteY30" fmla="*/ 6341961 h 6622937"/>
              <a:gd name="connsiteX31" fmla="*/ 3191491 w 8636594"/>
              <a:gd name="connsiteY31" fmla="*/ 6323757 h 6622937"/>
              <a:gd name="connsiteX32" fmla="*/ 3238528 w 8636594"/>
              <a:gd name="connsiteY32" fmla="*/ 6305184 h 6622937"/>
              <a:gd name="connsiteX33" fmla="*/ 3285021 w 8636594"/>
              <a:gd name="connsiteY33" fmla="*/ 6286245 h 6622937"/>
              <a:gd name="connsiteX34" fmla="*/ 3330977 w 8636594"/>
              <a:gd name="connsiteY34" fmla="*/ 6266942 h 6622937"/>
              <a:gd name="connsiteX35" fmla="*/ 3376401 w 8636594"/>
              <a:gd name="connsiteY35" fmla="*/ 6247281 h 6622937"/>
              <a:gd name="connsiteX36" fmla="*/ 3421300 w 8636594"/>
              <a:gd name="connsiteY36" fmla="*/ 6227263 h 6622937"/>
              <a:gd name="connsiteX37" fmla="*/ 3465680 w 8636594"/>
              <a:gd name="connsiteY37" fmla="*/ 6206893 h 6622937"/>
              <a:gd name="connsiteX38" fmla="*/ 3509548 w 8636594"/>
              <a:gd name="connsiteY38" fmla="*/ 6186174 h 6622937"/>
              <a:gd name="connsiteX39" fmla="*/ 3552910 w 8636594"/>
              <a:gd name="connsiteY39" fmla="*/ 6165110 h 6622937"/>
              <a:gd name="connsiteX40" fmla="*/ 3595773 w 8636594"/>
              <a:gd name="connsiteY40" fmla="*/ 6143704 h 6622937"/>
              <a:gd name="connsiteX41" fmla="*/ 3638142 w 8636594"/>
              <a:gd name="connsiteY41" fmla="*/ 6121960 h 6622937"/>
              <a:gd name="connsiteX42" fmla="*/ 3680024 w 8636594"/>
              <a:gd name="connsiteY42" fmla="*/ 6099881 h 6622937"/>
              <a:gd name="connsiteX43" fmla="*/ 3721426 w 8636594"/>
              <a:gd name="connsiteY43" fmla="*/ 6077471 h 6622937"/>
              <a:gd name="connsiteX44" fmla="*/ 3762353 w 8636594"/>
              <a:gd name="connsiteY44" fmla="*/ 6054733 h 6622937"/>
              <a:gd name="connsiteX45" fmla="*/ 3802812 w 8636594"/>
              <a:gd name="connsiteY45" fmla="*/ 6031671 h 6622937"/>
              <a:gd name="connsiteX46" fmla="*/ 3842810 w 8636594"/>
              <a:gd name="connsiteY46" fmla="*/ 6008288 h 6622937"/>
              <a:gd name="connsiteX47" fmla="*/ 3882352 w 8636594"/>
              <a:gd name="connsiteY47" fmla="*/ 5984588 h 6622937"/>
              <a:gd name="connsiteX48" fmla="*/ 3921445 w 8636594"/>
              <a:gd name="connsiteY48" fmla="*/ 5960574 h 6622937"/>
              <a:gd name="connsiteX49" fmla="*/ 3960096 w 8636594"/>
              <a:gd name="connsiteY49" fmla="*/ 5936250 h 6622937"/>
              <a:gd name="connsiteX50" fmla="*/ 3998311 w 8636594"/>
              <a:gd name="connsiteY50" fmla="*/ 5911619 h 6622937"/>
              <a:gd name="connsiteX51" fmla="*/ 4036095 w 8636594"/>
              <a:gd name="connsiteY51" fmla="*/ 5886685 h 6622937"/>
              <a:gd name="connsiteX52" fmla="*/ 4073456 w 8636594"/>
              <a:gd name="connsiteY52" fmla="*/ 5861452 h 6622937"/>
              <a:gd name="connsiteX53" fmla="*/ 4110400 w 8636594"/>
              <a:gd name="connsiteY53" fmla="*/ 5835922 h 6622937"/>
              <a:gd name="connsiteX54" fmla="*/ 4146933 w 8636594"/>
              <a:gd name="connsiteY54" fmla="*/ 5810100 h 6622937"/>
              <a:gd name="connsiteX55" fmla="*/ 4183061 w 8636594"/>
              <a:gd name="connsiteY55" fmla="*/ 5783988 h 6622937"/>
              <a:gd name="connsiteX56" fmla="*/ 4218791 w 8636594"/>
              <a:gd name="connsiteY56" fmla="*/ 5757591 h 6622937"/>
              <a:gd name="connsiteX57" fmla="*/ 4254129 w 8636594"/>
              <a:gd name="connsiteY57" fmla="*/ 5730912 h 6622937"/>
              <a:gd name="connsiteX58" fmla="*/ 4289081 w 8636594"/>
              <a:gd name="connsiteY58" fmla="*/ 5703955 h 6622937"/>
              <a:gd name="connsiteX59" fmla="*/ 4323654 w 8636594"/>
              <a:gd name="connsiteY59" fmla="*/ 5676722 h 6622937"/>
              <a:gd name="connsiteX60" fmla="*/ 4357854 w 8636594"/>
              <a:gd name="connsiteY60" fmla="*/ 5649218 h 6622937"/>
              <a:gd name="connsiteX61" fmla="*/ 4391688 w 8636594"/>
              <a:gd name="connsiteY61" fmla="*/ 5621446 h 6622937"/>
              <a:gd name="connsiteX62" fmla="*/ 4425162 w 8636594"/>
              <a:gd name="connsiteY62" fmla="*/ 5593409 h 6622937"/>
              <a:gd name="connsiteX63" fmla="*/ 4458281 w 8636594"/>
              <a:gd name="connsiteY63" fmla="*/ 5565111 h 6622937"/>
              <a:gd name="connsiteX64" fmla="*/ 4491053 w 8636594"/>
              <a:gd name="connsiteY64" fmla="*/ 5536556 h 6622937"/>
              <a:gd name="connsiteX65" fmla="*/ 4523484 w 8636594"/>
              <a:gd name="connsiteY65" fmla="*/ 5507747 h 6622937"/>
              <a:gd name="connsiteX66" fmla="*/ 4555580 w 8636594"/>
              <a:gd name="connsiteY66" fmla="*/ 5478687 h 6622937"/>
              <a:gd name="connsiteX67" fmla="*/ 4587347 w 8636594"/>
              <a:gd name="connsiteY67" fmla="*/ 5449380 h 6622937"/>
              <a:gd name="connsiteX68" fmla="*/ 4618793 w 8636594"/>
              <a:gd name="connsiteY68" fmla="*/ 5419830 h 6622937"/>
              <a:gd name="connsiteX69" fmla="*/ 4649922 w 8636594"/>
              <a:gd name="connsiteY69" fmla="*/ 5390040 h 6622937"/>
              <a:gd name="connsiteX70" fmla="*/ 4680742 w 8636594"/>
              <a:gd name="connsiteY70" fmla="*/ 5360014 h 6622937"/>
              <a:gd name="connsiteX71" fmla="*/ 4711259 w 8636594"/>
              <a:gd name="connsiteY71" fmla="*/ 5329755 h 6622937"/>
              <a:gd name="connsiteX72" fmla="*/ 4741478 w 8636594"/>
              <a:gd name="connsiteY72" fmla="*/ 5299266 h 6622937"/>
              <a:gd name="connsiteX73" fmla="*/ 4771408 w 8636594"/>
              <a:gd name="connsiteY73" fmla="*/ 5268551 h 6622937"/>
              <a:gd name="connsiteX74" fmla="*/ 4801053 w 8636594"/>
              <a:gd name="connsiteY74" fmla="*/ 5237614 h 6622937"/>
              <a:gd name="connsiteX75" fmla="*/ 4830420 w 8636594"/>
              <a:gd name="connsiteY75" fmla="*/ 5206458 h 6622937"/>
              <a:gd name="connsiteX76" fmla="*/ 4859516 w 8636594"/>
              <a:gd name="connsiteY76" fmla="*/ 5175087 h 6622937"/>
              <a:gd name="connsiteX77" fmla="*/ 4888347 w 8636594"/>
              <a:gd name="connsiteY77" fmla="*/ 5143504 h 6622937"/>
              <a:gd name="connsiteX78" fmla="*/ 4916919 w 8636594"/>
              <a:gd name="connsiteY78" fmla="*/ 5111713 h 6622937"/>
              <a:gd name="connsiteX79" fmla="*/ 4945238 w 8636594"/>
              <a:gd name="connsiteY79" fmla="*/ 5079717 h 6622937"/>
              <a:gd name="connsiteX80" fmla="*/ 4973311 w 8636594"/>
              <a:gd name="connsiteY80" fmla="*/ 5047519 h 6622937"/>
              <a:gd name="connsiteX81" fmla="*/ 5001145 w 8636594"/>
              <a:gd name="connsiteY81" fmla="*/ 5015124 h 6622937"/>
              <a:gd name="connsiteX82" fmla="*/ 5028745 w 8636594"/>
              <a:gd name="connsiteY82" fmla="*/ 4982535 h 6622937"/>
              <a:gd name="connsiteX83" fmla="*/ 5056117 w 8636594"/>
              <a:gd name="connsiteY83" fmla="*/ 4949755 h 6622937"/>
              <a:gd name="connsiteX84" fmla="*/ 5083269 w 8636594"/>
              <a:gd name="connsiteY84" fmla="*/ 4916787 h 6622937"/>
              <a:gd name="connsiteX85" fmla="*/ 5110207 w 8636594"/>
              <a:gd name="connsiteY85" fmla="*/ 4883636 h 6622937"/>
              <a:gd name="connsiteX86" fmla="*/ 5136937 w 8636594"/>
              <a:gd name="connsiteY86" fmla="*/ 4850305 h 6622937"/>
              <a:gd name="connsiteX87" fmla="*/ 5163464 w 8636594"/>
              <a:gd name="connsiteY87" fmla="*/ 4816797 h 6622937"/>
              <a:gd name="connsiteX88" fmla="*/ 5215940 w 8636594"/>
              <a:gd name="connsiteY88" fmla="*/ 4749265 h 6622937"/>
              <a:gd name="connsiteX89" fmla="*/ 5267684 w 8636594"/>
              <a:gd name="connsiteY89" fmla="*/ 4681068 h 6622937"/>
              <a:gd name="connsiteX90" fmla="*/ 5318748 w 8636594"/>
              <a:gd name="connsiteY90" fmla="*/ 4612234 h 6622937"/>
              <a:gd name="connsiteX91" fmla="*/ 5369182 w 8636594"/>
              <a:gd name="connsiteY91" fmla="*/ 4542793 h 6622937"/>
              <a:gd name="connsiteX92" fmla="*/ 5419038 w 8636594"/>
              <a:gd name="connsiteY92" fmla="*/ 4472771 h 6622937"/>
              <a:gd name="connsiteX93" fmla="*/ 5468365 w 8636594"/>
              <a:gd name="connsiteY93" fmla="*/ 4402196 h 6622937"/>
              <a:gd name="connsiteX94" fmla="*/ 5517215 w 8636594"/>
              <a:gd name="connsiteY94" fmla="*/ 4331098 h 6622937"/>
              <a:gd name="connsiteX95" fmla="*/ 5565637 w 8636594"/>
              <a:gd name="connsiteY95" fmla="*/ 4259503 h 6622937"/>
              <a:gd name="connsiteX96" fmla="*/ 5613684 w 8636594"/>
              <a:gd name="connsiteY96" fmla="*/ 4187441 h 6622937"/>
              <a:gd name="connsiteX97" fmla="*/ 5685160 w 8636594"/>
              <a:gd name="connsiteY97" fmla="*/ 4078531 h 6622937"/>
              <a:gd name="connsiteX98" fmla="*/ 5756074 w 8636594"/>
              <a:gd name="connsiteY98" fmla="*/ 3968727 h 6622937"/>
              <a:gd name="connsiteX99" fmla="*/ 5873483 w 8636594"/>
              <a:gd name="connsiteY99" fmla="*/ 3783989 h 6622937"/>
              <a:gd name="connsiteX100" fmla="*/ 6203209 w 8636594"/>
              <a:gd name="connsiteY100" fmla="*/ 3258640 h 6622937"/>
              <a:gd name="connsiteX101" fmla="*/ 6299430 w 8636594"/>
              <a:gd name="connsiteY101" fmla="*/ 3107321 h 6622937"/>
              <a:gd name="connsiteX102" fmla="*/ 6372650 w 8636594"/>
              <a:gd name="connsiteY102" fmla="*/ 2993735 h 6622937"/>
              <a:gd name="connsiteX103" fmla="*/ 6453197 w 8636594"/>
              <a:gd name="connsiteY103" fmla="*/ 2869788 h 6622937"/>
              <a:gd name="connsiteX104" fmla="*/ 6564167 w 8636594"/>
              <a:gd name="connsiteY104" fmla="*/ 2696807 h 6622937"/>
              <a:gd name="connsiteX105" fmla="*/ 6976233 w 8636594"/>
              <a:gd name="connsiteY105" fmla="*/ 2045274 h 6622937"/>
              <a:gd name="connsiteX106" fmla="*/ 7086755 w 8636594"/>
              <a:gd name="connsiteY106" fmla="*/ 1872743 h 6622937"/>
              <a:gd name="connsiteX107" fmla="*/ 7170279 w 8636594"/>
              <a:gd name="connsiteY107" fmla="*/ 1744202 h 6622937"/>
              <a:gd name="connsiteX108" fmla="*/ 7226351 w 8636594"/>
              <a:gd name="connsiteY108" fmla="*/ 1659017 h 6622937"/>
              <a:gd name="connsiteX109" fmla="*/ 7282789 w 8636594"/>
              <a:gd name="connsiteY109" fmla="*/ 1574303 h 6622937"/>
              <a:gd name="connsiteX110" fmla="*/ 7339643 w 8636594"/>
              <a:gd name="connsiteY110" fmla="*/ 1490113 h 6622937"/>
              <a:gd name="connsiteX111" fmla="*/ 7396957 w 8636594"/>
              <a:gd name="connsiteY111" fmla="*/ 1406503 h 6622937"/>
              <a:gd name="connsiteX112" fmla="*/ 7454781 w 8636594"/>
              <a:gd name="connsiteY112" fmla="*/ 1323526 h 6622937"/>
              <a:gd name="connsiteX113" fmla="*/ 7513161 w 8636594"/>
              <a:gd name="connsiteY113" fmla="*/ 1241237 h 6622937"/>
              <a:gd name="connsiteX114" fmla="*/ 7572144 w 8636594"/>
              <a:gd name="connsiteY114" fmla="*/ 1159689 h 6622937"/>
              <a:gd name="connsiteX115" fmla="*/ 7601877 w 8636594"/>
              <a:gd name="connsiteY115" fmla="*/ 1119210 h 6622937"/>
              <a:gd name="connsiteX116" fmla="*/ 7631779 w 8636594"/>
              <a:gd name="connsiteY116" fmla="*/ 1078937 h 6622937"/>
              <a:gd name="connsiteX117" fmla="*/ 7661855 w 8636594"/>
              <a:gd name="connsiteY117" fmla="*/ 1038876 h 6622937"/>
              <a:gd name="connsiteX118" fmla="*/ 7692111 w 8636594"/>
              <a:gd name="connsiteY118" fmla="*/ 999035 h 6622937"/>
              <a:gd name="connsiteX119" fmla="*/ 7722554 w 8636594"/>
              <a:gd name="connsiteY119" fmla="*/ 959419 h 6622937"/>
              <a:gd name="connsiteX120" fmla="*/ 7753190 w 8636594"/>
              <a:gd name="connsiteY120" fmla="*/ 920037 h 6622937"/>
              <a:gd name="connsiteX121" fmla="*/ 7784023 w 8636594"/>
              <a:gd name="connsiteY121" fmla="*/ 880894 h 6622937"/>
              <a:gd name="connsiteX122" fmla="*/ 7815061 w 8636594"/>
              <a:gd name="connsiteY122" fmla="*/ 841997 h 6622937"/>
              <a:gd name="connsiteX123" fmla="*/ 7846308 w 8636594"/>
              <a:gd name="connsiteY123" fmla="*/ 803354 h 6622937"/>
              <a:gd name="connsiteX124" fmla="*/ 7877772 w 8636594"/>
              <a:gd name="connsiteY124" fmla="*/ 764970 h 6622937"/>
              <a:gd name="connsiteX125" fmla="*/ 7909458 w 8636594"/>
              <a:gd name="connsiteY125" fmla="*/ 726853 h 6622937"/>
              <a:gd name="connsiteX126" fmla="*/ 7941371 w 8636594"/>
              <a:gd name="connsiteY126" fmla="*/ 689010 h 6622937"/>
              <a:gd name="connsiteX127" fmla="*/ 7973518 w 8636594"/>
              <a:gd name="connsiteY127" fmla="*/ 651447 h 6622937"/>
              <a:gd name="connsiteX128" fmla="*/ 8005905 w 8636594"/>
              <a:gd name="connsiteY128" fmla="*/ 614171 h 6622937"/>
              <a:gd name="connsiteX129" fmla="*/ 8038538 w 8636594"/>
              <a:gd name="connsiteY129" fmla="*/ 577189 h 6622937"/>
              <a:gd name="connsiteX130" fmla="*/ 8071421 w 8636594"/>
              <a:gd name="connsiteY130" fmla="*/ 540507 h 6622937"/>
              <a:gd name="connsiteX131" fmla="*/ 8104563 w 8636594"/>
              <a:gd name="connsiteY131" fmla="*/ 504132 h 6622937"/>
              <a:gd name="connsiteX132" fmla="*/ 8137967 w 8636594"/>
              <a:gd name="connsiteY132" fmla="*/ 468072 h 6622937"/>
              <a:gd name="connsiteX133" fmla="*/ 8171641 w 8636594"/>
              <a:gd name="connsiteY133" fmla="*/ 432332 h 6622937"/>
              <a:gd name="connsiteX134" fmla="*/ 8205590 w 8636594"/>
              <a:gd name="connsiteY134" fmla="*/ 396920 h 6622937"/>
              <a:gd name="connsiteX135" fmla="*/ 8239820 w 8636594"/>
              <a:gd name="connsiteY135" fmla="*/ 361843 h 6622937"/>
              <a:gd name="connsiteX136" fmla="*/ 8274337 w 8636594"/>
              <a:gd name="connsiteY136" fmla="*/ 327107 h 6622937"/>
              <a:gd name="connsiteX137" fmla="*/ 8309147 w 8636594"/>
              <a:gd name="connsiteY137" fmla="*/ 292718 h 6622937"/>
              <a:gd name="connsiteX138" fmla="*/ 8344256 w 8636594"/>
              <a:gd name="connsiteY138" fmla="*/ 258685 h 6622937"/>
              <a:gd name="connsiteX139" fmla="*/ 8379669 w 8636594"/>
              <a:gd name="connsiteY139" fmla="*/ 225013 h 6622937"/>
              <a:gd name="connsiteX140" fmla="*/ 8415394 w 8636594"/>
              <a:gd name="connsiteY140" fmla="*/ 191709 h 6622937"/>
              <a:gd name="connsiteX141" fmla="*/ 8451434 w 8636594"/>
              <a:gd name="connsiteY141" fmla="*/ 158780 h 6622937"/>
              <a:gd name="connsiteX142" fmla="*/ 8487798 w 8636594"/>
              <a:gd name="connsiteY142" fmla="*/ 126233 h 6622937"/>
              <a:gd name="connsiteX143" fmla="*/ 8524489 w 8636594"/>
              <a:gd name="connsiteY143" fmla="*/ 94075 h 6622937"/>
              <a:gd name="connsiteX144" fmla="*/ 8561515 w 8636594"/>
              <a:gd name="connsiteY144" fmla="*/ 62312 h 6622937"/>
              <a:gd name="connsiteX145" fmla="*/ 8598881 w 8636594"/>
              <a:gd name="connsiteY145" fmla="*/ 30951 h 6622937"/>
              <a:gd name="connsiteX146" fmla="*/ 8636594 w 8636594"/>
              <a:gd name="connsiteY146"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222486 w 8636594"/>
              <a:gd name="connsiteY5" fmla="*/ 5687627 h 6622937"/>
              <a:gd name="connsiteX6" fmla="*/ 2412216 w 8636594"/>
              <a:gd name="connsiteY6" fmla="*/ 5587741 h 6622937"/>
              <a:gd name="connsiteX7" fmla="*/ 2490090 w 8636594"/>
              <a:gd name="connsiteY7" fmla="*/ 5591230 h 6622937"/>
              <a:gd name="connsiteX8" fmla="*/ 2561975 w 8636594"/>
              <a:gd name="connsiteY8" fmla="*/ 5533193 h 6622937"/>
              <a:gd name="connsiteX9" fmla="*/ 2066817 w 8636594"/>
              <a:gd name="connsiteY9" fmla="*/ 6622937 h 6622937"/>
              <a:gd name="connsiteX10" fmla="*/ 2126742 w 8636594"/>
              <a:gd name="connsiteY10" fmla="*/ 6612869 h 6622937"/>
              <a:gd name="connsiteX11" fmla="*/ 2185991 w 8636594"/>
              <a:gd name="connsiteY11" fmla="*/ 6602362 h 6622937"/>
              <a:gd name="connsiteX12" fmla="*/ 2244569 w 8636594"/>
              <a:gd name="connsiteY12" fmla="*/ 6591417 h 6622937"/>
              <a:gd name="connsiteX13" fmla="*/ 2302482 w 8636594"/>
              <a:gd name="connsiteY13" fmla="*/ 6580040 h 6622937"/>
              <a:gd name="connsiteX14" fmla="*/ 2359737 w 8636594"/>
              <a:gd name="connsiteY14" fmla="*/ 6568233 h 6622937"/>
              <a:gd name="connsiteX15" fmla="*/ 2416341 w 8636594"/>
              <a:gd name="connsiteY15" fmla="*/ 6555999 h 6622937"/>
              <a:gd name="connsiteX16" fmla="*/ 2472299 w 8636594"/>
              <a:gd name="connsiteY16" fmla="*/ 6543344 h 6622937"/>
              <a:gd name="connsiteX17" fmla="*/ 2527618 w 8636594"/>
              <a:gd name="connsiteY17" fmla="*/ 6530269 h 6622937"/>
              <a:gd name="connsiteX18" fmla="*/ 2582304 w 8636594"/>
              <a:gd name="connsiteY18" fmla="*/ 6516778 h 6622937"/>
              <a:gd name="connsiteX19" fmla="*/ 2636364 w 8636594"/>
              <a:gd name="connsiteY19" fmla="*/ 6502876 h 6622937"/>
              <a:gd name="connsiteX20" fmla="*/ 2689804 w 8636594"/>
              <a:gd name="connsiteY20" fmla="*/ 6488565 h 6622937"/>
              <a:gd name="connsiteX21" fmla="*/ 2742629 w 8636594"/>
              <a:gd name="connsiteY21" fmla="*/ 6473849 h 6622937"/>
              <a:gd name="connsiteX22" fmla="*/ 2794848 w 8636594"/>
              <a:gd name="connsiteY22" fmla="*/ 6458731 h 6622937"/>
              <a:gd name="connsiteX23" fmla="*/ 2846466 w 8636594"/>
              <a:gd name="connsiteY23" fmla="*/ 6443216 h 6622937"/>
              <a:gd name="connsiteX24" fmla="*/ 2897488 w 8636594"/>
              <a:gd name="connsiteY24" fmla="*/ 6427305 h 6622937"/>
              <a:gd name="connsiteX25" fmla="*/ 2947923 w 8636594"/>
              <a:gd name="connsiteY25" fmla="*/ 6411004 h 6622937"/>
              <a:gd name="connsiteX26" fmla="*/ 2997775 w 8636594"/>
              <a:gd name="connsiteY26" fmla="*/ 6394316 h 6622937"/>
              <a:gd name="connsiteX27" fmla="*/ 3047052 w 8636594"/>
              <a:gd name="connsiteY27" fmla="*/ 6377243 h 6622937"/>
              <a:gd name="connsiteX28" fmla="*/ 3095759 w 8636594"/>
              <a:gd name="connsiteY28" fmla="*/ 6359791 h 6622937"/>
              <a:gd name="connsiteX29" fmla="*/ 3143903 w 8636594"/>
              <a:gd name="connsiteY29" fmla="*/ 6341961 h 6622937"/>
              <a:gd name="connsiteX30" fmla="*/ 3191491 w 8636594"/>
              <a:gd name="connsiteY30" fmla="*/ 6323757 h 6622937"/>
              <a:gd name="connsiteX31" fmla="*/ 3238528 w 8636594"/>
              <a:gd name="connsiteY31" fmla="*/ 6305184 h 6622937"/>
              <a:gd name="connsiteX32" fmla="*/ 3285021 w 8636594"/>
              <a:gd name="connsiteY32" fmla="*/ 6286245 h 6622937"/>
              <a:gd name="connsiteX33" fmla="*/ 3330977 w 8636594"/>
              <a:gd name="connsiteY33" fmla="*/ 6266942 h 6622937"/>
              <a:gd name="connsiteX34" fmla="*/ 3376401 w 8636594"/>
              <a:gd name="connsiteY34" fmla="*/ 6247281 h 6622937"/>
              <a:gd name="connsiteX35" fmla="*/ 3421300 w 8636594"/>
              <a:gd name="connsiteY35" fmla="*/ 6227263 h 6622937"/>
              <a:gd name="connsiteX36" fmla="*/ 3465680 w 8636594"/>
              <a:gd name="connsiteY36" fmla="*/ 6206893 h 6622937"/>
              <a:gd name="connsiteX37" fmla="*/ 3509548 w 8636594"/>
              <a:gd name="connsiteY37" fmla="*/ 6186174 h 6622937"/>
              <a:gd name="connsiteX38" fmla="*/ 3552910 w 8636594"/>
              <a:gd name="connsiteY38" fmla="*/ 6165110 h 6622937"/>
              <a:gd name="connsiteX39" fmla="*/ 3595773 w 8636594"/>
              <a:gd name="connsiteY39" fmla="*/ 6143704 h 6622937"/>
              <a:gd name="connsiteX40" fmla="*/ 3638142 w 8636594"/>
              <a:gd name="connsiteY40" fmla="*/ 6121960 h 6622937"/>
              <a:gd name="connsiteX41" fmla="*/ 3680024 w 8636594"/>
              <a:gd name="connsiteY41" fmla="*/ 6099881 h 6622937"/>
              <a:gd name="connsiteX42" fmla="*/ 3721426 w 8636594"/>
              <a:gd name="connsiteY42" fmla="*/ 6077471 h 6622937"/>
              <a:gd name="connsiteX43" fmla="*/ 3762353 w 8636594"/>
              <a:gd name="connsiteY43" fmla="*/ 6054733 h 6622937"/>
              <a:gd name="connsiteX44" fmla="*/ 3802812 w 8636594"/>
              <a:gd name="connsiteY44" fmla="*/ 6031671 h 6622937"/>
              <a:gd name="connsiteX45" fmla="*/ 3842810 w 8636594"/>
              <a:gd name="connsiteY45" fmla="*/ 6008288 h 6622937"/>
              <a:gd name="connsiteX46" fmla="*/ 3882352 w 8636594"/>
              <a:gd name="connsiteY46" fmla="*/ 5984588 h 6622937"/>
              <a:gd name="connsiteX47" fmla="*/ 3921445 w 8636594"/>
              <a:gd name="connsiteY47" fmla="*/ 5960574 h 6622937"/>
              <a:gd name="connsiteX48" fmla="*/ 3960096 w 8636594"/>
              <a:gd name="connsiteY48" fmla="*/ 5936250 h 6622937"/>
              <a:gd name="connsiteX49" fmla="*/ 3998311 w 8636594"/>
              <a:gd name="connsiteY49" fmla="*/ 5911619 h 6622937"/>
              <a:gd name="connsiteX50" fmla="*/ 4036095 w 8636594"/>
              <a:gd name="connsiteY50" fmla="*/ 5886685 h 6622937"/>
              <a:gd name="connsiteX51" fmla="*/ 4073456 w 8636594"/>
              <a:gd name="connsiteY51" fmla="*/ 5861452 h 6622937"/>
              <a:gd name="connsiteX52" fmla="*/ 4110400 w 8636594"/>
              <a:gd name="connsiteY52" fmla="*/ 5835922 h 6622937"/>
              <a:gd name="connsiteX53" fmla="*/ 4146933 w 8636594"/>
              <a:gd name="connsiteY53" fmla="*/ 5810100 h 6622937"/>
              <a:gd name="connsiteX54" fmla="*/ 4183061 w 8636594"/>
              <a:gd name="connsiteY54" fmla="*/ 5783988 h 6622937"/>
              <a:gd name="connsiteX55" fmla="*/ 4218791 w 8636594"/>
              <a:gd name="connsiteY55" fmla="*/ 5757591 h 6622937"/>
              <a:gd name="connsiteX56" fmla="*/ 4254129 w 8636594"/>
              <a:gd name="connsiteY56" fmla="*/ 5730912 h 6622937"/>
              <a:gd name="connsiteX57" fmla="*/ 4289081 w 8636594"/>
              <a:gd name="connsiteY57" fmla="*/ 5703955 h 6622937"/>
              <a:gd name="connsiteX58" fmla="*/ 4323654 w 8636594"/>
              <a:gd name="connsiteY58" fmla="*/ 5676722 h 6622937"/>
              <a:gd name="connsiteX59" fmla="*/ 4357854 w 8636594"/>
              <a:gd name="connsiteY59" fmla="*/ 5649218 h 6622937"/>
              <a:gd name="connsiteX60" fmla="*/ 4391688 w 8636594"/>
              <a:gd name="connsiteY60" fmla="*/ 5621446 h 6622937"/>
              <a:gd name="connsiteX61" fmla="*/ 4425162 w 8636594"/>
              <a:gd name="connsiteY61" fmla="*/ 5593409 h 6622937"/>
              <a:gd name="connsiteX62" fmla="*/ 4458281 w 8636594"/>
              <a:gd name="connsiteY62" fmla="*/ 5565111 h 6622937"/>
              <a:gd name="connsiteX63" fmla="*/ 4491053 w 8636594"/>
              <a:gd name="connsiteY63" fmla="*/ 5536556 h 6622937"/>
              <a:gd name="connsiteX64" fmla="*/ 4523484 w 8636594"/>
              <a:gd name="connsiteY64" fmla="*/ 5507747 h 6622937"/>
              <a:gd name="connsiteX65" fmla="*/ 4555580 w 8636594"/>
              <a:gd name="connsiteY65" fmla="*/ 5478687 h 6622937"/>
              <a:gd name="connsiteX66" fmla="*/ 4587347 w 8636594"/>
              <a:gd name="connsiteY66" fmla="*/ 5449380 h 6622937"/>
              <a:gd name="connsiteX67" fmla="*/ 4618793 w 8636594"/>
              <a:gd name="connsiteY67" fmla="*/ 5419830 h 6622937"/>
              <a:gd name="connsiteX68" fmla="*/ 4649922 w 8636594"/>
              <a:gd name="connsiteY68" fmla="*/ 5390040 h 6622937"/>
              <a:gd name="connsiteX69" fmla="*/ 4680742 w 8636594"/>
              <a:gd name="connsiteY69" fmla="*/ 5360014 h 6622937"/>
              <a:gd name="connsiteX70" fmla="*/ 4711259 w 8636594"/>
              <a:gd name="connsiteY70" fmla="*/ 5329755 h 6622937"/>
              <a:gd name="connsiteX71" fmla="*/ 4741478 w 8636594"/>
              <a:gd name="connsiteY71" fmla="*/ 5299266 h 6622937"/>
              <a:gd name="connsiteX72" fmla="*/ 4771408 w 8636594"/>
              <a:gd name="connsiteY72" fmla="*/ 5268551 h 6622937"/>
              <a:gd name="connsiteX73" fmla="*/ 4801053 w 8636594"/>
              <a:gd name="connsiteY73" fmla="*/ 5237614 h 6622937"/>
              <a:gd name="connsiteX74" fmla="*/ 4830420 w 8636594"/>
              <a:gd name="connsiteY74" fmla="*/ 5206458 h 6622937"/>
              <a:gd name="connsiteX75" fmla="*/ 4859516 w 8636594"/>
              <a:gd name="connsiteY75" fmla="*/ 5175087 h 6622937"/>
              <a:gd name="connsiteX76" fmla="*/ 4888347 w 8636594"/>
              <a:gd name="connsiteY76" fmla="*/ 5143504 h 6622937"/>
              <a:gd name="connsiteX77" fmla="*/ 4916919 w 8636594"/>
              <a:gd name="connsiteY77" fmla="*/ 5111713 h 6622937"/>
              <a:gd name="connsiteX78" fmla="*/ 4945238 w 8636594"/>
              <a:gd name="connsiteY78" fmla="*/ 5079717 h 6622937"/>
              <a:gd name="connsiteX79" fmla="*/ 4973311 w 8636594"/>
              <a:gd name="connsiteY79" fmla="*/ 5047519 h 6622937"/>
              <a:gd name="connsiteX80" fmla="*/ 5001145 w 8636594"/>
              <a:gd name="connsiteY80" fmla="*/ 5015124 h 6622937"/>
              <a:gd name="connsiteX81" fmla="*/ 5028745 w 8636594"/>
              <a:gd name="connsiteY81" fmla="*/ 4982535 h 6622937"/>
              <a:gd name="connsiteX82" fmla="*/ 5056117 w 8636594"/>
              <a:gd name="connsiteY82" fmla="*/ 4949755 h 6622937"/>
              <a:gd name="connsiteX83" fmla="*/ 5083269 w 8636594"/>
              <a:gd name="connsiteY83" fmla="*/ 4916787 h 6622937"/>
              <a:gd name="connsiteX84" fmla="*/ 5110207 w 8636594"/>
              <a:gd name="connsiteY84" fmla="*/ 4883636 h 6622937"/>
              <a:gd name="connsiteX85" fmla="*/ 5136937 w 8636594"/>
              <a:gd name="connsiteY85" fmla="*/ 4850305 h 6622937"/>
              <a:gd name="connsiteX86" fmla="*/ 5163464 w 8636594"/>
              <a:gd name="connsiteY86" fmla="*/ 4816797 h 6622937"/>
              <a:gd name="connsiteX87" fmla="*/ 5215940 w 8636594"/>
              <a:gd name="connsiteY87" fmla="*/ 4749265 h 6622937"/>
              <a:gd name="connsiteX88" fmla="*/ 5267684 w 8636594"/>
              <a:gd name="connsiteY88" fmla="*/ 4681068 h 6622937"/>
              <a:gd name="connsiteX89" fmla="*/ 5318748 w 8636594"/>
              <a:gd name="connsiteY89" fmla="*/ 4612234 h 6622937"/>
              <a:gd name="connsiteX90" fmla="*/ 5369182 w 8636594"/>
              <a:gd name="connsiteY90" fmla="*/ 4542793 h 6622937"/>
              <a:gd name="connsiteX91" fmla="*/ 5419038 w 8636594"/>
              <a:gd name="connsiteY91" fmla="*/ 4472771 h 6622937"/>
              <a:gd name="connsiteX92" fmla="*/ 5468365 w 8636594"/>
              <a:gd name="connsiteY92" fmla="*/ 4402196 h 6622937"/>
              <a:gd name="connsiteX93" fmla="*/ 5517215 w 8636594"/>
              <a:gd name="connsiteY93" fmla="*/ 4331098 h 6622937"/>
              <a:gd name="connsiteX94" fmla="*/ 5565637 w 8636594"/>
              <a:gd name="connsiteY94" fmla="*/ 4259503 h 6622937"/>
              <a:gd name="connsiteX95" fmla="*/ 5613684 w 8636594"/>
              <a:gd name="connsiteY95" fmla="*/ 4187441 h 6622937"/>
              <a:gd name="connsiteX96" fmla="*/ 5685160 w 8636594"/>
              <a:gd name="connsiteY96" fmla="*/ 4078531 h 6622937"/>
              <a:gd name="connsiteX97" fmla="*/ 5756074 w 8636594"/>
              <a:gd name="connsiteY97" fmla="*/ 3968727 h 6622937"/>
              <a:gd name="connsiteX98" fmla="*/ 5873483 w 8636594"/>
              <a:gd name="connsiteY98" fmla="*/ 3783989 h 6622937"/>
              <a:gd name="connsiteX99" fmla="*/ 6203209 w 8636594"/>
              <a:gd name="connsiteY99" fmla="*/ 3258640 h 6622937"/>
              <a:gd name="connsiteX100" fmla="*/ 6299430 w 8636594"/>
              <a:gd name="connsiteY100" fmla="*/ 3107321 h 6622937"/>
              <a:gd name="connsiteX101" fmla="*/ 6372650 w 8636594"/>
              <a:gd name="connsiteY101" fmla="*/ 2993735 h 6622937"/>
              <a:gd name="connsiteX102" fmla="*/ 6453197 w 8636594"/>
              <a:gd name="connsiteY102" fmla="*/ 2869788 h 6622937"/>
              <a:gd name="connsiteX103" fmla="*/ 6564167 w 8636594"/>
              <a:gd name="connsiteY103" fmla="*/ 2696807 h 6622937"/>
              <a:gd name="connsiteX104" fmla="*/ 6976233 w 8636594"/>
              <a:gd name="connsiteY104" fmla="*/ 2045274 h 6622937"/>
              <a:gd name="connsiteX105" fmla="*/ 7086755 w 8636594"/>
              <a:gd name="connsiteY105" fmla="*/ 1872743 h 6622937"/>
              <a:gd name="connsiteX106" fmla="*/ 7170279 w 8636594"/>
              <a:gd name="connsiteY106" fmla="*/ 1744202 h 6622937"/>
              <a:gd name="connsiteX107" fmla="*/ 7226351 w 8636594"/>
              <a:gd name="connsiteY107" fmla="*/ 1659017 h 6622937"/>
              <a:gd name="connsiteX108" fmla="*/ 7282789 w 8636594"/>
              <a:gd name="connsiteY108" fmla="*/ 1574303 h 6622937"/>
              <a:gd name="connsiteX109" fmla="*/ 7339643 w 8636594"/>
              <a:gd name="connsiteY109" fmla="*/ 1490113 h 6622937"/>
              <a:gd name="connsiteX110" fmla="*/ 7396957 w 8636594"/>
              <a:gd name="connsiteY110" fmla="*/ 1406503 h 6622937"/>
              <a:gd name="connsiteX111" fmla="*/ 7454781 w 8636594"/>
              <a:gd name="connsiteY111" fmla="*/ 1323526 h 6622937"/>
              <a:gd name="connsiteX112" fmla="*/ 7513161 w 8636594"/>
              <a:gd name="connsiteY112" fmla="*/ 1241237 h 6622937"/>
              <a:gd name="connsiteX113" fmla="*/ 7572144 w 8636594"/>
              <a:gd name="connsiteY113" fmla="*/ 1159689 h 6622937"/>
              <a:gd name="connsiteX114" fmla="*/ 7601877 w 8636594"/>
              <a:gd name="connsiteY114" fmla="*/ 1119210 h 6622937"/>
              <a:gd name="connsiteX115" fmla="*/ 7631779 w 8636594"/>
              <a:gd name="connsiteY115" fmla="*/ 1078937 h 6622937"/>
              <a:gd name="connsiteX116" fmla="*/ 7661855 w 8636594"/>
              <a:gd name="connsiteY116" fmla="*/ 1038876 h 6622937"/>
              <a:gd name="connsiteX117" fmla="*/ 7692111 w 8636594"/>
              <a:gd name="connsiteY117" fmla="*/ 999035 h 6622937"/>
              <a:gd name="connsiteX118" fmla="*/ 7722554 w 8636594"/>
              <a:gd name="connsiteY118" fmla="*/ 959419 h 6622937"/>
              <a:gd name="connsiteX119" fmla="*/ 7753190 w 8636594"/>
              <a:gd name="connsiteY119" fmla="*/ 920037 h 6622937"/>
              <a:gd name="connsiteX120" fmla="*/ 7784023 w 8636594"/>
              <a:gd name="connsiteY120" fmla="*/ 880894 h 6622937"/>
              <a:gd name="connsiteX121" fmla="*/ 7815061 w 8636594"/>
              <a:gd name="connsiteY121" fmla="*/ 841997 h 6622937"/>
              <a:gd name="connsiteX122" fmla="*/ 7846308 w 8636594"/>
              <a:gd name="connsiteY122" fmla="*/ 803354 h 6622937"/>
              <a:gd name="connsiteX123" fmla="*/ 7877772 w 8636594"/>
              <a:gd name="connsiteY123" fmla="*/ 764970 h 6622937"/>
              <a:gd name="connsiteX124" fmla="*/ 7909458 w 8636594"/>
              <a:gd name="connsiteY124" fmla="*/ 726853 h 6622937"/>
              <a:gd name="connsiteX125" fmla="*/ 7941371 w 8636594"/>
              <a:gd name="connsiteY125" fmla="*/ 689010 h 6622937"/>
              <a:gd name="connsiteX126" fmla="*/ 7973518 w 8636594"/>
              <a:gd name="connsiteY126" fmla="*/ 651447 h 6622937"/>
              <a:gd name="connsiteX127" fmla="*/ 8005905 w 8636594"/>
              <a:gd name="connsiteY127" fmla="*/ 614171 h 6622937"/>
              <a:gd name="connsiteX128" fmla="*/ 8038538 w 8636594"/>
              <a:gd name="connsiteY128" fmla="*/ 577189 h 6622937"/>
              <a:gd name="connsiteX129" fmla="*/ 8071421 w 8636594"/>
              <a:gd name="connsiteY129" fmla="*/ 540507 h 6622937"/>
              <a:gd name="connsiteX130" fmla="*/ 8104563 w 8636594"/>
              <a:gd name="connsiteY130" fmla="*/ 504132 h 6622937"/>
              <a:gd name="connsiteX131" fmla="*/ 8137967 w 8636594"/>
              <a:gd name="connsiteY131" fmla="*/ 468072 h 6622937"/>
              <a:gd name="connsiteX132" fmla="*/ 8171641 w 8636594"/>
              <a:gd name="connsiteY132" fmla="*/ 432332 h 6622937"/>
              <a:gd name="connsiteX133" fmla="*/ 8205590 w 8636594"/>
              <a:gd name="connsiteY133" fmla="*/ 396920 h 6622937"/>
              <a:gd name="connsiteX134" fmla="*/ 8239820 w 8636594"/>
              <a:gd name="connsiteY134" fmla="*/ 361843 h 6622937"/>
              <a:gd name="connsiteX135" fmla="*/ 8274337 w 8636594"/>
              <a:gd name="connsiteY135" fmla="*/ 327107 h 6622937"/>
              <a:gd name="connsiteX136" fmla="*/ 8309147 w 8636594"/>
              <a:gd name="connsiteY136" fmla="*/ 292718 h 6622937"/>
              <a:gd name="connsiteX137" fmla="*/ 8344256 w 8636594"/>
              <a:gd name="connsiteY137" fmla="*/ 258685 h 6622937"/>
              <a:gd name="connsiteX138" fmla="*/ 8379669 w 8636594"/>
              <a:gd name="connsiteY138" fmla="*/ 225013 h 6622937"/>
              <a:gd name="connsiteX139" fmla="*/ 8415394 w 8636594"/>
              <a:gd name="connsiteY139" fmla="*/ 191709 h 6622937"/>
              <a:gd name="connsiteX140" fmla="*/ 8451434 w 8636594"/>
              <a:gd name="connsiteY140" fmla="*/ 158780 h 6622937"/>
              <a:gd name="connsiteX141" fmla="*/ 8487798 w 8636594"/>
              <a:gd name="connsiteY141" fmla="*/ 126233 h 6622937"/>
              <a:gd name="connsiteX142" fmla="*/ 8524489 w 8636594"/>
              <a:gd name="connsiteY142" fmla="*/ 94075 h 6622937"/>
              <a:gd name="connsiteX143" fmla="*/ 8561515 w 8636594"/>
              <a:gd name="connsiteY143" fmla="*/ 62312 h 6622937"/>
              <a:gd name="connsiteX144" fmla="*/ 8598881 w 8636594"/>
              <a:gd name="connsiteY144" fmla="*/ 30951 h 6622937"/>
              <a:gd name="connsiteX145" fmla="*/ 8636594 w 8636594"/>
              <a:gd name="connsiteY145"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12216 w 8636594"/>
              <a:gd name="connsiteY5" fmla="*/ 5587741 h 6622937"/>
              <a:gd name="connsiteX6" fmla="*/ 2490090 w 8636594"/>
              <a:gd name="connsiteY6" fmla="*/ 5591230 h 6622937"/>
              <a:gd name="connsiteX7" fmla="*/ 2561975 w 8636594"/>
              <a:gd name="connsiteY7" fmla="*/ 5533193 h 6622937"/>
              <a:gd name="connsiteX8" fmla="*/ 2066817 w 8636594"/>
              <a:gd name="connsiteY8" fmla="*/ 6622937 h 6622937"/>
              <a:gd name="connsiteX9" fmla="*/ 2126742 w 8636594"/>
              <a:gd name="connsiteY9" fmla="*/ 6612869 h 6622937"/>
              <a:gd name="connsiteX10" fmla="*/ 2185991 w 8636594"/>
              <a:gd name="connsiteY10" fmla="*/ 6602362 h 6622937"/>
              <a:gd name="connsiteX11" fmla="*/ 2244569 w 8636594"/>
              <a:gd name="connsiteY11" fmla="*/ 6591417 h 6622937"/>
              <a:gd name="connsiteX12" fmla="*/ 2302482 w 8636594"/>
              <a:gd name="connsiteY12" fmla="*/ 6580040 h 6622937"/>
              <a:gd name="connsiteX13" fmla="*/ 2359737 w 8636594"/>
              <a:gd name="connsiteY13" fmla="*/ 6568233 h 6622937"/>
              <a:gd name="connsiteX14" fmla="*/ 2416341 w 8636594"/>
              <a:gd name="connsiteY14" fmla="*/ 6555999 h 6622937"/>
              <a:gd name="connsiteX15" fmla="*/ 2472299 w 8636594"/>
              <a:gd name="connsiteY15" fmla="*/ 6543344 h 6622937"/>
              <a:gd name="connsiteX16" fmla="*/ 2527618 w 8636594"/>
              <a:gd name="connsiteY16" fmla="*/ 6530269 h 6622937"/>
              <a:gd name="connsiteX17" fmla="*/ 2582304 w 8636594"/>
              <a:gd name="connsiteY17" fmla="*/ 6516778 h 6622937"/>
              <a:gd name="connsiteX18" fmla="*/ 2636364 w 8636594"/>
              <a:gd name="connsiteY18" fmla="*/ 6502876 h 6622937"/>
              <a:gd name="connsiteX19" fmla="*/ 2689804 w 8636594"/>
              <a:gd name="connsiteY19" fmla="*/ 6488565 h 6622937"/>
              <a:gd name="connsiteX20" fmla="*/ 2742629 w 8636594"/>
              <a:gd name="connsiteY20" fmla="*/ 6473849 h 6622937"/>
              <a:gd name="connsiteX21" fmla="*/ 2794848 w 8636594"/>
              <a:gd name="connsiteY21" fmla="*/ 6458731 h 6622937"/>
              <a:gd name="connsiteX22" fmla="*/ 2846466 w 8636594"/>
              <a:gd name="connsiteY22" fmla="*/ 6443216 h 6622937"/>
              <a:gd name="connsiteX23" fmla="*/ 2897488 w 8636594"/>
              <a:gd name="connsiteY23" fmla="*/ 6427305 h 6622937"/>
              <a:gd name="connsiteX24" fmla="*/ 2947923 w 8636594"/>
              <a:gd name="connsiteY24" fmla="*/ 6411004 h 6622937"/>
              <a:gd name="connsiteX25" fmla="*/ 2997775 w 8636594"/>
              <a:gd name="connsiteY25" fmla="*/ 6394316 h 6622937"/>
              <a:gd name="connsiteX26" fmla="*/ 3047052 w 8636594"/>
              <a:gd name="connsiteY26" fmla="*/ 6377243 h 6622937"/>
              <a:gd name="connsiteX27" fmla="*/ 3095759 w 8636594"/>
              <a:gd name="connsiteY27" fmla="*/ 6359791 h 6622937"/>
              <a:gd name="connsiteX28" fmla="*/ 3143903 w 8636594"/>
              <a:gd name="connsiteY28" fmla="*/ 6341961 h 6622937"/>
              <a:gd name="connsiteX29" fmla="*/ 3191491 w 8636594"/>
              <a:gd name="connsiteY29" fmla="*/ 6323757 h 6622937"/>
              <a:gd name="connsiteX30" fmla="*/ 3238528 w 8636594"/>
              <a:gd name="connsiteY30" fmla="*/ 6305184 h 6622937"/>
              <a:gd name="connsiteX31" fmla="*/ 3285021 w 8636594"/>
              <a:gd name="connsiteY31" fmla="*/ 6286245 h 6622937"/>
              <a:gd name="connsiteX32" fmla="*/ 3330977 w 8636594"/>
              <a:gd name="connsiteY32" fmla="*/ 6266942 h 6622937"/>
              <a:gd name="connsiteX33" fmla="*/ 3376401 w 8636594"/>
              <a:gd name="connsiteY33" fmla="*/ 6247281 h 6622937"/>
              <a:gd name="connsiteX34" fmla="*/ 3421300 w 8636594"/>
              <a:gd name="connsiteY34" fmla="*/ 6227263 h 6622937"/>
              <a:gd name="connsiteX35" fmla="*/ 3465680 w 8636594"/>
              <a:gd name="connsiteY35" fmla="*/ 6206893 h 6622937"/>
              <a:gd name="connsiteX36" fmla="*/ 3509548 w 8636594"/>
              <a:gd name="connsiteY36" fmla="*/ 6186174 h 6622937"/>
              <a:gd name="connsiteX37" fmla="*/ 3552910 w 8636594"/>
              <a:gd name="connsiteY37" fmla="*/ 6165110 h 6622937"/>
              <a:gd name="connsiteX38" fmla="*/ 3595773 w 8636594"/>
              <a:gd name="connsiteY38" fmla="*/ 6143704 h 6622937"/>
              <a:gd name="connsiteX39" fmla="*/ 3638142 w 8636594"/>
              <a:gd name="connsiteY39" fmla="*/ 6121960 h 6622937"/>
              <a:gd name="connsiteX40" fmla="*/ 3680024 w 8636594"/>
              <a:gd name="connsiteY40" fmla="*/ 6099881 h 6622937"/>
              <a:gd name="connsiteX41" fmla="*/ 3721426 w 8636594"/>
              <a:gd name="connsiteY41" fmla="*/ 6077471 h 6622937"/>
              <a:gd name="connsiteX42" fmla="*/ 3762353 w 8636594"/>
              <a:gd name="connsiteY42" fmla="*/ 6054733 h 6622937"/>
              <a:gd name="connsiteX43" fmla="*/ 3802812 w 8636594"/>
              <a:gd name="connsiteY43" fmla="*/ 6031671 h 6622937"/>
              <a:gd name="connsiteX44" fmla="*/ 3842810 w 8636594"/>
              <a:gd name="connsiteY44" fmla="*/ 6008288 h 6622937"/>
              <a:gd name="connsiteX45" fmla="*/ 3882352 w 8636594"/>
              <a:gd name="connsiteY45" fmla="*/ 5984588 h 6622937"/>
              <a:gd name="connsiteX46" fmla="*/ 3921445 w 8636594"/>
              <a:gd name="connsiteY46" fmla="*/ 5960574 h 6622937"/>
              <a:gd name="connsiteX47" fmla="*/ 3960096 w 8636594"/>
              <a:gd name="connsiteY47" fmla="*/ 5936250 h 6622937"/>
              <a:gd name="connsiteX48" fmla="*/ 3998311 w 8636594"/>
              <a:gd name="connsiteY48" fmla="*/ 5911619 h 6622937"/>
              <a:gd name="connsiteX49" fmla="*/ 4036095 w 8636594"/>
              <a:gd name="connsiteY49" fmla="*/ 5886685 h 6622937"/>
              <a:gd name="connsiteX50" fmla="*/ 4073456 w 8636594"/>
              <a:gd name="connsiteY50" fmla="*/ 5861452 h 6622937"/>
              <a:gd name="connsiteX51" fmla="*/ 4110400 w 8636594"/>
              <a:gd name="connsiteY51" fmla="*/ 5835922 h 6622937"/>
              <a:gd name="connsiteX52" fmla="*/ 4146933 w 8636594"/>
              <a:gd name="connsiteY52" fmla="*/ 5810100 h 6622937"/>
              <a:gd name="connsiteX53" fmla="*/ 4183061 w 8636594"/>
              <a:gd name="connsiteY53" fmla="*/ 5783988 h 6622937"/>
              <a:gd name="connsiteX54" fmla="*/ 4218791 w 8636594"/>
              <a:gd name="connsiteY54" fmla="*/ 5757591 h 6622937"/>
              <a:gd name="connsiteX55" fmla="*/ 4254129 w 8636594"/>
              <a:gd name="connsiteY55" fmla="*/ 5730912 h 6622937"/>
              <a:gd name="connsiteX56" fmla="*/ 4289081 w 8636594"/>
              <a:gd name="connsiteY56" fmla="*/ 5703955 h 6622937"/>
              <a:gd name="connsiteX57" fmla="*/ 4323654 w 8636594"/>
              <a:gd name="connsiteY57" fmla="*/ 5676722 h 6622937"/>
              <a:gd name="connsiteX58" fmla="*/ 4357854 w 8636594"/>
              <a:gd name="connsiteY58" fmla="*/ 5649218 h 6622937"/>
              <a:gd name="connsiteX59" fmla="*/ 4391688 w 8636594"/>
              <a:gd name="connsiteY59" fmla="*/ 5621446 h 6622937"/>
              <a:gd name="connsiteX60" fmla="*/ 4425162 w 8636594"/>
              <a:gd name="connsiteY60" fmla="*/ 5593409 h 6622937"/>
              <a:gd name="connsiteX61" fmla="*/ 4458281 w 8636594"/>
              <a:gd name="connsiteY61" fmla="*/ 5565111 h 6622937"/>
              <a:gd name="connsiteX62" fmla="*/ 4491053 w 8636594"/>
              <a:gd name="connsiteY62" fmla="*/ 5536556 h 6622937"/>
              <a:gd name="connsiteX63" fmla="*/ 4523484 w 8636594"/>
              <a:gd name="connsiteY63" fmla="*/ 5507747 h 6622937"/>
              <a:gd name="connsiteX64" fmla="*/ 4555580 w 8636594"/>
              <a:gd name="connsiteY64" fmla="*/ 5478687 h 6622937"/>
              <a:gd name="connsiteX65" fmla="*/ 4587347 w 8636594"/>
              <a:gd name="connsiteY65" fmla="*/ 5449380 h 6622937"/>
              <a:gd name="connsiteX66" fmla="*/ 4618793 w 8636594"/>
              <a:gd name="connsiteY66" fmla="*/ 5419830 h 6622937"/>
              <a:gd name="connsiteX67" fmla="*/ 4649922 w 8636594"/>
              <a:gd name="connsiteY67" fmla="*/ 5390040 h 6622937"/>
              <a:gd name="connsiteX68" fmla="*/ 4680742 w 8636594"/>
              <a:gd name="connsiteY68" fmla="*/ 5360014 h 6622937"/>
              <a:gd name="connsiteX69" fmla="*/ 4711259 w 8636594"/>
              <a:gd name="connsiteY69" fmla="*/ 5329755 h 6622937"/>
              <a:gd name="connsiteX70" fmla="*/ 4741478 w 8636594"/>
              <a:gd name="connsiteY70" fmla="*/ 5299266 h 6622937"/>
              <a:gd name="connsiteX71" fmla="*/ 4771408 w 8636594"/>
              <a:gd name="connsiteY71" fmla="*/ 5268551 h 6622937"/>
              <a:gd name="connsiteX72" fmla="*/ 4801053 w 8636594"/>
              <a:gd name="connsiteY72" fmla="*/ 5237614 h 6622937"/>
              <a:gd name="connsiteX73" fmla="*/ 4830420 w 8636594"/>
              <a:gd name="connsiteY73" fmla="*/ 5206458 h 6622937"/>
              <a:gd name="connsiteX74" fmla="*/ 4859516 w 8636594"/>
              <a:gd name="connsiteY74" fmla="*/ 5175087 h 6622937"/>
              <a:gd name="connsiteX75" fmla="*/ 4888347 w 8636594"/>
              <a:gd name="connsiteY75" fmla="*/ 5143504 h 6622937"/>
              <a:gd name="connsiteX76" fmla="*/ 4916919 w 8636594"/>
              <a:gd name="connsiteY76" fmla="*/ 5111713 h 6622937"/>
              <a:gd name="connsiteX77" fmla="*/ 4945238 w 8636594"/>
              <a:gd name="connsiteY77" fmla="*/ 5079717 h 6622937"/>
              <a:gd name="connsiteX78" fmla="*/ 4973311 w 8636594"/>
              <a:gd name="connsiteY78" fmla="*/ 5047519 h 6622937"/>
              <a:gd name="connsiteX79" fmla="*/ 5001145 w 8636594"/>
              <a:gd name="connsiteY79" fmla="*/ 5015124 h 6622937"/>
              <a:gd name="connsiteX80" fmla="*/ 5028745 w 8636594"/>
              <a:gd name="connsiteY80" fmla="*/ 4982535 h 6622937"/>
              <a:gd name="connsiteX81" fmla="*/ 5056117 w 8636594"/>
              <a:gd name="connsiteY81" fmla="*/ 4949755 h 6622937"/>
              <a:gd name="connsiteX82" fmla="*/ 5083269 w 8636594"/>
              <a:gd name="connsiteY82" fmla="*/ 4916787 h 6622937"/>
              <a:gd name="connsiteX83" fmla="*/ 5110207 w 8636594"/>
              <a:gd name="connsiteY83" fmla="*/ 4883636 h 6622937"/>
              <a:gd name="connsiteX84" fmla="*/ 5136937 w 8636594"/>
              <a:gd name="connsiteY84" fmla="*/ 4850305 h 6622937"/>
              <a:gd name="connsiteX85" fmla="*/ 5163464 w 8636594"/>
              <a:gd name="connsiteY85" fmla="*/ 4816797 h 6622937"/>
              <a:gd name="connsiteX86" fmla="*/ 5215940 w 8636594"/>
              <a:gd name="connsiteY86" fmla="*/ 4749265 h 6622937"/>
              <a:gd name="connsiteX87" fmla="*/ 5267684 w 8636594"/>
              <a:gd name="connsiteY87" fmla="*/ 4681068 h 6622937"/>
              <a:gd name="connsiteX88" fmla="*/ 5318748 w 8636594"/>
              <a:gd name="connsiteY88" fmla="*/ 4612234 h 6622937"/>
              <a:gd name="connsiteX89" fmla="*/ 5369182 w 8636594"/>
              <a:gd name="connsiteY89" fmla="*/ 4542793 h 6622937"/>
              <a:gd name="connsiteX90" fmla="*/ 5419038 w 8636594"/>
              <a:gd name="connsiteY90" fmla="*/ 4472771 h 6622937"/>
              <a:gd name="connsiteX91" fmla="*/ 5468365 w 8636594"/>
              <a:gd name="connsiteY91" fmla="*/ 4402196 h 6622937"/>
              <a:gd name="connsiteX92" fmla="*/ 5517215 w 8636594"/>
              <a:gd name="connsiteY92" fmla="*/ 4331098 h 6622937"/>
              <a:gd name="connsiteX93" fmla="*/ 5565637 w 8636594"/>
              <a:gd name="connsiteY93" fmla="*/ 4259503 h 6622937"/>
              <a:gd name="connsiteX94" fmla="*/ 5613684 w 8636594"/>
              <a:gd name="connsiteY94" fmla="*/ 4187441 h 6622937"/>
              <a:gd name="connsiteX95" fmla="*/ 5685160 w 8636594"/>
              <a:gd name="connsiteY95" fmla="*/ 4078531 h 6622937"/>
              <a:gd name="connsiteX96" fmla="*/ 5756074 w 8636594"/>
              <a:gd name="connsiteY96" fmla="*/ 3968727 h 6622937"/>
              <a:gd name="connsiteX97" fmla="*/ 5873483 w 8636594"/>
              <a:gd name="connsiteY97" fmla="*/ 3783989 h 6622937"/>
              <a:gd name="connsiteX98" fmla="*/ 6203209 w 8636594"/>
              <a:gd name="connsiteY98" fmla="*/ 3258640 h 6622937"/>
              <a:gd name="connsiteX99" fmla="*/ 6299430 w 8636594"/>
              <a:gd name="connsiteY99" fmla="*/ 3107321 h 6622937"/>
              <a:gd name="connsiteX100" fmla="*/ 6372650 w 8636594"/>
              <a:gd name="connsiteY100" fmla="*/ 2993735 h 6622937"/>
              <a:gd name="connsiteX101" fmla="*/ 6453197 w 8636594"/>
              <a:gd name="connsiteY101" fmla="*/ 2869788 h 6622937"/>
              <a:gd name="connsiteX102" fmla="*/ 6564167 w 8636594"/>
              <a:gd name="connsiteY102" fmla="*/ 2696807 h 6622937"/>
              <a:gd name="connsiteX103" fmla="*/ 6976233 w 8636594"/>
              <a:gd name="connsiteY103" fmla="*/ 2045274 h 6622937"/>
              <a:gd name="connsiteX104" fmla="*/ 7086755 w 8636594"/>
              <a:gd name="connsiteY104" fmla="*/ 1872743 h 6622937"/>
              <a:gd name="connsiteX105" fmla="*/ 7170279 w 8636594"/>
              <a:gd name="connsiteY105" fmla="*/ 1744202 h 6622937"/>
              <a:gd name="connsiteX106" fmla="*/ 7226351 w 8636594"/>
              <a:gd name="connsiteY106" fmla="*/ 1659017 h 6622937"/>
              <a:gd name="connsiteX107" fmla="*/ 7282789 w 8636594"/>
              <a:gd name="connsiteY107" fmla="*/ 1574303 h 6622937"/>
              <a:gd name="connsiteX108" fmla="*/ 7339643 w 8636594"/>
              <a:gd name="connsiteY108" fmla="*/ 1490113 h 6622937"/>
              <a:gd name="connsiteX109" fmla="*/ 7396957 w 8636594"/>
              <a:gd name="connsiteY109" fmla="*/ 1406503 h 6622937"/>
              <a:gd name="connsiteX110" fmla="*/ 7454781 w 8636594"/>
              <a:gd name="connsiteY110" fmla="*/ 1323526 h 6622937"/>
              <a:gd name="connsiteX111" fmla="*/ 7513161 w 8636594"/>
              <a:gd name="connsiteY111" fmla="*/ 1241237 h 6622937"/>
              <a:gd name="connsiteX112" fmla="*/ 7572144 w 8636594"/>
              <a:gd name="connsiteY112" fmla="*/ 1159689 h 6622937"/>
              <a:gd name="connsiteX113" fmla="*/ 7601877 w 8636594"/>
              <a:gd name="connsiteY113" fmla="*/ 1119210 h 6622937"/>
              <a:gd name="connsiteX114" fmla="*/ 7631779 w 8636594"/>
              <a:gd name="connsiteY114" fmla="*/ 1078937 h 6622937"/>
              <a:gd name="connsiteX115" fmla="*/ 7661855 w 8636594"/>
              <a:gd name="connsiteY115" fmla="*/ 1038876 h 6622937"/>
              <a:gd name="connsiteX116" fmla="*/ 7692111 w 8636594"/>
              <a:gd name="connsiteY116" fmla="*/ 999035 h 6622937"/>
              <a:gd name="connsiteX117" fmla="*/ 7722554 w 8636594"/>
              <a:gd name="connsiteY117" fmla="*/ 959419 h 6622937"/>
              <a:gd name="connsiteX118" fmla="*/ 7753190 w 8636594"/>
              <a:gd name="connsiteY118" fmla="*/ 920037 h 6622937"/>
              <a:gd name="connsiteX119" fmla="*/ 7784023 w 8636594"/>
              <a:gd name="connsiteY119" fmla="*/ 880894 h 6622937"/>
              <a:gd name="connsiteX120" fmla="*/ 7815061 w 8636594"/>
              <a:gd name="connsiteY120" fmla="*/ 841997 h 6622937"/>
              <a:gd name="connsiteX121" fmla="*/ 7846308 w 8636594"/>
              <a:gd name="connsiteY121" fmla="*/ 803354 h 6622937"/>
              <a:gd name="connsiteX122" fmla="*/ 7877772 w 8636594"/>
              <a:gd name="connsiteY122" fmla="*/ 764970 h 6622937"/>
              <a:gd name="connsiteX123" fmla="*/ 7909458 w 8636594"/>
              <a:gd name="connsiteY123" fmla="*/ 726853 h 6622937"/>
              <a:gd name="connsiteX124" fmla="*/ 7941371 w 8636594"/>
              <a:gd name="connsiteY124" fmla="*/ 689010 h 6622937"/>
              <a:gd name="connsiteX125" fmla="*/ 7973518 w 8636594"/>
              <a:gd name="connsiteY125" fmla="*/ 651447 h 6622937"/>
              <a:gd name="connsiteX126" fmla="*/ 8005905 w 8636594"/>
              <a:gd name="connsiteY126" fmla="*/ 614171 h 6622937"/>
              <a:gd name="connsiteX127" fmla="*/ 8038538 w 8636594"/>
              <a:gd name="connsiteY127" fmla="*/ 577189 h 6622937"/>
              <a:gd name="connsiteX128" fmla="*/ 8071421 w 8636594"/>
              <a:gd name="connsiteY128" fmla="*/ 540507 h 6622937"/>
              <a:gd name="connsiteX129" fmla="*/ 8104563 w 8636594"/>
              <a:gd name="connsiteY129" fmla="*/ 504132 h 6622937"/>
              <a:gd name="connsiteX130" fmla="*/ 8137967 w 8636594"/>
              <a:gd name="connsiteY130" fmla="*/ 468072 h 6622937"/>
              <a:gd name="connsiteX131" fmla="*/ 8171641 w 8636594"/>
              <a:gd name="connsiteY131" fmla="*/ 432332 h 6622937"/>
              <a:gd name="connsiteX132" fmla="*/ 8205590 w 8636594"/>
              <a:gd name="connsiteY132" fmla="*/ 396920 h 6622937"/>
              <a:gd name="connsiteX133" fmla="*/ 8239820 w 8636594"/>
              <a:gd name="connsiteY133" fmla="*/ 361843 h 6622937"/>
              <a:gd name="connsiteX134" fmla="*/ 8274337 w 8636594"/>
              <a:gd name="connsiteY134" fmla="*/ 327107 h 6622937"/>
              <a:gd name="connsiteX135" fmla="*/ 8309147 w 8636594"/>
              <a:gd name="connsiteY135" fmla="*/ 292718 h 6622937"/>
              <a:gd name="connsiteX136" fmla="*/ 8344256 w 8636594"/>
              <a:gd name="connsiteY136" fmla="*/ 258685 h 6622937"/>
              <a:gd name="connsiteX137" fmla="*/ 8379669 w 8636594"/>
              <a:gd name="connsiteY137" fmla="*/ 225013 h 6622937"/>
              <a:gd name="connsiteX138" fmla="*/ 8415394 w 8636594"/>
              <a:gd name="connsiteY138" fmla="*/ 191709 h 6622937"/>
              <a:gd name="connsiteX139" fmla="*/ 8451434 w 8636594"/>
              <a:gd name="connsiteY139" fmla="*/ 158780 h 6622937"/>
              <a:gd name="connsiteX140" fmla="*/ 8487798 w 8636594"/>
              <a:gd name="connsiteY140" fmla="*/ 126233 h 6622937"/>
              <a:gd name="connsiteX141" fmla="*/ 8524489 w 8636594"/>
              <a:gd name="connsiteY141" fmla="*/ 94075 h 6622937"/>
              <a:gd name="connsiteX142" fmla="*/ 8561515 w 8636594"/>
              <a:gd name="connsiteY142" fmla="*/ 62312 h 6622937"/>
              <a:gd name="connsiteX143" fmla="*/ 8598881 w 8636594"/>
              <a:gd name="connsiteY143" fmla="*/ 30951 h 6622937"/>
              <a:gd name="connsiteX144" fmla="*/ 8636594 w 8636594"/>
              <a:gd name="connsiteY144"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490090 w 8636594"/>
              <a:gd name="connsiteY5" fmla="*/ 5591230 h 6622937"/>
              <a:gd name="connsiteX6" fmla="*/ 2561975 w 8636594"/>
              <a:gd name="connsiteY6" fmla="*/ 5533193 h 6622937"/>
              <a:gd name="connsiteX7" fmla="*/ 2066817 w 8636594"/>
              <a:gd name="connsiteY7" fmla="*/ 6622937 h 6622937"/>
              <a:gd name="connsiteX8" fmla="*/ 2126742 w 8636594"/>
              <a:gd name="connsiteY8" fmla="*/ 6612869 h 6622937"/>
              <a:gd name="connsiteX9" fmla="*/ 2185991 w 8636594"/>
              <a:gd name="connsiteY9" fmla="*/ 6602362 h 6622937"/>
              <a:gd name="connsiteX10" fmla="*/ 2244569 w 8636594"/>
              <a:gd name="connsiteY10" fmla="*/ 6591417 h 6622937"/>
              <a:gd name="connsiteX11" fmla="*/ 2302482 w 8636594"/>
              <a:gd name="connsiteY11" fmla="*/ 6580040 h 6622937"/>
              <a:gd name="connsiteX12" fmla="*/ 2359737 w 8636594"/>
              <a:gd name="connsiteY12" fmla="*/ 6568233 h 6622937"/>
              <a:gd name="connsiteX13" fmla="*/ 2416341 w 8636594"/>
              <a:gd name="connsiteY13" fmla="*/ 6555999 h 6622937"/>
              <a:gd name="connsiteX14" fmla="*/ 2472299 w 8636594"/>
              <a:gd name="connsiteY14" fmla="*/ 6543344 h 6622937"/>
              <a:gd name="connsiteX15" fmla="*/ 2527618 w 8636594"/>
              <a:gd name="connsiteY15" fmla="*/ 6530269 h 6622937"/>
              <a:gd name="connsiteX16" fmla="*/ 2582304 w 8636594"/>
              <a:gd name="connsiteY16" fmla="*/ 6516778 h 6622937"/>
              <a:gd name="connsiteX17" fmla="*/ 2636364 w 8636594"/>
              <a:gd name="connsiteY17" fmla="*/ 6502876 h 6622937"/>
              <a:gd name="connsiteX18" fmla="*/ 2689804 w 8636594"/>
              <a:gd name="connsiteY18" fmla="*/ 6488565 h 6622937"/>
              <a:gd name="connsiteX19" fmla="*/ 2742629 w 8636594"/>
              <a:gd name="connsiteY19" fmla="*/ 6473849 h 6622937"/>
              <a:gd name="connsiteX20" fmla="*/ 2794848 w 8636594"/>
              <a:gd name="connsiteY20" fmla="*/ 6458731 h 6622937"/>
              <a:gd name="connsiteX21" fmla="*/ 2846466 w 8636594"/>
              <a:gd name="connsiteY21" fmla="*/ 6443216 h 6622937"/>
              <a:gd name="connsiteX22" fmla="*/ 2897488 w 8636594"/>
              <a:gd name="connsiteY22" fmla="*/ 6427305 h 6622937"/>
              <a:gd name="connsiteX23" fmla="*/ 2947923 w 8636594"/>
              <a:gd name="connsiteY23" fmla="*/ 6411004 h 6622937"/>
              <a:gd name="connsiteX24" fmla="*/ 2997775 w 8636594"/>
              <a:gd name="connsiteY24" fmla="*/ 6394316 h 6622937"/>
              <a:gd name="connsiteX25" fmla="*/ 3047052 w 8636594"/>
              <a:gd name="connsiteY25" fmla="*/ 6377243 h 6622937"/>
              <a:gd name="connsiteX26" fmla="*/ 3095759 w 8636594"/>
              <a:gd name="connsiteY26" fmla="*/ 6359791 h 6622937"/>
              <a:gd name="connsiteX27" fmla="*/ 3143903 w 8636594"/>
              <a:gd name="connsiteY27" fmla="*/ 6341961 h 6622937"/>
              <a:gd name="connsiteX28" fmla="*/ 3191491 w 8636594"/>
              <a:gd name="connsiteY28" fmla="*/ 6323757 h 6622937"/>
              <a:gd name="connsiteX29" fmla="*/ 3238528 w 8636594"/>
              <a:gd name="connsiteY29" fmla="*/ 6305184 h 6622937"/>
              <a:gd name="connsiteX30" fmla="*/ 3285021 w 8636594"/>
              <a:gd name="connsiteY30" fmla="*/ 6286245 h 6622937"/>
              <a:gd name="connsiteX31" fmla="*/ 3330977 w 8636594"/>
              <a:gd name="connsiteY31" fmla="*/ 6266942 h 6622937"/>
              <a:gd name="connsiteX32" fmla="*/ 3376401 w 8636594"/>
              <a:gd name="connsiteY32" fmla="*/ 6247281 h 6622937"/>
              <a:gd name="connsiteX33" fmla="*/ 3421300 w 8636594"/>
              <a:gd name="connsiteY33" fmla="*/ 6227263 h 6622937"/>
              <a:gd name="connsiteX34" fmla="*/ 3465680 w 8636594"/>
              <a:gd name="connsiteY34" fmla="*/ 6206893 h 6622937"/>
              <a:gd name="connsiteX35" fmla="*/ 3509548 w 8636594"/>
              <a:gd name="connsiteY35" fmla="*/ 6186174 h 6622937"/>
              <a:gd name="connsiteX36" fmla="*/ 3552910 w 8636594"/>
              <a:gd name="connsiteY36" fmla="*/ 6165110 h 6622937"/>
              <a:gd name="connsiteX37" fmla="*/ 3595773 w 8636594"/>
              <a:gd name="connsiteY37" fmla="*/ 6143704 h 6622937"/>
              <a:gd name="connsiteX38" fmla="*/ 3638142 w 8636594"/>
              <a:gd name="connsiteY38" fmla="*/ 6121960 h 6622937"/>
              <a:gd name="connsiteX39" fmla="*/ 3680024 w 8636594"/>
              <a:gd name="connsiteY39" fmla="*/ 6099881 h 6622937"/>
              <a:gd name="connsiteX40" fmla="*/ 3721426 w 8636594"/>
              <a:gd name="connsiteY40" fmla="*/ 6077471 h 6622937"/>
              <a:gd name="connsiteX41" fmla="*/ 3762353 w 8636594"/>
              <a:gd name="connsiteY41" fmla="*/ 6054733 h 6622937"/>
              <a:gd name="connsiteX42" fmla="*/ 3802812 w 8636594"/>
              <a:gd name="connsiteY42" fmla="*/ 6031671 h 6622937"/>
              <a:gd name="connsiteX43" fmla="*/ 3842810 w 8636594"/>
              <a:gd name="connsiteY43" fmla="*/ 6008288 h 6622937"/>
              <a:gd name="connsiteX44" fmla="*/ 3882352 w 8636594"/>
              <a:gd name="connsiteY44" fmla="*/ 5984588 h 6622937"/>
              <a:gd name="connsiteX45" fmla="*/ 3921445 w 8636594"/>
              <a:gd name="connsiteY45" fmla="*/ 5960574 h 6622937"/>
              <a:gd name="connsiteX46" fmla="*/ 3960096 w 8636594"/>
              <a:gd name="connsiteY46" fmla="*/ 5936250 h 6622937"/>
              <a:gd name="connsiteX47" fmla="*/ 3998311 w 8636594"/>
              <a:gd name="connsiteY47" fmla="*/ 5911619 h 6622937"/>
              <a:gd name="connsiteX48" fmla="*/ 4036095 w 8636594"/>
              <a:gd name="connsiteY48" fmla="*/ 5886685 h 6622937"/>
              <a:gd name="connsiteX49" fmla="*/ 4073456 w 8636594"/>
              <a:gd name="connsiteY49" fmla="*/ 5861452 h 6622937"/>
              <a:gd name="connsiteX50" fmla="*/ 4110400 w 8636594"/>
              <a:gd name="connsiteY50" fmla="*/ 5835922 h 6622937"/>
              <a:gd name="connsiteX51" fmla="*/ 4146933 w 8636594"/>
              <a:gd name="connsiteY51" fmla="*/ 5810100 h 6622937"/>
              <a:gd name="connsiteX52" fmla="*/ 4183061 w 8636594"/>
              <a:gd name="connsiteY52" fmla="*/ 5783988 h 6622937"/>
              <a:gd name="connsiteX53" fmla="*/ 4218791 w 8636594"/>
              <a:gd name="connsiteY53" fmla="*/ 5757591 h 6622937"/>
              <a:gd name="connsiteX54" fmla="*/ 4254129 w 8636594"/>
              <a:gd name="connsiteY54" fmla="*/ 5730912 h 6622937"/>
              <a:gd name="connsiteX55" fmla="*/ 4289081 w 8636594"/>
              <a:gd name="connsiteY55" fmla="*/ 5703955 h 6622937"/>
              <a:gd name="connsiteX56" fmla="*/ 4323654 w 8636594"/>
              <a:gd name="connsiteY56" fmla="*/ 5676722 h 6622937"/>
              <a:gd name="connsiteX57" fmla="*/ 4357854 w 8636594"/>
              <a:gd name="connsiteY57" fmla="*/ 5649218 h 6622937"/>
              <a:gd name="connsiteX58" fmla="*/ 4391688 w 8636594"/>
              <a:gd name="connsiteY58" fmla="*/ 5621446 h 6622937"/>
              <a:gd name="connsiteX59" fmla="*/ 4425162 w 8636594"/>
              <a:gd name="connsiteY59" fmla="*/ 5593409 h 6622937"/>
              <a:gd name="connsiteX60" fmla="*/ 4458281 w 8636594"/>
              <a:gd name="connsiteY60" fmla="*/ 5565111 h 6622937"/>
              <a:gd name="connsiteX61" fmla="*/ 4491053 w 8636594"/>
              <a:gd name="connsiteY61" fmla="*/ 5536556 h 6622937"/>
              <a:gd name="connsiteX62" fmla="*/ 4523484 w 8636594"/>
              <a:gd name="connsiteY62" fmla="*/ 5507747 h 6622937"/>
              <a:gd name="connsiteX63" fmla="*/ 4555580 w 8636594"/>
              <a:gd name="connsiteY63" fmla="*/ 5478687 h 6622937"/>
              <a:gd name="connsiteX64" fmla="*/ 4587347 w 8636594"/>
              <a:gd name="connsiteY64" fmla="*/ 5449380 h 6622937"/>
              <a:gd name="connsiteX65" fmla="*/ 4618793 w 8636594"/>
              <a:gd name="connsiteY65" fmla="*/ 5419830 h 6622937"/>
              <a:gd name="connsiteX66" fmla="*/ 4649922 w 8636594"/>
              <a:gd name="connsiteY66" fmla="*/ 5390040 h 6622937"/>
              <a:gd name="connsiteX67" fmla="*/ 4680742 w 8636594"/>
              <a:gd name="connsiteY67" fmla="*/ 5360014 h 6622937"/>
              <a:gd name="connsiteX68" fmla="*/ 4711259 w 8636594"/>
              <a:gd name="connsiteY68" fmla="*/ 5329755 h 6622937"/>
              <a:gd name="connsiteX69" fmla="*/ 4741478 w 8636594"/>
              <a:gd name="connsiteY69" fmla="*/ 5299266 h 6622937"/>
              <a:gd name="connsiteX70" fmla="*/ 4771408 w 8636594"/>
              <a:gd name="connsiteY70" fmla="*/ 5268551 h 6622937"/>
              <a:gd name="connsiteX71" fmla="*/ 4801053 w 8636594"/>
              <a:gd name="connsiteY71" fmla="*/ 5237614 h 6622937"/>
              <a:gd name="connsiteX72" fmla="*/ 4830420 w 8636594"/>
              <a:gd name="connsiteY72" fmla="*/ 5206458 h 6622937"/>
              <a:gd name="connsiteX73" fmla="*/ 4859516 w 8636594"/>
              <a:gd name="connsiteY73" fmla="*/ 5175087 h 6622937"/>
              <a:gd name="connsiteX74" fmla="*/ 4888347 w 8636594"/>
              <a:gd name="connsiteY74" fmla="*/ 5143504 h 6622937"/>
              <a:gd name="connsiteX75" fmla="*/ 4916919 w 8636594"/>
              <a:gd name="connsiteY75" fmla="*/ 5111713 h 6622937"/>
              <a:gd name="connsiteX76" fmla="*/ 4945238 w 8636594"/>
              <a:gd name="connsiteY76" fmla="*/ 5079717 h 6622937"/>
              <a:gd name="connsiteX77" fmla="*/ 4973311 w 8636594"/>
              <a:gd name="connsiteY77" fmla="*/ 5047519 h 6622937"/>
              <a:gd name="connsiteX78" fmla="*/ 5001145 w 8636594"/>
              <a:gd name="connsiteY78" fmla="*/ 5015124 h 6622937"/>
              <a:gd name="connsiteX79" fmla="*/ 5028745 w 8636594"/>
              <a:gd name="connsiteY79" fmla="*/ 4982535 h 6622937"/>
              <a:gd name="connsiteX80" fmla="*/ 5056117 w 8636594"/>
              <a:gd name="connsiteY80" fmla="*/ 4949755 h 6622937"/>
              <a:gd name="connsiteX81" fmla="*/ 5083269 w 8636594"/>
              <a:gd name="connsiteY81" fmla="*/ 4916787 h 6622937"/>
              <a:gd name="connsiteX82" fmla="*/ 5110207 w 8636594"/>
              <a:gd name="connsiteY82" fmla="*/ 4883636 h 6622937"/>
              <a:gd name="connsiteX83" fmla="*/ 5136937 w 8636594"/>
              <a:gd name="connsiteY83" fmla="*/ 4850305 h 6622937"/>
              <a:gd name="connsiteX84" fmla="*/ 5163464 w 8636594"/>
              <a:gd name="connsiteY84" fmla="*/ 4816797 h 6622937"/>
              <a:gd name="connsiteX85" fmla="*/ 5215940 w 8636594"/>
              <a:gd name="connsiteY85" fmla="*/ 4749265 h 6622937"/>
              <a:gd name="connsiteX86" fmla="*/ 5267684 w 8636594"/>
              <a:gd name="connsiteY86" fmla="*/ 4681068 h 6622937"/>
              <a:gd name="connsiteX87" fmla="*/ 5318748 w 8636594"/>
              <a:gd name="connsiteY87" fmla="*/ 4612234 h 6622937"/>
              <a:gd name="connsiteX88" fmla="*/ 5369182 w 8636594"/>
              <a:gd name="connsiteY88" fmla="*/ 4542793 h 6622937"/>
              <a:gd name="connsiteX89" fmla="*/ 5419038 w 8636594"/>
              <a:gd name="connsiteY89" fmla="*/ 4472771 h 6622937"/>
              <a:gd name="connsiteX90" fmla="*/ 5468365 w 8636594"/>
              <a:gd name="connsiteY90" fmla="*/ 4402196 h 6622937"/>
              <a:gd name="connsiteX91" fmla="*/ 5517215 w 8636594"/>
              <a:gd name="connsiteY91" fmla="*/ 4331098 h 6622937"/>
              <a:gd name="connsiteX92" fmla="*/ 5565637 w 8636594"/>
              <a:gd name="connsiteY92" fmla="*/ 4259503 h 6622937"/>
              <a:gd name="connsiteX93" fmla="*/ 5613684 w 8636594"/>
              <a:gd name="connsiteY93" fmla="*/ 4187441 h 6622937"/>
              <a:gd name="connsiteX94" fmla="*/ 5685160 w 8636594"/>
              <a:gd name="connsiteY94" fmla="*/ 4078531 h 6622937"/>
              <a:gd name="connsiteX95" fmla="*/ 5756074 w 8636594"/>
              <a:gd name="connsiteY95" fmla="*/ 3968727 h 6622937"/>
              <a:gd name="connsiteX96" fmla="*/ 5873483 w 8636594"/>
              <a:gd name="connsiteY96" fmla="*/ 3783989 h 6622937"/>
              <a:gd name="connsiteX97" fmla="*/ 6203209 w 8636594"/>
              <a:gd name="connsiteY97" fmla="*/ 3258640 h 6622937"/>
              <a:gd name="connsiteX98" fmla="*/ 6299430 w 8636594"/>
              <a:gd name="connsiteY98" fmla="*/ 3107321 h 6622937"/>
              <a:gd name="connsiteX99" fmla="*/ 6372650 w 8636594"/>
              <a:gd name="connsiteY99" fmla="*/ 2993735 h 6622937"/>
              <a:gd name="connsiteX100" fmla="*/ 6453197 w 8636594"/>
              <a:gd name="connsiteY100" fmla="*/ 2869788 h 6622937"/>
              <a:gd name="connsiteX101" fmla="*/ 6564167 w 8636594"/>
              <a:gd name="connsiteY101" fmla="*/ 2696807 h 6622937"/>
              <a:gd name="connsiteX102" fmla="*/ 6976233 w 8636594"/>
              <a:gd name="connsiteY102" fmla="*/ 2045274 h 6622937"/>
              <a:gd name="connsiteX103" fmla="*/ 7086755 w 8636594"/>
              <a:gd name="connsiteY103" fmla="*/ 1872743 h 6622937"/>
              <a:gd name="connsiteX104" fmla="*/ 7170279 w 8636594"/>
              <a:gd name="connsiteY104" fmla="*/ 1744202 h 6622937"/>
              <a:gd name="connsiteX105" fmla="*/ 7226351 w 8636594"/>
              <a:gd name="connsiteY105" fmla="*/ 1659017 h 6622937"/>
              <a:gd name="connsiteX106" fmla="*/ 7282789 w 8636594"/>
              <a:gd name="connsiteY106" fmla="*/ 1574303 h 6622937"/>
              <a:gd name="connsiteX107" fmla="*/ 7339643 w 8636594"/>
              <a:gd name="connsiteY107" fmla="*/ 1490113 h 6622937"/>
              <a:gd name="connsiteX108" fmla="*/ 7396957 w 8636594"/>
              <a:gd name="connsiteY108" fmla="*/ 1406503 h 6622937"/>
              <a:gd name="connsiteX109" fmla="*/ 7454781 w 8636594"/>
              <a:gd name="connsiteY109" fmla="*/ 1323526 h 6622937"/>
              <a:gd name="connsiteX110" fmla="*/ 7513161 w 8636594"/>
              <a:gd name="connsiteY110" fmla="*/ 1241237 h 6622937"/>
              <a:gd name="connsiteX111" fmla="*/ 7572144 w 8636594"/>
              <a:gd name="connsiteY111" fmla="*/ 1159689 h 6622937"/>
              <a:gd name="connsiteX112" fmla="*/ 7601877 w 8636594"/>
              <a:gd name="connsiteY112" fmla="*/ 1119210 h 6622937"/>
              <a:gd name="connsiteX113" fmla="*/ 7631779 w 8636594"/>
              <a:gd name="connsiteY113" fmla="*/ 1078937 h 6622937"/>
              <a:gd name="connsiteX114" fmla="*/ 7661855 w 8636594"/>
              <a:gd name="connsiteY114" fmla="*/ 1038876 h 6622937"/>
              <a:gd name="connsiteX115" fmla="*/ 7692111 w 8636594"/>
              <a:gd name="connsiteY115" fmla="*/ 999035 h 6622937"/>
              <a:gd name="connsiteX116" fmla="*/ 7722554 w 8636594"/>
              <a:gd name="connsiteY116" fmla="*/ 959419 h 6622937"/>
              <a:gd name="connsiteX117" fmla="*/ 7753190 w 8636594"/>
              <a:gd name="connsiteY117" fmla="*/ 920037 h 6622937"/>
              <a:gd name="connsiteX118" fmla="*/ 7784023 w 8636594"/>
              <a:gd name="connsiteY118" fmla="*/ 880894 h 6622937"/>
              <a:gd name="connsiteX119" fmla="*/ 7815061 w 8636594"/>
              <a:gd name="connsiteY119" fmla="*/ 841997 h 6622937"/>
              <a:gd name="connsiteX120" fmla="*/ 7846308 w 8636594"/>
              <a:gd name="connsiteY120" fmla="*/ 803354 h 6622937"/>
              <a:gd name="connsiteX121" fmla="*/ 7877772 w 8636594"/>
              <a:gd name="connsiteY121" fmla="*/ 764970 h 6622937"/>
              <a:gd name="connsiteX122" fmla="*/ 7909458 w 8636594"/>
              <a:gd name="connsiteY122" fmla="*/ 726853 h 6622937"/>
              <a:gd name="connsiteX123" fmla="*/ 7941371 w 8636594"/>
              <a:gd name="connsiteY123" fmla="*/ 689010 h 6622937"/>
              <a:gd name="connsiteX124" fmla="*/ 7973518 w 8636594"/>
              <a:gd name="connsiteY124" fmla="*/ 651447 h 6622937"/>
              <a:gd name="connsiteX125" fmla="*/ 8005905 w 8636594"/>
              <a:gd name="connsiteY125" fmla="*/ 614171 h 6622937"/>
              <a:gd name="connsiteX126" fmla="*/ 8038538 w 8636594"/>
              <a:gd name="connsiteY126" fmla="*/ 577189 h 6622937"/>
              <a:gd name="connsiteX127" fmla="*/ 8071421 w 8636594"/>
              <a:gd name="connsiteY127" fmla="*/ 540507 h 6622937"/>
              <a:gd name="connsiteX128" fmla="*/ 8104563 w 8636594"/>
              <a:gd name="connsiteY128" fmla="*/ 504132 h 6622937"/>
              <a:gd name="connsiteX129" fmla="*/ 8137967 w 8636594"/>
              <a:gd name="connsiteY129" fmla="*/ 468072 h 6622937"/>
              <a:gd name="connsiteX130" fmla="*/ 8171641 w 8636594"/>
              <a:gd name="connsiteY130" fmla="*/ 432332 h 6622937"/>
              <a:gd name="connsiteX131" fmla="*/ 8205590 w 8636594"/>
              <a:gd name="connsiteY131" fmla="*/ 396920 h 6622937"/>
              <a:gd name="connsiteX132" fmla="*/ 8239820 w 8636594"/>
              <a:gd name="connsiteY132" fmla="*/ 361843 h 6622937"/>
              <a:gd name="connsiteX133" fmla="*/ 8274337 w 8636594"/>
              <a:gd name="connsiteY133" fmla="*/ 327107 h 6622937"/>
              <a:gd name="connsiteX134" fmla="*/ 8309147 w 8636594"/>
              <a:gd name="connsiteY134" fmla="*/ 292718 h 6622937"/>
              <a:gd name="connsiteX135" fmla="*/ 8344256 w 8636594"/>
              <a:gd name="connsiteY135" fmla="*/ 258685 h 6622937"/>
              <a:gd name="connsiteX136" fmla="*/ 8379669 w 8636594"/>
              <a:gd name="connsiteY136" fmla="*/ 225013 h 6622937"/>
              <a:gd name="connsiteX137" fmla="*/ 8415394 w 8636594"/>
              <a:gd name="connsiteY137" fmla="*/ 191709 h 6622937"/>
              <a:gd name="connsiteX138" fmla="*/ 8451434 w 8636594"/>
              <a:gd name="connsiteY138" fmla="*/ 158780 h 6622937"/>
              <a:gd name="connsiteX139" fmla="*/ 8487798 w 8636594"/>
              <a:gd name="connsiteY139" fmla="*/ 126233 h 6622937"/>
              <a:gd name="connsiteX140" fmla="*/ 8524489 w 8636594"/>
              <a:gd name="connsiteY140" fmla="*/ 94075 h 6622937"/>
              <a:gd name="connsiteX141" fmla="*/ 8561515 w 8636594"/>
              <a:gd name="connsiteY141" fmla="*/ 62312 h 6622937"/>
              <a:gd name="connsiteX142" fmla="*/ 8598881 w 8636594"/>
              <a:gd name="connsiteY142" fmla="*/ 30951 h 6622937"/>
              <a:gd name="connsiteX143" fmla="*/ 8636594 w 8636594"/>
              <a:gd name="connsiteY143"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561975 w 8636594"/>
              <a:gd name="connsiteY5" fmla="*/ 5533193 h 6622937"/>
              <a:gd name="connsiteX6" fmla="*/ 2066817 w 8636594"/>
              <a:gd name="connsiteY6" fmla="*/ 6622937 h 6622937"/>
              <a:gd name="connsiteX7" fmla="*/ 2126742 w 8636594"/>
              <a:gd name="connsiteY7" fmla="*/ 6612869 h 6622937"/>
              <a:gd name="connsiteX8" fmla="*/ 2185991 w 8636594"/>
              <a:gd name="connsiteY8" fmla="*/ 6602362 h 6622937"/>
              <a:gd name="connsiteX9" fmla="*/ 2244569 w 8636594"/>
              <a:gd name="connsiteY9" fmla="*/ 6591417 h 6622937"/>
              <a:gd name="connsiteX10" fmla="*/ 2302482 w 8636594"/>
              <a:gd name="connsiteY10" fmla="*/ 6580040 h 6622937"/>
              <a:gd name="connsiteX11" fmla="*/ 2359737 w 8636594"/>
              <a:gd name="connsiteY11" fmla="*/ 6568233 h 6622937"/>
              <a:gd name="connsiteX12" fmla="*/ 2416341 w 8636594"/>
              <a:gd name="connsiteY12" fmla="*/ 6555999 h 6622937"/>
              <a:gd name="connsiteX13" fmla="*/ 2472299 w 8636594"/>
              <a:gd name="connsiteY13" fmla="*/ 6543344 h 6622937"/>
              <a:gd name="connsiteX14" fmla="*/ 2527618 w 8636594"/>
              <a:gd name="connsiteY14" fmla="*/ 6530269 h 6622937"/>
              <a:gd name="connsiteX15" fmla="*/ 2582304 w 8636594"/>
              <a:gd name="connsiteY15" fmla="*/ 6516778 h 6622937"/>
              <a:gd name="connsiteX16" fmla="*/ 2636364 w 8636594"/>
              <a:gd name="connsiteY16" fmla="*/ 6502876 h 6622937"/>
              <a:gd name="connsiteX17" fmla="*/ 2689804 w 8636594"/>
              <a:gd name="connsiteY17" fmla="*/ 6488565 h 6622937"/>
              <a:gd name="connsiteX18" fmla="*/ 2742629 w 8636594"/>
              <a:gd name="connsiteY18" fmla="*/ 6473849 h 6622937"/>
              <a:gd name="connsiteX19" fmla="*/ 2794848 w 8636594"/>
              <a:gd name="connsiteY19" fmla="*/ 6458731 h 6622937"/>
              <a:gd name="connsiteX20" fmla="*/ 2846466 w 8636594"/>
              <a:gd name="connsiteY20" fmla="*/ 6443216 h 6622937"/>
              <a:gd name="connsiteX21" fmla="*/ 2897488 w 8636594"/>
              <a:gd name="connsiteY21" fmla="*/ 6427305 h 6622937"/>
              <a:gd name="connsiteX22" fmla="*/ 2947923 w 8636594"/>
              <a:gd name="connsiteY22" fmla="*/ 6411004 h 6622937"/>
              <a:gd name="connsiteX23" fmla="*/ 2997775 w 8636594"/>
              <a:gd name="connsiteY23" fmla="*/ 6394316 h 6622937"/>
              <a:gd name="connsiteX24" fmla="*/ 3047052 w 8636594"/>
              <a:gd name="connsiteY24" fmla="*/ 6377243 h 6622937"/>
              <a:gd name="connsiteX25" fmla="*/ 3095759 w 8636594"/>
              <a:gd name="connsiteY25" fmla="*/ 6359791 h 6622937"/>
              <a:gd name="connsiteX26" fmla="*/ 3143903 w 8636594"/>
              <a:gd name="connsiteY26" fmla="*/ 6341961 h 6622937"/>
              <a:gd name="connsiteX27" fmla="*/ 3191491 w 8636594"/>
              <a:gd name="connsiteY27" fmla="*/ 6323757 h 6622937"/>
              <a:gd name="connsiteX28" fmla="*/ 3238528 w 8636594"/>
              <a:gd name="connsiteY28" fmla="*/ 6305184 h 6622937"/>
              <a:gd name="connsiteX29" fmla="*/ 3285021 w 8636594"/>
              <a:gd name="connsiteY29" fmla="*/ 6286245 h 6622937"/>
              <a:gd name="connsiteX30" fmla="*/ 3330977 w 8636594"/>
              <a:gd name="connsiteY30" fmla="*/ 6266942 h 6622937"/>
              <a:gd name="connsiteX31" fmla="*/ 3376401 w 8636594"/>
              <a:gd name="connsiteY31" fmla="*/ 6247281 h 6622937"/>
              <a:gd name="connsiteX32" fmla="*/ 3421300 w 8636594"/>
              <a:gd name="connsiteY32" fmla="*/ 6227263 h 6622937"/>
              <a:gd name="connsiteX33" fmla="*/ 3465680 w 8636594"/>
              <a:gd name="connsiteY33" fmla="*/ 6206893 h 6622937"/>
              <a:gd name="connsiteX34" fmla="*/ 3509548 w 8636594"/>
              <a:gd name="connsiteY34" fmla="*/ 6186174 h 6622937"/>
              <a:gd name="connsiteX35" fmla="*/ 3552910 w 8636594"/>
              <a:gd name="connsiteY35" fmla="*/ 6165110 h 6622937"/>
              <a:gd name="connsiteX36" fmla="*/ 3595773 w 8636594"/>
              <a:gd name="connsiteY36" fmla="*/ 6143704 h 6622937"/>
              <a:gd name="connsiteX37" fmla="*/ 3638142 w 8636594"/>
              <a:gd name="connsiteY37" fmla="*/ 6121960 h 6622937"/>
              <a:gd name="connsiteX38" fmla="*/ 3680024 w 8636594"/>
              <a:gd name="connsiteY38" fmla="*/ 6099881 h 6622937"/>
              <a:gd name="connsiteX39" fmla="*/ 3721426 w 8636594"/>
              <a:gd name="connsiteY39" fmla="*/ 6077471 h 6622937"/>
              <a:gd name="connsiteX40" fmla="*/ 3762353 w 8636594"/>
              <a:gd name="connsiteY40" fmla="*/ 6054733 h 6622937"/>
              <a:gd name="connsiteX41" fmla="*/ 3802812 w 8636594"/>
              <a:gd name="connsiteY41" fmla="*/ 6031671 h 6622937"/>
              <a:gd name="connsiteX42" fmla="*/ 3842810 w 8636594"/>
              <a:gd name="connsiteY42" fmla="*/ 6008288 h 6622937"/>
              <a:gd name="connsiteX43" fmla="*/ 3882352 w 8636594"/>
              <a:gd name="connsiteY43" fmla="*/ 5984588 h 6622937"/>
              <a:gd name="connsiteX44" fmla="*/ 3921445 w 8636594"/>
              <a:gd name="connsiteY44" fmla="*/ 5960574 h 6622937"/>
              <a:gd name="connsiteX45" fmla="*/ 3960096 w 8636594"/>
              <a:gd name="connsiteY45" fmla="*/ 5936250 h 6622937"/>
              <a:gd name="connsiteX46" fmla="*/ 3998311 w 8636594"/>
              <a:gd name="connsiteY46" fmla="*/ 5911619 h 6622937"/>
              <a:gd name="connsiteX47" fmla="*/ 4036095 w 8636594"/>
              <a:gd name="connsiteY47" fmla="*/ 5886685 h 6622937"/>
              <a:gd name="connsiteX48" fmla="*/ 4073456 w 8636594"/>
              <a:gd name="connsiteY48" fmla="*/ 5861452 h 6622937"/>
              <a:gd name="connsiteX49" fmla="*/ 4110400 w 8636594"/>
              <a:gd name="connsiteY49" fmla="*/ 5835922 h 6622937"/>
              <a:gd name="connsiteX50" fmla="*/ 4146933 w 8636594"/>
              <a:gd name="connsiteY50" fmla="*/ 5810100 h 6622937"/>
              <a:gd name="connsiteX51" fmla="*/ 4183061 w 8636594"/>
              <a:gd name="connsiteY51" fmla="*/ 5783988 h 6622937"/>
              <a:gd name="connsiteX52" fmla="*/ 4218791 w 8636594"/>
              <a:gd name="connsiteY52" fmla="*/ 5757591 h 6622937"/>
              <a:gd name="connsiteX53" fmla="*/ 4254129 w 8636594"/>
              <a:gd name="connsiteY53" fmla="*/ 5730912 h 6622937"/>
              <a:gd name="connsiteX54" fmla="*/ 4289081 w 8636594"/>
              <a:gd name="connsiteY54" fmla="*/ 5703955 h 6622937"/>
              <a:gd name="connsiteX55" fmla="*/ 4323654 w 8636594"/>
              <a:gd name="connsiteY55" fmla="*/ 5676722 h 6622937"/>
              <a:gd name="connsiteX56" fmla="*/ 4357854 w 8636594"/>
              <a:gd name="connsiteY56" fmla="*/ 5649218 h 6622937"/>
              <a:gd name="connsiteX57" fmla="*/ 4391688 w 8636594"/>
              <a:gd name="connsiteY57" fmla="*/ 5621446 h 6622937"/>
              <a:gd name="connsiteX58" fmla="*/ 4425162 w 8636594"/>
              <a:gd name="connsiteY58" fmla="*/ 5593409 h 6622937"/>
              <a:gd name="connsiteX59" fmla="*/ 4458281 w 8636594"/>
              <a:gd name="connsiteY59" fmla="*/ 5565111 h 6622937"/>
              <a:gd name="connsiteX60" fmla="*/ 4491053 w 8636594"/>
              <a:gd name="connsiteY60" fmla="*/ 5536556 h 6622937"/>
              <a:gd name="connsiteX61" fmla="*/ 4523484 w 8636594"/>
              <a:gd name="connsiteY61" fmla="*/ 5507747 h 6622937"/>
              <a:gd name="connsiteX62" fmla="*/ 4555580 w 8636594"/>
              <a:gd name="connsiteY62" fmla="*/ 5478687 h 6622937"/>
              <a:gd name="connsiteX63" fmla="*/ 4587347 w 8636594"/>
              <a:gd name="connsiteY63" fmla="*/ 5449380 h 6622937"/>
              <a:gd name="connsiteX64" fmla="*/ 4618793 w 8636594"/>
              <a:gd name="connsiteY64" fmla="*/ 5419830 h 6622937"/>
              <a:gd name="connsiteX65" fmla="*/ 4649922 w 8636594"/>
              <a:gd name="connsiteY65" fmla="*/ 5390040 h 6622937"/>
              <a:gd name="connsiteX66" fmla="*/ 4680742 w 8636594"/>
              <a:gd name="connsiteY66" fmla="*/ 5360014 h 6622937"/>
              <a:gd name="connsiteX67" fmla="*/ 4711259 w 8636594"/>
              <a:gd name="connsiteY67" fmla="*/ 5329755 h 6622937"/>
              <a:gd name="connsiteX68" fmla="*/ 4741478 w 8636594"/>
              <a:gd name="connsiteY68" fmla="*/ 5299266 h 6622937"/>
              <a:gd name="connsiteX69" fmla="*/ 4771408 w 8636594"/>
              <a:gd name="connsiteY69" fmla="*/ 5268551 h 6622937"/>
              <a:gd name="connsiteX70" fmla="*/ 4801053 w 8636594"/>
              <a:gd name="connsiteY70" fmla="*/ 5237614 h 6622937"/>
              <a:gd name="connsiteX71" fmla="*/ 4830420 w 8636594"/>
              <a:gd name="connsiteY71" fmla="*/ 5206458 h 6622937"/>
              <a:gd name="connsiteX72" fmla="*/ 4859516 w 8636594"/>
              <a:gd name="connsiteY72" fmla="*/ 5175087 h 6622937"/>
              <a:gd name="connsiteX73" fmla="*/ 4888347 w 8636594"/>
              <a:gd name="connsiteY73" fmla="*/ 5143504 h 6622937"/>
              <a:gd name="connsiteX74" fmla="*/ 4916919 w 8636594"/>
              <a:gd name="connsiteY74" fmla="*/ 5111713 h 6622937"/>
              <a:gd name="connsiteX75" fmla="*/ 4945238 w 8636594"/>
              <a:gd name="connsiteY75" fmla="*/ 5079717 h 6622937"/>
              <a:gd name="connsiteX76" fmla="*/ 4973311 w 8636594"/>
              <a:gd name="connsiteY76" fmla="*/ 5047519 h 6622937"/>
              <a:gd name="connsiteX77" fmla="*/ 5001145 w 8636594"/>
              <a:gd name="connsiteY77" fmla="*/ 5015124 h 6622937"/>
              <a:gd name="connsiteX78" fmla="*/ 5028745 w 8636594"/>
              <a:gd name="connsiteY78" fmla="*/ 4982535 h 6622937"/>
              <a:gd name="connsiteX79" fmla="*/ 5056117 w 8636594"/>
              <a:gd name="connsiteY79" fmla="*/ 4949755 h 6622937"/>
              <a:gd name="connsiteX80" fmla="*/ 5083269 w 8636594"/>
              <a:gd name="connsiteY80" fmla="*/ 4916787 h 6622937"/>
              <a:gd name="connsiteX81" fmla="*/ 5110207 w 8636594"/>
              <a:gd name="connsiteY81" fmla="*/ 4883636 h 6622937"/>
              <a:gd name="connsiteX82" fmla="*/ 5136937 w 8636594"/>
              <a:gd name="connsiteY82" fmla="*/ 4850305 h 6622937"/>
              <a:gd name="connsiteX83" fmla="*/ 5163464 w 8636594"/>
              <a:gd name="connsiteY83" fmla="*/ 4816797 h 6622937"/>
              <a:gd name="connsiteX84" fmla="*/ 5215940 w 8636594"/>
              <a:gd name="connsiteY84" fmla="*/ 4749265 h 6622937"/>
              <a:gd name="connsiteX85" fmla="*/ 5267684 w 8636594"/>
              <a:gd name="connsiteY85" fmla="*/ 4681068 h 6622937"/>
              <a:gd name="connsiteX86" fmla="*/ 5318748 w 8636594"/>
              <a:gd name="connsiteY86" fmla="*/ 4612234 h 6622937"/>
              <a:gd name="connsiteX87" fmla="*/ 5369182 w 8636594"/>
              <a:gd name="connsiteY87" fmla="*/ 4542793 h 6622937"/>
              <a:gd name="connsiteX88" fmla="*/ 5419038 w 8636594"/>
              <a:gd name="connsiteY88" fmla="*/ 4472771 h 6622937"/>
              <a:gd name="connsiteX89" fmla="*/ 5468365 w 8636594"/>
              <a:gd name="connsiteY89" fmla="*/ 4402196 h 6622937"/>
              <a:gd name="connsiteX90" fmla="*/ 5517215 w 8636594"/>
              <a:gd name="connsiteY90" fmla="*/ 4331098 h 6622937"/>
              <a:gd name="connsiteX91" fmla="*/ 5565637 w 8636594"/>
              <a:gd name="connsiteY91" fmla="*/ 4259503 h 6622937"/>
              <a:gd name="connsiteX92" fmla="*/ 5613684 w 8636594"/>
              <a:gd name="connsiteY92" fmla="*/ 4187441 h 6622937"/>
              <a:gd name="connsiteX93" fmla="*/ 5685160 w 8636594"/>
              <a:gd name="connsiteY93" fmla="*/ 4078531 h 6622937"/>
              <a:gd name="connsiteX94" fmla="*/ 5756074 w 8636594"/>
              <a:gd name="connsiteY94" fmla="*/ 3968727 h 6622937"/>
              <a:gd name="connsiteX95" fmla="*/ 5873483 w 8636594"/>
              <a:gd name="connsiteY95" fmla="*/ 3783989 h 6622937"/>
              <a:gd name="connsiteX96" fmla="*/ 6203209 w 8636594"/>
              <a:gd name="connsiteY96" fmla="*/ 3258640 h 6622937"/>
              <a:gd name="connsiteX97" fmla="*/ 6299430 w 8636594"/>
              <a:gd name="connsiteY97" fmla="*/ 3107321 h 6622937"/>
              <a:gd name="connsiteX98" fmla="*/ 6372650 w 8636594"/>
              <a:gd name="connsiteY98" fmla="*/ 2993735 h 6622937"/>
              <a:gd name="connsiteX99" fmla="*/ 6453197 w 8636594"/>
              <a:gd name="connsiteY99" fmla="*/ 2869788 h 6622937"/>
              <a:gd name="connsiteX100" fmla="*/ 6564167 w 8636594"/>
              <a:gd name="connsiteY100" fmla="*/ 2696807 h 6622937"/>
              <a:gd name="connsiteX101" fmla="*/ 6976233 w 8636594"/>
              <a:gd name="connsiteY101" fmla="*/ 2045274 h 6622937"/>
              <a:gd name="connsiteX102" fmla="*/ 7086755 w 8636594"/>
              <a:gd name="connsiteY102" fmla="*/ 1872743 h 6622937"/>
              <a:gd name="connsiteX103" fmla="*/ 7170279 w 8636594"/>
              <a:gd name="connsiteY103" fmla="*/ 1744202 h 6622937"/>
              <a:gd name="connsiteX104" fmla="*/ 7226351 w 8636594"/>
              <a:gd name="connsiteY104" fmla="*/ 1659017 h 6622937"/>
              <a:gd name="connsiteX105" fmla="*/ 7282789 w 8636594"/>
              <a:gd name="connsiteY105" fmla="*/ 1574303 h 6622937"/>
              <a:gd name="connsiteX106" fmla="*/ 7339643 w 8636594"/>
              <a:gd name="connsiteY106" fmla="*/ 1490113 h 6622937"/>
              <a:gd name="connsiteX107" fmla="*/ 7396957 w 8636594"/>
              <a:gd name="connsiteY107" fmla="*/ 1406503 h 6622937"/>
              <a:gd name="connsiteX108" fmla="*/ 7454781 w 8636594"/>
              <a:gd name="connsiteY108" fmla="*/ 1323526 h 6622937"/>
              <a:gd name="connsiteX109" fmla="*/ 7513161 w 8636594"/>
              <a:gd name="connsiteY109" fmla="*/ 1241237 h 6622937"/>
              <a:gd name="connsiteX110" fmla="*/ 7572144 w 8636594"/>
              <a:gd name="connsiteY110" fmla="*/ 1159689 h 6622937"/>
              <a:gd name="connsiteX111" fmla="*/ 7601877 w 8636594"/>
              <a:gd name="connsiteY111" fmla="*/ 1119210 h 6622937"/>
              <a:gd name="connsiteX112" fmla="*/ 7631779 w 8636594"/>
              <a:gd name="connsiteY112" fmla="*/ 1078937 h 6622937"/>
              <a:gd name="connsiteX113" fmla="*/ 7661855 w 8636594"/>
              <a:gd name="connsiteY113" fmla="*/ 1038876 h 6622937"/>
              <a:gd name="connsiteX114" fmla="*/ 7692111 w 8636594"/>
              <a:gd name="connsiteY114" fmla="*/ 999035 h 6622937"/>
              <a:gd name="connsiteX115" fmla="*/ 7722554 w 8636594"/>
              <a:gd name="connsiteY115" fmla="*/ 959419 h 6622937"/>
              <a:gd name="connsiteX116" fmla="*/ 7753190 w 8636594"/>
              <a:gd name="connsiteY116" fmla="*/ 920037 h 6622937"/>
              <a:gd name="connsiteX117" fmla="*/ 7784023 w 8636594"/>
              <a:gd name="connsiteY117" fmla="*/ 880894 h 6622937"/>
              <a:gd name="connsiteX118" fmla="*/ 7815061 w 8636594"/>
              <a:gd name="connsiteY118" fmla="*/ 841997 h 6622937"/>
              <a:gd name="connsiteX119" fmla="*/ 7846308 w 8636594"/>
              <a:gd name="connsiteY119" fmla="*/ 803354 h 6622937"/>
              <a:gd name="connsiteX120" fmla="*/ 7877772 w 8636594"/>
              <a:gd name="connsiteY120" fmla="*/ 764970 h 6622937"/>
              <a:gd name="connsiteX121" fmla="*/ 7909458 w 8636594"/>
              <a:gd name="connsiteY121" fmla="*/ 726853 h 6622937"/>
              <a:gd name="connsiteX122" fmla="*/ 7941371 w 8636594"/>
              <a:gd name="connsiteY122" fmla="*/ 689010 h 6622937"/>
              <a:gd name="connsiteX123" fmla="*/ 7973518 w 8636594"/>
              <a:gd name="connsiteY123" fmla="*/ 651447 h 6622937"/>
              <a:gd name="connsiteX124" fmla="*/ 8005905 w 8636594"/>
              <a:gd name="connsiteY124" fmla="*/ 614171 h 6622937"/>
              <a:gd name="connsiteX125" fmla="*/ 8038538 w 8636594"/>
              <a:gd name="connsiteY125" fmla="*/ 577189 h 6622937"/>
              <a:gd name="connsiteX126" fmla="*/ 8071421 w 8636594"/>
              <a:gd name="connsiteY126" fmla="*/ 540507 h 6622937"/>
              <a:gd name="connsiteX127" fmla="*/ 8104563 w 8636594"/>
              <a:gd name="connsiteY127" fmla="*/ 504132 h 6622937"/>
              <a:gd name="connsiteX128" fmla="*/ 8137967 w 8636594"/>
              <a:gd name="connsiteY128" fmla="*/ 468072 h 6622937"/>
              <a:gd name="connsiteX129" fmla="*/ 8171641 w 8636594"/>
              <a:gd name="connsiteY129" fmla="*/ 432332 h 6622937"/>
              <a:gd name="connsiteX130" fmla="*/ 8205590 w 8636594"/>
              <a:gd name="connsiteY130" fmla="*/ 396920 h 6622937"/>
              <a:gd name="connsiteX131" fmla="*/ 8239820 w 8636594"/>
              <a:gd name="connsiteY131" fmla="*/ 361843 h 6622937"/>
              <a:gd name="connsiteX132" fmla="*/ 8274337 w 8636594"/>
              <a:gd name="connsiteY132" fmla="*/ 327107 h 6622937"/>
              <a:gd name="connsiteX133" fmla="*/ 8309147 w 8636594"/>
              <a:gd name="connsiteY133" fmla="*/ 292718 h 6622937"/>
              <a:gd name="connsiteX134" fmla="*/ 8344256 w 8636594"/>
              <a:gd name="connsiteY134" fmla="*/ 258685 h 6622937"/>
              <a:gd name="connsiteX135" fmla="*/ 8379669 w 8636594"/>
              <a:gd name="connsiteY135" fmla="*/ 225013 h 6622937"/>
              <a:gd name="connsiteX136" fmla="*/ 8415394 w 8636594"/>
              <a:gd name="connsiteY136" fmla="*/ 191709 h 6622937"/>
              <a:gd name="connsiteX137" fmla="*/ 8451434 w 8636594"/>
              <a:gd name="connsiteY137" fmla="*/ 158780 h 6622937"/>
              <a:gd name="connsiteX138" fmla="*/ 8487798 w 8636594"/>
              <a:gd name="connsiteY138" fmla="*/ 126233 h 6622937"/>
              <a:gd name="connsiteX139" fmla="*/ 8524489 w 8636594"/>
              <a:gd name="connsiteY139" fmla="*/ 94075 h 6622937"/>
              <a:gd name="connsiteX140" fmla="*/ 8561515 w 8636594"/>
              <a:gd name="connsiteY140" fmla="*/ 62312 h 6622937"/>
              <a:gd name="connsiteX141" fmla="*/ 8598881 w 8636594"/>
              <a:gd name="connsiteY141" fmla="*/ 30951 h 6622937"/>
              <a:gd name="connsiteX142" fmla="*/ 8636594 w 8636594"/>
              <a:gd name="connsiteY142" fmla="*/ 0 h 6622937"/>
              <a:gd name="connsiteX0" fmla="*/ 8636594 w 8636594"/>
              <a:gd name="connsiteY0" fmla="*/ 0 h 6622937"/>
              <a:gd name="connsiteX1" fmla="*/ 5293 w 8636594"/>
              <a:gd name="connsiteY1" fmla="*/ 0 h 6622937"/>
              <a:gd name="connsiteX2" fmla="*/ 0 w 8636594"/>
              <a:gd name="connsiteY2" fmla="*/ 5587843 h 6622937"/>
              <a:gd name="connsiteX3" fmla="*/ 1594033 w 8636594"/>
              <a:gd name="connsiteY3" fmla="*/ 5600057 h 6622937"/>
              <a:gd name="connsiteX4" fmla="*/ 1686068 w 8636594"/>
              <a:gd name="connsiteY4" fmla="*/ 5599745 h 6622937"/>
              <a:gd name="connsiteX5" fmla="*/ 2066817 w 8636594"/>
              <a:gd name="connsiteY5" fmla="*/ 6622937 h 6622937"/>
              <a:gd name="connsiteX6" fmla="*/ 2126742 w 8636594"/>
              <a:gd name="connsiteY6" fmla="*/ 6612869 h 6622937"/>
              <a:gd name="connsiteX7" fmla="*/ 2185991 w 8636594"/>
              <a:gd name="connsiteY7" fmla="*/ 6602362 h 6622937"/>
              <a:gd name="connsiteX8" fmla="*/ 2244569 w 8636594"/>
              <a:gd name="connsiteY8" fmla="*/ 6591417 h 6622937"/>
              <a:gd name="connsiteX9" fmla="*/ 2302482 w 8636594"/>
              <a:gd name="connsiteY9" fmla="*/ 6580040 h 6622937"/>
              <a:gd name="connsiteX10" fmla="*/ 2359737 w 8636594"/>
              <a:gd name="connsiteY10" fmla="*/ 6568233 h 6622937"/>
              <a:gd name="connsiteX11" fmla="*/ 2416341 w 8636594"/>
              <a:gd name="connsiteY11" fmla="*/ 6555999 h 6622937"/>
              <a:gd name="connsiteX12" fmla="*/ 2472299 w 8636594"/>
              <a:gd name="connsiteY12" fmla="*/ 6543344 h 6622937"/>
              <a:gd name="connsiteX13" fmla="*/ 2527618 w 8636594"/>
              <a:gd name="connsiteY13" fmla="*/ 6530269 h 6622937"/>
              <a:gd name="connsiteX14" fmla="*/ 2582304 w 8636594"/>
              <a:gd name="connsiteY14" fmla="*/ 6516778 h 6622937"/>
              <a:gd name="connsiteX15" fmla="*/ 2636364 w 8636594"/>
              <a:gd name="connsiteY15" fmla="*/ 6502876 h 6622937"/>
              <a:gd name="connsiteX16" fmla="*/ 2689804 w 8636594"/>
              <a:gd name="connsiteY16" fmla="*/ 6488565 h 6622937"/>
              <a:gd name="connsiteX17" fmla="*/ 2742629 w 8636594"/>
              <a:gd name="connsiteY17" fmla="*/ 6473849 h 6622937"/>
              <a:gd name="connsiteX18" fmla="*/ 2794848 w 8636594"/>
              <a:gd name="connsiteY18" fmla="*/ 6458731 h 6622937"/>
              <a:gd name="connsiteX19" fmla="*/ 2846466 w 8636594"/>
              <a:gd name="connsiteY19" fmla="*/ 6443216 h 6622937"/>
              <a:gd name="connsiteX20" fmla="*/ 2897488 w 8636594"/>
              <a:gd name="connsiteY20" fmla="*/ 6427305 h 6622937"/>
              <a:gd name="connsiteX21" fmla="*/ 2947923 w 8636594"/>
              <a:gd name="connsiteY21" fmla="*/ 6411004 h 6622937"/>
              <a:gd name="connsiteX22" fmla="*/ 2997775 w 8636594"/>
              <a:gd name="connsiteY22" fmla="*/ 6394316 h 6622937"/>
              <a:gd name="connsiteX23" fmla="*/ 3047052 w 8636594"/>
              <a:gd name="connsiteY23" fmla="*/ 6377243 h 6622937"/>
              <a:gd name="connsiteX24" fmla="*/ 3095759 w 8636594"/>
              <a:gd name="connsiteY24" fmla="*/ 6359791 h 6622937"/>
              <a:gd name="connsiteX25" fmla="*/ 3143903 w 8636594"/>
              <a:gd name="connsiteY25" fmla="*/ 6341961 h 6622937"/>
              <a:gd name="connsiteX26" fmla="*/ 3191491 w 8636594"/>
              <a:gd name="connsiteY26" fmla="*/ 6323757 h 6622937"/>
              <a:gd name="connsiteX27" fmla="*/ 3238528 w 8636594"/>
              <a:gd name="connsiteY27" fmla="*/ 6305184 h 6622937"/>
              <a:gd name="connsiteX28" fmla="*/ 3285021 w 8636594"/>
              <a:gd name="connsiteY28" fmla="*/ 6286245 h 6622937"/>
              <a:gd name="connsiteX29" fmla="*/ 3330977 w 8636594"/>
              <a:gd name="connsiteY29" fmla="*/ 6266942 h 6622937"/>
              <a:gd name="connsiteX30" fmla="*/ 3376401 w 8636594"/>
              <a:gd name="connsiteY30" fmla="*/ 6247281 h 6622937"/>
              <a:gd name="connsiteX31" fmla="*/ 3421300 w 8636594"/>
              <a:gd name="connsiteY31" fmla="*/ 6227263 h 6622937"/>
              <a:gd name="connsiteX32" fmla="*/ 3465680 w 8636594"/>
              <a:gd name="connsiteY32" fmla="*/ 6206893 h 6622937"/>
              <a:gd name="connsiteX33" fmla="*/ 3509548 w 8636594"/>
              <a:gd name="connsiteY33" fmla="*/ 6186174 h 6622937"/>
              <a:gd name="connsiteX34" fmla="*/ 3552910 w 8636594"/>
              <a:gd name="connsiteY34" fmla="*/ 6165110 h 6622937"/>
              <a:gd name="connsiteX35" fmla="*/ 3595773 w 8636594"/>
              <a:gd name="connsiteY35" fmla="*/ 6143704 h 6622937"/>
              <a:gd name="connsiteX36" fmla="*/ 3638142 w 8636594"/>
              <a:gd name="connsiteY36" fmla="*/ 6121960 h 6622937"/>
              <a:gd name="connsiteX37" fmla="*/ 3680024 w 8636594"/>
              <a:gd name="connsiteY37" fmla="*/ 6099881 h 6622937"/>
              <a:gd name="connsiteX38" fmla="*/ 3721426 w 8636594"/>
              <a:gd name="connsiteY38" fmla="*/ 6077471 h 6622937"/>
              <a:gd name="connsiteX39" fmla="*/ 3762353 w 8636594"/>
              <a:gd name="connsiteY39" fmla="*/ 6054733 h 6622937"/>
              <a:gd name="connsiteX40" fmla="*/ 3802812 w 8636594"/>
              <a:gd name="connsiteY40" fmla="*/ 6031671 h 6622937"/>
              <a:gd name="connsiteX41" fmla="*/ 3842810 w 8636594"/>
              <a:gd name="connsiteY41" fmla="*/ 6008288 h 6622937"/>
              <a:gd name="connsiteX42" fmla="*/ 3882352 w 8636594"/>
              <a:gd name="connsiteY42" fmla="*/ 5984588 h 6622937"/>
              <a:gd name="connsiteX43" fmla="*/ 3921445 w 8636594"/>
              <a:gd name="connsiteY43" fmla="*/ 5960574 h 6622937"/>
              <a:gd name="connsiteX44" fmla="*/ 3960096 w 8636594"/>
              <a:gd name="connsiteY44" fmla="*/ 5936250 h 6622937"/>
              <a:gd name="connsiteX45" fmla="*/ 3998311 w 8636594"/>
              <a:gd name="connsiteY45" fmla="*/ 5911619 h 6622937"/>
              <a:gd name="connsiteX46" fmla="*/ 4036095 w 8636594"/>
              <a:gd name="connsiteY46" fmla="*/ 5886685 h 6622937"/>
              <a:gd name="connsiteX47" fmla="*/ 4073456 w 8636594"/>
              <a:gd name="connsiteY47" fmla="*/ 5861452 h 6622937"/>
              <a:gd name="connsiteX48" fmla="*/ 4110400 w 8636594"/>
              <a:gd name="connsiteY48" fmla="*/ 5835922 h 6622937"/>
              <a:gd name="connsiteX49" fmla="*/ 4146933 w 8636594"/>
              <a:gd name="connsiteY49" fmla="*/ 5810100 h 6622937"/>
              <a:gd name="connsiteX50" fmla="*/ 4183061 w 8636594"/>
              <a:gd name="connsiteY50" fmla="*/ 5783988 h 6622937"/>
              <a:gd name="connsiteX51" fmla="*/ 4218791 w 8636594"/>
              <a:gd name="connsiteY51" fmla="*/ 5757591 h 6622937"/>
              <a:gd name="connsiteX52" fmla="*/ 4254129 w 8636594"/>
              <a:gd name="connsiteY52" fmla="*/ 5730912 h 6622937"/>
              <a:gd name="connsiteX53" fmla="*/ 4289081 w 8636594"/>
              <a:gd name="connsiteY53" fmla="*/ 5703955 h 6622937"/>
              <a:gd name="connsiteX54" fmla="*/ 4323654 w 8636594"/>
              <a:gd name="connsiteY54" fmla="*/ 5676722 h 6622937"/>
              <a:gd name="connsiteX55" fmla="*/ 4357854 w 8636594"/>
              <a:gd name="connsiteY55" fmla="*/ 5649218 h 6622937"/>
              <a:gd name="connsiteX56" fmla="*/ 4391688 w 8636594"/>
              <a:gd name="connsiteY56" fmla="*/ 5621446 h 6622937"/>
              <a:gd name="connsiteX57" fmla="*/ 4425162 w 8636594"/>
              <a:gd name="connsiteY57" fmla="*/ 5593409 h 6622937"/>
              <a:gd name="connsiteX58" fmla="*/ 4458281 w 8636594"/>
              <a:gd name="connsiteY58" fmla="*/ 5565111 h 6622937"/>
              <a:gd name="connsiteX59" fmla="*/ 4491053 w 8636594"/>
              <a:gd name="connsiteY59" fmla="*/ 5536556 h 6622937"/>
              <a:gd name="connsiteX60" fmla="*/ 4523484 w 8636594"/>
              <a:gd name="connsiteY60" fmla="*/ 5507747 h 6622937"/>
              <a:gd name="connsiteX61" fmla="*/ 4555580 w 8636594"/>
              <a:gd name="connsiteY61" fmla="*/ 5478687 h 6622937"/>
              <a:gd name="connsiteX62" fmla="*/ 4587347 w 8636594"/>
              <a:gd name="connsiteY62" fmla="*/ 5449380 h 6622937"/>
              <a:gd name="connsiteX63" fmla="*/ 4618793 w 8636594"/>
              <a:gd name="connsiteY63" fmla="*/ 5419830 h 6622937"/>
              <a:gd name="connsiteX64" fmla="*/ 4649922 w 8636594"/>
              <a:gd name="connsiteY64" fmla="*/ 5390040 h 6622937"/>
              <a:gd name="connsiteX65" fmla="*/ 4680742 w 8636594"/>
              <a:gd name="connsiteY65" fmla="*/ 5360014 h 6622937"/>
              <a:gd name="connsiteX66" fmla="*/ 4711259 w 8636594"/>
              <a:gd name="connsiteY66" fmla="*/ 5329755 h 6622937"/>
              <a:gd name="connsiteX67" fmla="*/ 4741478 w 8636594"/>
              <a:gd name="connsiteY67" fmla="*/ 5299266 h 6622937"/>
              <a:gd name="connsiteX68" fmla="*/ 4771408 w 8636594"/>
              <a:gd name="connsiteY68" fmla="*/ 5268551 h 6622937"/>
              <a:gd name="connsiteX69" fmla="*/ 4801053 w 8636594"/>
              <a:gd name="connsiteY69" fmla="*/ 5237614 h 6622937"/>
              <a:gd name="connsiteX70" fmla="*/ 4830420 w 8636594"/>
              <a:gd name="connsiteY70" fmla="*/ 5206458 h 6622937"/>
              <a:gd name="connsiteX71" fmla="*/ 4859516 w 8636594"/>
              <a:gd name="connsiteY71" fmla="*/ 5175087 h 6622937"/>
              <a:gd name="connsiteX72" fmla="*/ 4888347 w 8636594"/>
              <a:gd name="connsiteY72" fmla="*/ 5143504 h 6622937"/>
              <a:gd name="connsiteX73" fmla="*/ 4916919 w 8636594"/>
              <a:gd name="connsiteY73" fmla="*/ 5111713 h 6622937"/>
              <a:gd name="connsiteX74" fmla="*/ 4945238 w 8636594"/>
              <a:gd name="connsiteY74" fmla="*/ 5079717 h 6622937"/>
              <a:gd name="connsiteX75" fmla="*/ 4973311 w 8636594"/>
              <a:gd name="connsiteY75" fmla="*/ 5047519 h 6622937"/>
              <a:gd name="connsiteX76" fmla="*/ 5001145 w 8636594"/>
              <a:gd name="connsiteY76" fmla="*/ 5015124 h 6622937"/>
              <a:gd name="connsiteX77" fmla="*/ 5028745 w 8636594"/>
              <a:gd name="connsiteY77" fmla="*/ 4982535 h 6622937"/>
              <a:gd name="connsiteX78" fmla="*/ 5056117 w 8636594"/>
              <a:gd name="connsiteY78" fmla="*/ 4949755 h 6622937"/>
              <a:gd name="connsiteX79" fmla="*/ 5083269 w 8636594"/>
              <a:gd name="connsiteY79" fmla="*/ 4916787 h 6622937"/>
              <a:gd name="connsiteX80" fmla="*/ 5110207 w 8636594"/>
              <a:gd name="connsiteY80" fmla="*/ 4883636 h 6622937"/>
              <a:gd name="connsiteX81" fmla="*/ 5136937 w 8636594"/>
              <a:gd name="connsiteY81" fmla="*/ 4850305 h 6622937"/>
              <a:gd name="connsiteX82" fmla="*/ 5163464 w 8636594"/>
              <a:gd name="connsiteY82" fmla="*/ 4816797 h 6622937"/>
              <a:gd name="connsiteX83" fmla="*/ 5215940 w 8636594"/>
              <a:gd name="connsiteY83" fmla="*/ 4749265 h 6622937"/>
              <a:gd name="connsiteX84" fmla="*/ 5267684 w 8636594"/>
              <a:gd name="connsiteY84" fmla="*/ 4681068 h 6622937"/>
              <a:gd name="connsiteX85" fmla="*/ 5318748 w 8636594"/>
              <a:gd name="connsiteY85" fmla="*/ 4612234 h 6622937"/>
              <a:gd name="connsiteX86" fmla="*/ 5369182 w 8636594"/>
              <a:gd name="connsiteY86" fmla="*/ 4542793 h 6622937"/>
              <a:gd name="connsiteX87" fmla="*/ 5419038 w 8636594"/>
              <a:gd name="connsiteY87" fmla="*/ 4472771 h 6622937"/>
              <a:gd name="connsiteX88" fmla="*/ 5468365 w 8636594"/>
              <a:gd name="connsiteY88" fmla="*/ 4402196 h 6622937"/>
              <a:gd name="connsiteX89" fmla="*/ 5517215 w 8636594"/>
              <a:gd name="connsiteY89" fmla="*/ 4331098 h 6622937"/>
              <a:gd name="connsiteX90" fmla="*/ 5565637 w 8636594"/>
              <a:gd name="connsiteY90" fmla="*/ 4259503 h 6622937"/>
              <a:gd name="connsiteX91" fmla="*/ 5613684 w 8636594"/>
              <a:gd name="connsiteY91" fmla="*/ 4187441 h 6622937"/>
              <a:gd name="connsiteX92" fmla="*/ 5685160 w 8636594"/>
              <a:gd name="connsiteY92" fmla="*/ 4078531 h 6622937"/>
              <a:gd name="connsiteX93" fmla="*/ 5756074 w 8636594"/>
              <a:gd name="connsiteY93" fmla="*/ 3968727 h 6622937"/>
              <a:gd name="connsiteX94" fmla="*/ 5873483 w 8636594"/>
              <a:gd name="connsiteY94" fmla="*/ 3783989 h 6622937"/>
              <a:gd name="connsiteX95" fmla="*/ 6203209 w 8636594"/>
              <a:gd name="connsiteY95" fmla="*/ 3258640 h 6622937"/>
              <a:gd name="connsiteX96" fmla="*/ 6299430 w 8636594"/>
              <a:gd name="connsiteY96" fmla="*/ 3107321 h 6622937"/>
              <a:gd name="connsiteX97" fmla="*/ 6372650 w 8636594"/>
              <a:gd name="connsiteY97" fmla="*/ 2993735 h 6622937"/>
              <a:gd name="connsiteX98" fmla="*/ 6453197 w 8636594"/>
              <a:gd name="connsiteY98" fmla="*/ 2869788 h 6622937"/>
              <a:gd name="connsiteX99" fmla="*/ 6564167 w 8636594"/>
              <a:gd name="connsiteY99" fmla="*/ 2696807 h 6622937"/>
              <a:gd name="connsiteX100" fmla="*/ 6976233 w 8636594"/>
              <a:gd name="connsiteY100" fmla="*/ 2045274 h 6622937"/>
              <a:gd name="connsiteX101" fmla="*/ 7086755 w 8636594"/>
              <a:gd name="connsiteY101" fmla="*/ 1872743 h 6622937"/>
              <a:gd name="connsiteX102" fmla="*/ 7170279 w 8636594"/>
              <a:gd name="connsiteY102" fmla="*/ 1744202 h 6622937"/>
              <a:gd name="connsiteX103" fmla="*/ 7226351 w 8636594"/>
              <a:gd name="connsiteY103" fmla="*/ 1659017 h 6622937"/>
              <a:gd name="connsiteX104" fmla="*/ 7282789 w 8636594"/>
              <a:gd name="connsiteY104" fmla="*/ 1574303 h 6622937"/>
              <a:gd name="connsiteX105" fmla="*/ 7339643 w 8636594"/>
              <a:gd name="connsiteY105" fmla="*/ 1490113 h 6622937"/>
              <a:gd name="connsiteX106" fmla="*/ 7396957 w 8636594"/>
              <a:gd name="connsiteY106" fmla="*/ 1406503 h 6622937"/>
              <a:gd name="connsiteX107" fmla="*/ 7454781 w 8636594"/>
              <a:gd name="connsiteY107" fmla="*/ 1323526 h 6622937"/>
              <a:gd name="connsiteX108" fmla="*/ 7513161 w 8636594"/>
              <a:gd name="connsiteY108" fmla="*/ 1241237 h 6622937"/>
              <a:gd name="connsiteX109" fmla="*/ 7572144 w 8636594"/>
              <a:gd name="connsiteY109" fmla="*/ 1159689 h 6622937"/>
              <a:gd name="connsiteX110" fmla="*/ 7601877 w 8636594"/>
              <a:gd name="connsiteY110" fmla="*/ 1119210 h 6622937"/>
              <a:gd name="connsiteX111" fmla="*/ 7631779 w 8636594"/>
              <a:gd name="connsiteY111" fmla="*/ 1078937 h 6622937"/>
              <a:gd name="connsiteX112" fmla="*/ 7661855 w 8636594"/>
              <a:gd name="connsiteY112" fmla="*/ 1038876 h 6622937"/>
              <a:gd name="connsiteX113" fmla="*/ 7692111 w 8636594"/>
              <a:gd name="connsiteY113" fmla="*/ 999035 h 6622937"/>
              <a:gd name="connsiteX114" fmla="*/ 7722554 w 8636594"/>
              <a:gd name="connsiteY114" fmla="*/ 959419 h 6622937"/>
              <a:gd name="connsiteX115" fmla="*/ 7753190 w 8636594"/>
              <a:gd name="connsiteY115" fmla="*/ 920037 h 6622937"/>
              <a:gd name="connsiteX116" fmla="*/ 7784023 w 8636594"/>
              <a:gd name="connsiteY116" fmla="*/ 880894 h 6622937"/>
              <a:gd name="connsiteX117" fmla="*/ 7815061 w 8636594"/>
              <a:gd name="connsiteY117" fmla="*/ 841997 h 6622937"/>
              <a:gd name="connsiteX118" fmla="*/ 7846308 w 8636594"/>
              <a:gd name="connsiteY118" fmla="*/ 803354 h 6622937"/>
              <a:gd name="connsiteX119" fmla="*/ 7877772 w 8636594"/>
              <a:gd name="connsiteY119" fmla="*/ 764970 h 6622937"/>
              <a:gd name="connsiteX120" fmla="*/ 7909458 w 8636594"/>
              <a:gd name="connsiteY120" fmla="*/ 726853 h 6622937"/>
              <a:gd name="connsiteX121" fmla="*/ 7941371 w 8636594"/>
              <a:gd name="connsiteY121" fmla="*/ 689010 h 6622937"/>
              <a:gd name="connsiteX122" fmla="*/ 7973518 w 8636594"/>
              <a:gd name="connsiteY122" fmla="*/ 651447 h 6622937"/>
              <a:gd name="connsiteX123" fmla="*/ 8005905 w 8636594"/>
              <a:gd name="connsiteY123" fmla="*/ 614171 h 6622937"/>
              <a:gd name="connsiteX124" fmla="*/ 8038538 w 8636594"/>
              <a:gd name="connsiteY124" fmla="*/ 577189 h 6622937"/>
              <a:gd name="connsiteX125" fmla="*/ 8071421 w 8636594"/>
              <a:gd name="connsiteY125" fmla="*/ 540507 h 6622937"/>
              <a:gd name="connsiteX126" fmla="*/ 8104563 w 8636594"/>
              <a:gd name="connsiteY126" fmla="*/ 504132 h 6622937"/>
              <a:gd name="connsiteX127" fmla="*/ 8137967 w 8636594"/>
              <a:gd name="connsiteY127" fmla="*/ 468072 h 6622937"/>
              <a:gd name="connsiteX128" fmla="*/ 8171641 w 8636594"/>
              <a:gd name="connsiteY128" fmla="*/ 432332 h 6622937"/>
              <a:gd name="connsiteX129" fmla="*/ 8205590 w 8636594"/>
              <a:gd name="connsiteY129" fmla="*/ 396920 h 6622937"/>
              <a:gd name="connsiteX130" fmla="*/ 8239820 w 8636594"/>
              <a:gd name="connsiteY130" fmla="*/ 361843 h 6622937"/>
              <a:gd name="connsiteX131" fmla="*/ 8274337 w 8636594"/>
              <a:gd name="connsiteY131" fmla="*/ 327107 h 6622937"/>
              <a:gd name="connsiteX132" fmla="*/ 8309147 w 8636594"/>
              <a:gd name="connsiteY132" fmla="*/ 292718 h 6622937"/>
              <a:gd name="connsiteX133" fmla="*/ 8344256 w 8636594"/>
              <a:gd name="connsiteY133" fmla="*/ 258685 h 6622937"/>
              <a:gd name="connsiteX134" fmla="*/ 8379669 w 8636594"/>
              <a:gd name="connsiteY134" fmla="*/ 225013 h 6622937"/>
              <a:gd name="connsiteX135" fmla="*/ 8415394 w 8636594"/>
              <a:gd name="connsiteY135" fmla="*/ 191709 h 6622937"/>
              <a:gd name="connsiteX136" fmla="*/ 8451434 w 8636594"/>
              <a:gd name="connsiteY136" fmla="*/ 158780 h 6622937"/>
              <a:gd name="connsiteX137" fmla="*/ 8487798 w 8636594"/>
              <a:gd name="connsiteY137" fmla="*/ 126233 h 6622937"/>
              <a:gd name="connsiteX138" fmla="*/ 8524489 w 8636594"/>
              <a:gd name="connsiteY138" fmla="*/ 94075 h 6622937"/>
              <a:gd name="connsiteX139" fmla="*/ 8561515 w 8636594"/>
              <a:gd name="connsiteY139" fmla="*/ 62312 h 6622937"/>
              <a:gd name="connsiteX140" fmla="*/ 8598881 w 8636594"/>
              <a:gd name="connsiteY140" fmla="*/ 30951 h 6622937"/>
              <a:gd name="connsiteX141" fmla="*/ 8636594 w 8636594"/>
              <a:gd name="connsiteY141" fmla="*/ 0 h 6622937"/>
              <a:gd name="connsiteX0" fmla="*/ 8636594 w 8636594"/>
              <a:gd name="connsiteY0" fmla="*/ 0 h 6612869"/>
              <a:gd name="connsiteX1" fmla="*/ 5293 w 8636594"/>
              <a:gd name="connsiteY1" fmla="*/ 0 h 6612869"/>
              <a:gd name="connsiteX2" fmla="*/ 0 w 8636594"/>
              <a:gd name="connsiteY2" fmla="*/ 5587843 h 6612869"/>
              <a:gd name="connsiteX3" fmla="*/ 1594033 w 8636594"/>
              <a:gd name="connsiteY3" fmla="*/ 5600057 h 6612869"/>
              <a:gd name="connsiteX4" fmla="*/ 1686068 w 8636594"/>
              <a:gd name="connsiteY4" fmla="*/ 5599745 h 6612869"/>
              <a:gd name="connsiteX5" fmla="*/ 2126742 w 8636594"/>
              <a:gd name="connsiteY5" fmla="*/ 6612869 h 6612869"/>
              <a:gd name="connsiteX6" fmla="*/ 2185991 w 8636594"/>
              <a:gd name="connsiteY6" fmla="*/ 6602362 h 6612869"/>
              <a:gd name="connsiteX7" fmla="*/ 2244569 w 8636594"/>
              <a:gd name="connsiteY7" fmla="*/ 6591417 h 6612869"/>
              <a:gd name="connsiteX8" fmla="*/ 2302482 w 8636594"/>
              <a:gd name="connsiteY8" fmla="*/ 6580040 h 6612869"/>
              <a:gd name="connsiteX9" fmla="*/ 2359737 w 8636594"/>
              <a:gd name="connsiteY9" fmla="*/ 6568233 h 6612869"/>
              <a:gd name="connsiteX10" fmla="*/ 2416341 w 8636594"/>
              <a:gd name="connsiteY10" fmla="*/ 6555999 h 6612869"/>
              <a:gd name="connsiteX11" fmla="*/ 2472299 w 8636594"/>
              <a:gd name="connsiteY11" fmla="*/ 6543344 h 6612869"/>
              <a:gd name="connsiteX12" fmla="*/ 2527618 w 8636594"/>
              <a:gd name="connsiteY12" fmla="*/ 6530269 h 6612869"/>
              <a:gd name="connsiteX13" fmla="*/ 2582304 w 8636594"/>
              <a:gd name="connsiteY13" fmla="*/ 6516778 h 6612869"/>
              <a:gd name="connsiteX14" fmla="*/ 2636364 w 8636594"/>
              <a:gd name="connsiteY14" fmla="*/ 6502876 h 6612869"/>
              <a:gd name="connsiteX15" fmla="*/ 2689804 w 8636594"/>
              <a:gd name="connsiteY15" fmla="*/ 6488565 h 6612869"/>
              <a:gd name="connsiteX16" fmla="*/ 2742629 w 8636594"/>
              <a:gd name="connsiteY16" fmla="*/ 6473849 h 6612869"/>
              <a:gd name="connsiteX17" fmla="*/ 2794848 w 8636594"/>
              <a:gd name="connsiteY17" fmla="*/ 6458731 h 6612869"/>
              <a:gd name="connsiteX18" fmla="*/ 2846466 w 8636594"/>
              <a:gd name="connsiteY18" fmla="*/ 6443216 h 6612869"/>
              <a:gd name="connsiteX19" fmla="*/ 2897488 w 8636594"/>
              <a:gd name="connsiteY19" fmla="*/ 6427305 h 6612869"/>
              <a:gd name="connsiteX20" fmla="*/ 2947923 w 8636594"/>
              <a:gd name="connsiteY20" fmla="*/ 6411004 h 6612869"/>
              <a:gd name="connsiteX21" fmla="*/ 2997775 w 8636594"/>
              <a:gd name="connsiteY21" fmla="*/ 6394316 h 6612869"/>
              <a:gd name="connsiteX22" fmla="*/ 3047052 w 8636594"/>
              <a:gd name="connsiteY22" fmla="*/ 6377243 h 6612869"/>
              <a:gd name="connsiteX23" fmla="*/ 3095759 w 8636594"/>
              <a:gd name="connsiteY23" fmla="*/ 6359791 h 6612869"/>
              <a:gd name="connsiteX24" fmla="*/ 3143903 w 8636594"/>
              <a:gd name="connsiteY24" fmla="*/ 6341961 h 6612869"/>
              <a:gd name="connsiteX25" fmla="*/ 3191491 w 8636594"/>
              <a:gd name="connsiteY25" fmla="*/ 6323757 h 6612869"/>
              <a:gd name="connsiteX26" fmla="*/ 3238528 w 8636594"/>
              <a:gd name="connsiteY26" fmla="*/ 6305184 h 6612869"/>
              <a:gd name="connsiteX27" fmla="*/ 3285021 w 8636594"/>
              <a:gd name="connsiteY27" fmla="*/ 6286245 h 6612869"/>
              <a:gd name="connsiteX28" fmla="*/ 3330977 w 8636594"/>
              <a:gd name="connsiteY28" fmla="*/ 6266942 h 6612869"/>
              <a:gd name="connsiteX29" fmla="*/ 3376401 w 8636594"/>
              <a:gd name="connsiteY29" fmla="*/ 6247281 h 6612869"/>
              <a:gd name="connsiteX30" fmla="*/ 3421300 w 8636594"/>
              <a:gd name="connsiteY30" fmla="*/ 6227263 h 6612869"/>
              <a:gd name="connsiteX31" fmla="*/ 3465680 w 8636594"/>
              <a:gd name="connsiteY31" fmla="*/ 6206893 h 6612869"/>
              <a:gd name="connsiteX32" fmla="*/ 3509548 w 8636594"/>
              <a:gd name="connsiteY32" fmla="*/ 6186174 h 6612869"/>
              <a:gd name="connsiteX33" fmla="*/ 3552910 w 8636594"/>
              <a:gd name="connsiteY33" fmla="*/ 6165110 h 6612869"/>
              <a:gd name="connsiteX34" fmla="*/ 3595773 w 8636594"/>
              <a:gd name="connsiteY34" fmla="*/ 6143704 h 6612869"/>
              <a:gd name="connsiteX35" fmla="*/ 3638142 w 8636594"/>
              <a:gd name="connsiteY35" fmla="*/ 6121960 h 6612869"/>
              <a:gd name="connsiteX36" fmla="*/ 3680024 w 8636594"/>
              <a:gd name="connsiteY36" fmla="*/ 6099881 h 6612869"/>
              <a:gd name="connsiteX37" fmla="*/ 3721426 w 8636594"/>
              <a:gd name="connsiteY37" fmla="*/ 6077471 h 6612869"/>
              <a:gd name="connsiteX38" fmla="*/ 3762353 w 8636594"/>
              <a:gd name="connsiteY38" fmla="*/ 6054733 h 6612869"/>
              <a:gd name="connsiteX39" fmla="*/ 3802812 w 8636594"/>
              <a:gd name="connsiteY39" fmla="*/ 6031671 h 6612869"/>
              <a:gd name="connsiteX40" fmla="*/ 3842810 w 8636594"/>
              <a:gd name="connsiteY40" fmla="*/ 6008288 h 6612869"/>
              <a:gd name="connsiteX41" fmla="*/ 3882352 w 8636594"/>
              <a:gd name="connsiteY41" fmla="*/ 5984588 h 6612869"/>
              <a:gd name="connsiteX42" fmla="*/ 3921445 w 8636594"/>
              <a:gd name="connsiteY42" fmla="*/ 5960574 h 6612869"/>
              <a:gd name="connsiteX43" fmla="*/ 3960096 w 8636594"/>
              <a:gd name="connsiteY43" fmla="*/ 5936250 h 6612869"/>
              <a:gd name="connsiteX44" fmla="*/ 3998311 w 8636594"/>
              <a:gd name="connsiteY44" fmla="*/ 5911619 h 6612869"/>
              <a:gd name="connsiteX45" fmla="*/ 4036095 w 8636594"/>
              <a:gd name="connsiteY45" fmla="*/ 5886685 h 6612869"/>
              <a:gd name="connsiteX46" fmla="*/ 4073456 w 8636594"/>
              <a:gd name="connsiteY46" fmla="*/ 5861452 h 6612869"/>
              <a:gd name="connsiteX47" fmla="*/ 4110400 w 8636594"/>
              <a:gd name="connsiteY47" fmla="*/ 5835922 h 6612869"/>
              <a:gd name="connsiteX48" fmla="*/ 4146933 w 8636594"/>
              <a:gd name="connsiteY48" fmla="*/ 5810100 h 6612869"/>
              <a:gd name="connsiteX49" fmla="*/ 4183061 w 8636594"/>
              <a:gd name="connsiteY49" fmla="*/ 5783988 h 6612869"/>
              <a:gd name="connsiteX50" fmla="*/ 4218791 w 8636594"/>
              <a:gd name="connsiteY50" fmla="*/ 5757591 h 6612869"/>
              <a:gd name="connsiteX51" fmla="*/ 4254129 w 8636594"/>
              <a:gd name="connsiteY51" fmla="*/ 5730912 h 6612869"/>
              <a:gd name="connsiteX52" fmla="*/ 4289081 w 8636594"/>
              <a:gd name="connsiteY52" fmla="*/ 5703955 h 6612869"/>
              <a:gd name="connsiteX53" fmla="*/ 4323654 w 8636594"/>
              <a:gd name="connsiteY53" fmla="*/ 5676722 h 6612869"/>
              <a:gd name="connsiteX54" fmla="*/ 4357854 w 8636594"/>
              <a:gd name="connsiteY54" fmla="*/ 5649218 h 6612869"/>
              <a:gd name="connsiteX55" fmla="*/ 4391688 w 8636594"/>
              <a:gd name="connsiteY55" fmla="*/ 5621446 h 6612869"/>
              <a:gd name="connsiteX56" fmla="*/ 4425162 w 8636594"/>
              <a:gd name="connsiteY56" fmla="*/ 5593409 h 6612869"/>
              <a:gd name="connsiteX57" fmla="*/ 4458281 w 8636594"/>
              <a:gd name="connsiteY57" fmla="*/ 5565111 h 6612869"/>
              <a:gd name="connsiteX58" fmla="*/ 4491053 w 8636594"/>
              <a:gd name="connsiteY58" fmla="*/ 5536556 h 6612869"/>
              <a:gd name="connsiteX59" fmla="*/ 4523484 w 8636594"/>
              <a:gd name="connsiteY59" fmla="*/ 5507747 h 6612869"/>
              <a:gd name="connsiteX60" fmla="*/ 4555580 w 8636594"/>
              <a:gd name="connsiteY60" fmla="*/ 5478687 h 6612869"/>
              <a:gd name="connsiteX61" fmla="*/ 4587347 w 8636594"/>
              <a:gd name="connsiteY61" fmla="*/ 5449380 h 6612869"/>
              <a:gd name="connsiteX62" fmla="*/ 4618793 w 8636594"/>
              <a:gd name="connsiteY62" fmla="*/ 5419830 h 6612869"/>
              <a:gd name="connsiteX63" fmla="*/ 4649922 w 8636594"/>
              <a:gd name="connsiteY63" fmla="*/ 5390040 h 6612869"/>
              <a:gd name="connsiteX64" fmla="*/ 4680742 w 8636594"/>
              <a:gd name="connsiteY64" fmla="*/ 5360014 h 6612869"/>
              <a:gd name="connsiteX65" fmla="*/ 4711259 w 8636594"/>
              <a:gd name="connsiteY65" fmla="*/ 5329755 h 6612869"/>
              <a:gd name="connsiteX66" fmla="*/ 4741478 w 8636594"/>
              <a:gd name="connsiteY66" fmla="*/ 5299266 h 6612869"/>
              <a:gd name="connsiteX67" fmla="*/ 4771408 w 8636594"/>
              <a:gd name="connsiteY67" fmla="*/ 5268551 h 6612869"/>
              <a:gd name="connsiteX68" fmla="*/ 4801053 w 8636594"/>
              <a:gd name="connsiteY68" fmla="*/ 5237614 h 6612869"/>
              <a:gd name="connsiteX69" fmla="*/ 4830420 w 8636594"/>
              <a:gd name="connsiteY69" fmla="*/ 5206458 h 6612869"/>
              <a:gd name="connsiteX70" fmla="*/ 4859516 w 8636594"/>
              <a:gd name="connsiteY70" fmla="*/ 5175087 h 6612869"/>
              <a:gd name="connsiteX71" fmla="*/ 4888347 w 8636594"/>
              <a:gd name="connsiteY71" fmla="*/ 5143504 h 6612869"/>
              <a:gd name="connsiteX72" fmla="*/ 4916919 w 8636594"/>
              <a:gd name="connsiteY72" fmla="*/ 5111713 h 6612869"/>
              <a:gd name="connsiteX73" fmla="*/ 4945238 w 8636594"/>
              <a:gd name="connsiteY73" fmla="*/ 5079717 h 6612869"/>
              <a:gd name="connsiteX74" fmla="*/ 4973311 w 8636594"/>
              <a:gd name="connsiteY74" fmla="*/ 5047519 h 6612869"/>
              <a:gd name="connsiteX75" fmla="*/ 5001145 w 8636594"/>
              <a:gd name="connsiteY75" fmla="*/ 5015124 h 6612869"/>
              <a:gd name="connsiteX76" fmla="*/ 5028745 w 8636594"/>
              <a:gd name="connsiteY76" fmla="*/ 4982535 h 6612869"/>
              <a:gd name="connsiteX77" fmla="*/ 5056117 w 8636594"/>
              <a:gd name="connsiteY77" fmla="*/ 4949755 h 6612869"/>
              <a:gd name="connsiteX78" fmla="*/ 5083269 w 8636594"/>
              <a:gd name="connsiteY78" fmla="*/ 4916787 h 6612869"/>
              <a:gd name="connsiteX79" fmla="*/ 5110207 w 8636594"/>
              <a:gd name="connsiteY79" fmla="*/ 4883636 h 6612869"/>
              <a:gd name="connsiteX80" fmla="*/ 5136937 w 8636594"/>
              <a:gd name="connsiteY80" fmla="*/ 4850305 h 6612869"/>
              <a:gd name="connsiteX81" fmla="*/ 5163464 w 8636594"/>
              <a:gd name="connsiteY81" fmla="*/ 4816797 h 6612869"/>
              <a:gd name="connsiteX82" fmla="*/ 5215940 w 8636594"/>
              <a:gd name="connsiteY82" fmla="*/ 4749265 h 6612869"/>
              <a:gd name="connsiteX83" fmla="*/ 5267684 w 8636594"/>
              <a:gd name="connsiteY83" fmla="*/ 4681068 h 6612869"/>
              <a:gd name="connsiteX84" fmla="*/ 5318748 w 8636594"/>
              <a:gd name="connsiteY84" fmla="*/ 4612234 h 6612869"/>
              <a:gd name="connsiteX85" fmla="*/ 5369182 w 8636594"/>
              <a:gd name="connsiteY85" fmla="*/ 4542793 h 6612869"/>
              <a:gd name="connsiteX86" fmla="*/ 5419038 w 8636594"/>
              <a:gd name="connsiteY86" fmla="*/ 4472771 h 6612869"/>
              <a:gd name="connsiteX87" fmla="*/ 5468365 w 8636594"/>
              <a:gd name="connsiteY87" fmla="*/ 4402196 h 6612869"/>
              <a:gd name="connsiteX88" fmla="*/ 5517215 w 8636594"/>
              <a:gd name="connsiteY88" fmla="*/ 4331098 h 6612869"/>
              <a:gd name="connsiteX89" fmla="*/ 5565637 w 8636594"/>
              <a:gd name="connsiteY89" fmla="*/ 4259503 h 6612869"/>
              <a:gd name="connsiteX90" fmla="*/ 5613684 w 8636594"/>
              <a:gd name="connsiteY90" fmla="*/ 4187441 h 6612869"/>
              <a:gd name="connsiteX91" fmla="*/ 5685160 w 8636594"/>
              <a:gd name="connsiteY91" fmla="*/ 4078531 h 6612869"/>
              <a:gd name="connsiteX92" fmla="*/ 5756074 w 8636594"/>
              <a:gd name="connsiteY92" fmla="*/ 3968727 h 6612869"/>
              <a:gd name="connsiteX93" fmla="*/ 5873483 w 8636594"/>
              <a:gd name="connsiteY93" fmla="*/ 3783989 h 6612869"/>
              <a:gd name="connsiteX94" fmla="*/ 6203209 w 8636594"/>
              <a:gd name="connsiteY94" fmla="*/ 3258640 h 6612869"/>
              <a:gd name="connsiteX95" fmla="*/ 6299430 w 8636594"/>
              <a:gd name="connsiteY95" fmla="*/ 3107321 h 6612869"/>
              <a:gd name="connsiteX96" fmla="*/ 6372650 w 8636594"/>
              <a:gd name="connsiteY96" fmla="*/ 2993735 h 6612869"/>
              <a:gd name="connsiteX97" fmla="*/ 6453197 w 8636594"/>
              <a:gd name="connsiteY97" fmla="*/ 2869788 h 6612869"/>
              <a:gd name="connsiteX98" fmla="*/ 6564167 w 8636594"/>
              <a:gd name="connsiteY98" fmla="*/ 2696807 h 6612869"/>
              <a:gd name="connsiteX99" fmla="*/ 6976233 w 8636594"/>
              <a:gd name="connsiteY99" fmla="*/ 2045274 h 6612869"/>
              <a:gd name="connsiteX100" fmla="*/ 7086755 w 8636594"/>
              <a:gd name="connsiteY100" fmla="*/ 1872743 h 6612869"/>
              <a:gd name="connsiteX101" fmla="*/ 7170279 w 8636594"/>
              <a:gd name="connsiteY101" fmla="*/ 1744202 h 6612869"/>
              <a:gd name="connsiteX102" fmla="*/ 7226351 w 8636594"/>
              <a:gd name="connsiteY102" fmla="*/ 1659017 h 6612869"/>
              <a:gd name="connsiteX103" fmla="*/ 7282789 w 8636594"/>
              <a:gd name="connsiteY103" fmla="*/ 1574303 h 6612869"/>
              <a:gd name="connsiteX104" fmla="*/ 7339643 w 8636594"/>
              <a:gd name="connsiteY104" fmla="*/ 1490113 h 6612869"/>
              <a:gd name="connsiteX105" fmla="*/ 7396957 w 8636594"/>
              <a:gd name="connsiteY105" fmla="*/ 1406503 h 6612869"/>
              <a:gd name="connsiteX106" fmla="*/ 7454781 w 8636594"/>
              <a:gd name="connsiteY106" fmla="*/ 1323526 h 6612869"/>
              <a:gd name="connsiteX107" fmla="*/ 7513161 w 8636594"/>
              <a:gd name="connsiteY107" fmla="*/ 1241237 h 6612869"/>
              <a:gd name="connsiteX108" fmla="*/ 7572144 w 8636594"/>
              <a:gd name="connsiteY108" fmla="*/ 1159689 h 6612869"/>
              <a:gd name="connsiteX109" fmla="*/ 7601877 w 8636594"/>
              <a:gd name="connsiteY109" fmla="*/ 1119210 h 6612869"/>
              <a:gd name="connsiteX110" fmla="*/ 7631779 w 8636594"/>
              <a:gd name="connsiteY110" fmla="*/ 1078937 h 6612869"/>
              <a:gd name="connsiteX111" fmla="*/ 7661855 w 8636594"/>
              <a:gd name="connsiteY111" fmla="*/ 1038876 h 6612869"/>
              <a:gd name="connsiteX112" fmla="*/ 7692111 w 8636594"/>
              <a:gd name="connsiteY112" fmla="*/ 999035 h 6612869"/>
              <a:gd name="connsiteX113" fmla="*/ 7722554 w 8636594"/>
              <a:gd name="connsiteY113" fmla="*/ 959419 h 6612869"/>
              <a:gd name="connsiteX114" fmla="*/ 7753190 w 8636594"/>
              <a:gd name="connsiteY114" fmla="*/ 920037 h 6612869"/>
              <a:gd name="connsiteX115" fmla="*/ 7784023 w 8636594"/>
              <a:gd name="connsiteY115" fmla="*/ 880894 h 6612869"/>
              <a:gd name="connsiteX116" fmla="*/ 7815061 w 8636594"/>
              <a:gd name="connsiteY116" fmla="*/ 841997 h 6612869"/>
              <a:gd name="connsiteX117" fmla="*/ 7846308 w 8636594"/>
              <a:gd name="connsiteY117" fmla="*/ 803354 h 6612869"/>
              <a:gd name="connsiteX118" fmla="*/ 7877772 w 8636594"/>
              <a:gd name="connsiteY118" fmla="*/ 764970 h 6612869"/>
              <a:gd name="connsiteX119" fmla="*/ 7909458 w 8636594"/>
              <a:gd name="connsiteY119" fmla="*/ 726853 h 6612869"/>
              <a:gd name="connsiteX120" fmla="*/ 7941371 w 8636594"/>
              <a:gd name="connsiteY120" fmla="*/ 689010 h 6612869"/>
              <a:gd name="connsiteX121" fmla="*/ 7973518 w 8636594"/>
              <a:gd name="connsiteY121" fmla="*/ 651447 h 6612869"/>
              <a:gd name="connsiteX122" fmla="*/ 8005905 w 8636594"/>
              <a:gd name="connsiteY122" fmla="*/ 614171 h 6612869"/>
              <a:gd name="connsiteX123" fmla="*/ 8038538 w 8636594"/>
              <a:gd name="connsiteY123" fmla="*/ 577189 h 6612869"/>
              <a:gd name="connsiteX124" fmla="*/ 8071421 w 8636594"/>
              <a:gd name="connsiteY124" fmla="*/ 540507 h 6612869"/>
              <a:gd name="connsiteX125" fmla="*/ 8104563 w 8636594"/>
              <a:gd name="connsiteY125" fmla="*/ 504132 h 6612869"/>
              <a:gd name="connsiteX126" fmla="*/ 8137967 w 8636594"/>
              <a:gd name="connsiteY126" fmla="*/ 468072 h 6612869"/>
              <a:gd name="connsiteX127" fmla="*/ 8171641 w 8636594"/>
              <a:gd name="connsiteY127" fmla="*/ 432332 h 6612869"/>
              <a:gd name="connsiteX128" fmla="*/ 8205590 w 8636594"/>
              <a:gd name="connsiteY128" fmla="*/ 396920 h 6612869"/>
              <a:gd name="connsiteX129" fmla="*/ 8239820 w 8636594"/>
              <a:gd name="connsiteY129" fmla="*/ 361843 h 6612869"/>
              <a:gd name="connsiteX130" fmla="*/ 8274337 w 8636594"/>
              <a:gd name="connsiteY130" fmla="*/ 327107 h 6612869"/>
              <a:gd name="connsiteX131" fmla="*/ 8309147 w 8636594"/>
              <a:gd name="connsiteY131" fmla="*/ 292718 h 6612869"/>
              <a:gd name="connsiteX132" fmla="*/ 8344256 w 8636594"/>
              <a:gd name="connsiteY132" fmla="*/ 258685 h 6612869"/>
              <a:gd name="connsiteX133" fmla="*/ 8379669 w 8636594"/>
              <a:gd name="connsiteY133" fmla="*/ 225013 h 6612869"/>
              <a:gd name="connsiteX134" fmla="*/ 8415394 w 8636594"/>
              <a:gd name="connsiteY134" fmla="*/ 191709 h 6612869"/>
              <a:gd name="connsiteX135" fmla="*/ 8451434 w 8636594"/>
              <a:gd name="connsiteY135" fmla="*/ 158780 h 6612869"/>
              <a:gd name="connsiteX136" fmla="*/ 8487798 w 8636594"/>
              <a:gd name="connsiteY136" fmla="*/ 126233 h 6612869"/>
              <a:gd name="connsiteX137" fmla="*/ 8524489 w 8636594"/>
              <a:gd name="connsiteY137" fmla="*/ 94075 h 6612869"/>
              <a:gd name="connsiteX138" fmla="*/ 8561515 w 8636594"/>
              <a:gd name="connsiteY138" fmla="*/ 62312 h 6612869"/>
              <a:gd name="connsiteX139" fmla="*/ 8598881 w 8636594"/>
              <a:gd name="connsiteY139" fmla="*/ 30951 h 6612869"/>
              <a:gd name="connsiteX140" fmla="*/ 8636594 w 8636594"/>
              <a:gd name="connsiteY140" fmla="*/ 0 h 6612869"/>
              <a:gd name="connsiteX0" fmla="*/ 8636594 w 8636594"/>
              <a:gd name="connsiteY0" fmla="*/ 0 h 6602362"/>
              <a:gd name="connsiteX1" fmla="*/ 5293 w 8636594"/>
              <a:gd name="connsiteY1" fmla="*/ 0 h 6602362"/>
              <a:gd name="connsiteX2" fmla="*/ 0 w 8636594"/>
              <a:gd name="connsiteY2" fmla="*/ 5587843 h 6602362"/>
              <a:gd name="connsiteX3" fmla="*/ 1594033 w 8636594"/>
              <a:gd name="connsiteY3" fmla="*/ 5600057 h 6602362"/>
              <a:gd name="connsiteX4" fmla="*/ 1686068 w 8636594"/>
              <a:gd name="connsiteY4" fmla="*/ 5599745 h 6602362"/>
              <a:gd name="connsiteX5" fmla="*/ 2185991 w 8636594"/>
              <a:gd name="connsiteY5" fmla="*/ 6602362 h 6602362"/>
              <a:gd name="connsiteX6" fmla="*/ 2244569 w 8636594"/>
              <a:gd name="connsiteY6" fmla="*/ 6591417 h 6602362"/>
              <a:gd name="connsiteX7" fmla="*/ 2302482 w 8636594"/>
              <a:gd name="connsiteY7" fmla="*/ 6580040 h 6602362"/>
              <a:gd name="connsiteX8" fmla="*/ 2359737 w 8636594"/>
              <a:gd name="connsiteY8" fmla="*/ 6568233 h 6602362"/>
              <a:gd name="connsiteX9" fmla="*/ 2416341 w 8636594"/>
              <a:gd name="connsiteY9" fmla="*/ 6555999 h 6602362"/>
              <a:gd name="connsiteX10" fmla="*/ 2472299 w 8636594"/>
              <a:gd name="connsiteY10" fmla="*/ 6543344 h 6602362"/>
              <a:gd name="connsiteX11" fmla="*/ 2527618 w 8636594"/>
              <a:gd name="connsiteY11" fmla="*/ 6530269 h 6602362"/>
              <a:gd name="connsiteX12" fmla="*/ 2582304 w 8636594"/>
              <a:gd name="connsiteY12" fmla="*/ 6516778 h 6602362"/>
              <a:gd name="connsiteX13" fmla="*/ 2636364 w 8636594"/>
              <a:gd name="connsiteY13" fmla="*/ 6502876 h 6602362"/>
              <a:gd name="connsiteX14" fmla="*/ 2689804 w 8636594"/>
              <a:gd name="connsiteY14" fmla="*/ 6488565 h 6602362"/>
              <a:gd name="connsiteX15" fmla="*/ 2742629 w 8636594"/>
              <a:gd name="connsiteY15" fmla="*/ 6473849 h 6602362"/>
              <a:gd name="connsiteX16" fmla="*/ 2794848 w 8636594"/>
              <a:gd name="connsiteY16" fmla="*/ 6458731 h 6602362"/>
              <a:gd name="connsiteX17" fmla="*/ 2846466 w 8636594"/>
              <a:gd name="connsiteY17" fmla="*/ 6443216 h 6602362"/>
              <a:gd name="connsiteX18" fmla="*/ 2897488 w 8636594"/>
              <a:gd name="connsiteY18" fmla="*/ 6427305 h 6602362"/>
              <a:gd name="connsiteX19" fmla="*/ 2947923 w 8636594"/>
              <a:gd name="connsiteY19" fmla="*/ 6411004 h 6602362"/>
              <a:gd name="connsiteX20" fmla="*/ 2997775 w 8636594"/>
              <a:gd name="connsiteY20" fmla="*/ 6394316 h 6602362"/>
              <a:gd name="connsiteX21" fmla="*/ 3047052 w 8636594"/>
              <a:gd name="connsiteY21" fmla="*/ 6377243 h 6602362"/>
              <a:gd name="connsiteX22" fmla="*/ 3095759 w 8636594"/>
              <a:gd name="connsiteY22" fmla="*/ 6359791 h 6602362"/>
              <a:gd name="connsiteX23" fmla="*/ 3143903 w 8636594"/>
              <a:gd name="connsiteY23" fmla="*/ 6341961 h 6602362"/>
              <a:gd name="connsiteX24" fmla="*/ 3191491 w 8636594"/>
              <a:gd name="connsiteY24" fmla="*/ 6323757 h 6602362"/>
              <a:gd name="connsiteX25" fmla="*/ 3238528 w 8636594"/>
              <a:gd name="connsiteY25" fmla="*/ 6305184 h 6602362"/>
              <a:gd name="connsiteX26" fmla="*/ 3285021 w 8636594"/>
              <a:gd name="connsiteY26" fmla="*/ 6286245 h 6602362"/>
              <a:gd name="connsiteX27" fmla="*/ 3330977 w 8636594"/>
              <a:gd name="connsiteY27" fmla="*/ 6266942 h 6602362"/>
              <a:gd name="connsiteX28" fmla="*/ 3376401 w 8636594"/>
              <a:gd name="connsiteY28" fmla="*/ 6247281 h 6602362"/>
              <a:gd name="connsiteX29" fmla="*/ 3421300 w 8636594"/>
              <a:gd name="connsiteY29" fmla="*/ 6227263 h 6602362"/>
              <a:gd name="connsiteX30" fmla="*/ 3465680 w 8636594"/>
              <a:gd name="connsiteY30" fmla="*/ 6206893 h 6602362"/>
              <a:gd name="connsiteX31" fmla="*/ 3509548 w 8636594"/>
              <a:gd name="connsiteY31" fmla="*/ 6186174 h 6602362"/>
              <a:gd name="connsiteX32" fmla="*/ 3552910 w 8636594"/>
              <a:gd name="connsiteY32" fmla="*/ 6165110 h 6602362"/>
              <a:gd name="connsiteX33" fmla="*/ 3595773 w 8636594"/>
              <a:gd name="connsiteY33" fmla="*/ 6143704 h 6602362"/>
              <a:gd name="connsiteX34" fmla="*/ 3638142 w 8636594"/>
              <a:gd name="connsiteY34" fmla="*/ 6121960 h 6602362"/>
              <a:gd name="connsiteX35" fmla="*/ 3680024 w 8636594"/>
              <a:gd name="connsiteY35" fmla="*/ 6099881 h 6602362"/>
              <a:gd name="connsiteX36" fmla="*/ 3721426 w 8636594"/>
              <a:gd name="connsiteY36" fmla="*/ 6077471 h 6602362"/>
              <a:gd name="connsiteX37" fmla="*/ 3762353 w 8636594"/>
              <a:gd name="connsiteY37" fmla="*/ 6054733 h 6602362"/>
              <a:gd name="connsiteX38" fmla="*/ 3802812 w 8636594"/>
              <a:gd name="connsiteY38" fmla="*/ 6031671 h 6602362"/>
              <a:gd name="connsiteX39" fmla="*/ 3842810 w 8636594"/>
              <a:gd name="connsiteY39" fmla="*/ 6008288 h 6602362"/>
              <a:gd name="connsiteX40" fmla="*/ 3882352 w 8636594"/>
              <a:gd name="connsiteY40" fmla="*/ 5984588 h 6602362"/>
              <a:gd name="connsiteX41" fmla="*/ 3921445 w 8636594"/>
              <a:gd name="connsiteY41" fmla="*/ 5960574 h 6602362"/>
              <a:gd name="connsiteX42" fmla="*/ 3960096 w 8636594"/>
              <a:gd name="connsiteY42" fmla="*/ 5936250 h 6602362"/>
              <a:gd name="connsiteX43" fmla="*/ 3998311 w 8636594"/>
              <a:gd name="connsiteY43" fmla="*/ 5911619 h 6602362"/>
              <a:gd name="connsiteX44" fmla="*/ 4036095 w 8636594"/>
              <a:gd name="connsiteY44" fmla="*/ 5886685 h 6602362"/>
              <a:gd name="connsiteX45" fmla="*/ 4073456 w 8636594"/>
              <a:gd name="connsiteY45" fmla="*/ 5861452 h 6602362"/>
              <a:gd name="connsiteX46" fmla="*/ 4110400 w 8636594"/>
              <a:gd name="connsiteY46" fmla="*/ 5835922 h 6602362"/>
              <a:gd name="connsiteX47" fmla="*/ 4146933 w 8636594"/>
              <a:gd name="connsiteY47" fmla="*/ 5810100 h 6602362"/>
              <a:gd name="connsiteX48" fmla="*/ 4183061 w 8636594"/>
              <a:gd name="connsiteY48" fmla="*/ 5783988 h 6602362"/>
              <a:gd name="connsiteX49" fmla="*/ 4218791 w 8636594"/>
              <a:gd name="connsiteY49" fmla="*/ 5757591 h 6602362"/>
              <a:gd name="connsiteX50" fmla="*/ 4254129 w 8636594"/>
              <a:gd name="connsiteY50" fmla="*/ 5730912 h 6602362"/>
              <a:gd name="connsiteX51" fmla="*/ 4289081 w 8636594"/>
              <a:gd name="connsiteY51" fmla="*/ 5703955 h 6602362"/>
              <a:gd name="connsiteX52" fmla="*/ 4323654 w 8636594"/>
              <a:gd name="connsiteY52" fmla="*/ 5676722 h 6602362"/>
              <a:gd name="connsiteX53" fmla="*/ 4357854 w 8636594"/>
              <a:gd name="connsiteY53" fmla="*/ 5649218 h 6602362"/>
              <a:gd name="connsiteX54" fmla="*/ 4391688 w 8636594"/>
              <a:gd name="connsiteY54" fmla="*/ 5621446 h 6602362"/>
              <a:gd name="connsiteX55" fmla="*/ 4425162 w 8636594"/>
              <a:gd name="connsiteY55" fmla="*/ 5593409 h 6602362"/>
              <a:gd name="connsiteX56" fmla="*/ 4458281 w 8636594"/>
              <a:gd name="connsiteY56" fmla="*/ 5565111 h 6602362"/>
              <a:gd name="connsiteX57" fmla="*/ 4491053 w 8636594"/>
              <a:gd name="connsiteY57" fmla="*/ 5536556 h 6602362"/>
              <a:gd name="connsiteX58" fmla="*/ 4523484 w 8636594"/>
              <a:gd name="connsiteY58" fmla="*/ 5507747 h 6602362"/>
              <a:gd name="connsiteX59" fmla="*/ 4555580 w 8636594"/>
              <a:gd name="connsiteY59" fmla="*/ 5478687 h 6602362"/>
              <a:gd name="connsiteX60" fmla="*/ 4587347 w 8636594"/>
              <a:gd name="connsiteY60" fmla="*/ 5449380 h 6602362"/>
              <a:gd name="connsiteX61" fmla="*/ 4618793 w 8636594"/>
              <a:gd name="connsiteY61" fmla="*/ 5419830 h 6602362"/>
              <a:gd name="connsiteX62" fmla="*/ 4649922 w 8636594"/>
              <a:gd name="connsiteY62" fmla="*/ 5390040 h 6602362"/>
              <a:gd name="connsiteX63" fmla="*/ 4680742 w 8636594"/>
              <a:gd name="connsiteY63" fmla="*/ 5360014 h 6602362"/>
              <a:gd name="connsiteX64" fmla="*/ 4711259 w 8636594"/>
              <a:gd name="connsiteY64" fmla="*/ 5329755 h 6602362"/>
              <a:gd name="connsiteX65" fmla="*/ 4741478 w 8636594"/>
              <a:gd name="connsiteY65" fmla="*/ 5299266 h 6602362"/>
              <a:gd name="connsiteX66" fmla="*/ 4771408 w 8636594"/>
              <a:gd name="connsiteY66" fmla="*/ 5268551 h 6602362"/>
              <a:gd name="connsiteX67" fmla="*/ 4801053 w 8636594"/>
              <a:gd name="connsiteY67" fmla="*/ 5237614 h 6602362"/>
              <a:gd name="connsiteX68" fmla="*/ 4830420 w 8636594"/>
              <a:gd name="connsiteY68" fmla="*/ 5206458 h 6602362"/>
              <a:gd name="connsiteX69" fmla="*/ 4859516 w 8636594"/>
              <a:gd name="connsiteY69" fmla="*/ 5175087 h 6602362"/>
              <a:gd name="connsiteX70" fmla="*/ 4888347 w 8636594"/>
              <a:gd name="connsiteY70" fmla="*/ 5143504 h 6602362"/>
              <a:gd name="connsiteX71" fmla="*/ 4916919 w 8636594"/>
              <a:gd name="connsiteY71" fmla="*/ 5111713 h 6602362"/>
              <a:gd name="connsiteX72" fmla="*/ 4945238 w 8636594"/>
              <a:gd name="connsiteY72" fmla="*/ 5079717 h 6602362"/>
              <a:gd name="connsiteX73" fmla="*/ 4973311 w 8636594"/>
              <a:gd name="connsiteY73" fmla="*/ 5047519 h 6602362"/>
              <a:gd name="connsiteX74" fmla="*/ 5001145 w 8636594"/>
              <a:gd name="connsiteY74" fmla="*/ 5015124 h 6602362"/>
              <a:gd name="connsiteX75" fmla="*/ 5028745 w 8636594"/>
              <a:gd name="connsiteY75" fmla="*/ 4982535 h 6602362"/>
              <a:gd name="connsiteX76" fmla="*/ 5056117 w 8636594"/>
              <a:gd name="connsiteY76" fmla="*/ 4949755 h 6602362"/>
              <a:gd name="connsiteX77" fmla="*/ 5083269 w 8636594"/>
              <a:gd name="connsiteY77" fmla="*/ 4916787 h 6602362"/>
              <a:gd name="connsiteX78" fmla="*/ 5110207 w 8636594"/>
              <a:gd name="connsiteY78" fmla="*/ 4883636 h 6602362"/>
              <a:gd name="connsiteX79" fmla="*/ 5136937 w 8636594"/>
              <a:gd name="connsiteY79" fmla="*/ 4850305 h 6602362"/>
              <a:gd name="connsiteX80" fmla="*/ 5163464 w 8636594"/>
              <a:gd name="connsiteY80" fmla="*/ 4816797 h 6602362"/>
              <a:gd name="connsiteX81" fmla="*/ 5215940 w 8636594"/>
              <a:gd name="connsiteY81" fmla="*/ 4749265 h 6602362"/>
              <a:gd name="connsiteX82" fmla="*/ 5267684 w 8636594"/>
              <a:gd name="connsiteY82" fmla="*/ 4681068 h 6602362"/>
              <a:gd name="connsiteX83" fmla="*/ 5318748 w 8636594"/>
              <a:gd name="connsiteY83" fmla="*/ 4612234 h 6602362"/>
              <a:gd name="connsiteX84" fmla="*/ 5369182 w 8636594"/>
              <a:gd name="connsiteY84" fmla="*/ 4542793 h 6602362"/>
              <a:gd name="connsiteX85" fmla="*/ 5419038 w 8636594"/>
              <a:gd name="connsiteY85" fmla="*/ 4472771 h 6602362"/>
              <a:gd name="connsiteX86" fmla="*/ 5468365 w 8636594"/>
              <a:gd name="connsiteY86" fmla="*/ 4402196 h 6602362"/>
              <a:gd name="connsiteX87" fmla="*/ 5517215 w 8636594"/>
              <a:gd name="connsiteY87" fmla="*/ 4331098 h 6602362"/>
              <a:gd name="connsiteX88" fmla="*/ 5565637 w 8636594"/>
              <a:gd name="connsiteY88" fmla="*/ 4259503 h 6602362"/>
              <a:gd name="connsiteX89" fmla="*/ 5613684 w 8636594"/>
              <a:gd name="connsiteY89" fmla="*/ 4187441 h 6602362"/>
              <a:gd name="connsiteX90" fmla="*/ 5685160 w 8636594"/>
              <a:gd name="connsiteY90" fmla="*/ 4078531 h 6602362"/>
              <a:gd name="connsiteX91" fmla="*/ 5756074 w 8636594"/>
              <a:gd name="connsiteY91" fmla="*/ 3968727 h 6602362"/>
              <a:gd name="connsiteX92" fmla="*/ 5873483 w 8636594"/>
              <a:gd name="connsiteY92" fmla="*/ 3783989 h 6602362"/>
              <a:gd name="connsiteX93" fmla="*/ 6203209 w 8636594"/>
              <a:gd name="connsiteY93" fmla="*/ 3258640 h 6602362"/>
              <a:gd name="connsiteX94" fmla="*/ 6299430 w 8636594"/>
              <a:gd name="connsiteY94" fmla="*/ 3107321 h 6602362"/>
              <a:gd name="connsiteX95" fmla="*/ 6372650 w 8636594"/>
              <a:gd name="connsiteY95" fmla="*/ 2993735 h 6602362"/>
              <a:gd name="connsiteX96" fmla="*/ 6453197 w 8636594"/>
              <a:gd name="connsiteY96" fmla="*/ 2869788 h 6602362"/>
              <a:gd name="connsiteX97" fmla="*/ 6564167 w 8636594"/>
              <a:gd name="connsiteY97" fmla="*/ 2696807 h 6602362"/>
              <a:gd name="connsiteX98" fmla="*/ 6976233 w 8636594"/>
              <a:gd name="connsiteY98" fmla="*/ 2045274 h 6602362"/>
              <a:gd name="connsiteX99" fmla="*/ 7086755 w 8636594"/>
              <a:gd name="connsiteY99" fmla="*/ 1872743 h 6602362"/>
              <a:gd name="connsiteX100" fmla="*/ 7170279 w 8636594"/>
              <a:gd name="connsiteY100" fmla="*/ 1744202 h 6602362"/>
              <a:gd name="connsiteX101" fmla="*/ 7226351 w 8636594"/>
              <a:gd name="connsiteY101" fmla="*/ 1659017 h 6602362"/>
              <a:gd name="connsiteX102" fmla="*/ 7282789 w 8636594"/>
              <a:gd name="connsiteY102" fmla="*/ 1574303 h 6602362"/>
              <a:gd name="connsiteX103" fmla="*/ 7339643 w 8636594"/>
              <a:gd name="connsiteY103" fmla="*/ 1490113 h 6602362"/>
              <a:gd name="connsiteX104" fmla="*/ 7396957 w 8636594"/>
              <a:gd name="connsiteY104" fmla="*/ 1406503 h 6602362"/>
              <a:gd name="connsiteX105" fmla="*/ 7454781 w 8636594"/>
              <a:gd name="connsiteY105" fmla="*/ 1323526 h 6602362"/>
              <a:gd name="connsiteX106" fmla="*/ 7513161 w 8636594"/>
              <a:gd name="connsiteY106" fmla="*/ 1241237 h 6602362"/>
              <a:gd name="connsiteX107" fmla="*/ 7572144 w 8636594"/>
              <a:gd name="connsiteY107" fmla="*/ 1159689 h 6602362"/>
              <a:gd name="connsiteX108" fmla="*/ 7601877 w 8636594"/>
              <a:gd name="connsiteY108" fmla="*/ 1119210 h 6602362"/>
              <a:gd name="connsiteX109" fmla="*/ 7631779 w 8636594"/>
              <a:gd name="connsiteY109" fmla="*/ 1078937 h 6602362"/>
              <a:gd name="connsiteX110" fmla="*/ 7661855 w 8636594"/>
              <a:gd name="connsiteY110" fmla="*/ 1038876 h 6602362"/>
              <a:gd name="connsiteX111" fmla="*/ 7692111 w 8636594"/>
              <a:gd name="connsiteY111" fmla="*/ 999035 h 6602362"/>
              <a:gd name="connsiteX112" fmla="*/ 7722554 w 8636594"/>
              <a:gd name="connsiteY112" fmla="*/ 959419 h 6602362"/>
              <a:gd name="connsiteX113" fmla="*/ 7753190 w 8636594"/>
              <a:gd name="connsiteY113" fmla="*/ 920037 h 6602362"/>
              <a:gd name="connsiteX114" fmla="*/ 7784023 w 8636594"/>
              <a:gd name="connsiteY114" fmla="*/ 880894 h 6602362"/>
              <a:gd name="connsiteX115" fmla="*/ 7815061 w 8636594"/>
              <a:gd name="connsiteY115" fmla="*/ 841997 h 6602362"/>
              <a:gd name="connsiteX116" fmla="*/ 7846308 w 8636594"/>
              <a:gd name="connsiteY116" fmla="*/ 803354 h 6602362"/>
              <a:gd name="connsiteX117" fmla="*/ 7877772 w 8636594"/>
              <a:gd name="connsiteY117" fmla="*/ 764970 h 6602362"/>
              <a:gd name="connsiteX118" fmla="*/ 7909458 w 8636594"/>
              <a:gd name="connsiteY118" fmla="*/ 726853 h 6602362"/>
              <a:gd name="connsiteX119" fmla="*/ 7941371 w 8636594"/>
              <a:gd name="connsiteY119" fmla="*/ 689010 h 6602362"/>
              <a:gd name="connsiteX120" fmla="*/ 7973518 w 8636594"/>
              <a:gd name="connsiteY120" fmla="*/ 651447 h 6602362"/>
              <a:gd name="connsiteX121" fmla="*/ 8005905 w 8636594"/>
              <a:gd name="connsiteY121" fmla="*/ 614171 h 6602362"/>
              <a:gd name="connsiteX122" fmla="*/ 8038538 w 8636594"/>
              <a:gd name="connsiteY122" fmla="*/ 577189 h 6602362"/>
              <a:gd name="connsiteX123" fmla="*/ 8071421 w 8636594"/>
              <a:gd name="connsiteY123" fmla="*/ 540507 h 6602362"/>
              <a:gd name="connsiteX124" fmla="*/ 8104563 w 8636594"/>
              <a:gd name="connsiteY124" fmla="*/ 504132 h 6602362"/>
              <a:gd name="connsiteX125" fmla="*/ 8137967 w 8636594"/>
              <a:gd name="connsiteY125" fmla="*/ 468072 h 6602362"/>
              <a:gd name="connsiteX126" fmla="*/ 8171641 w 8636594"/>
              <a:gd name="connsiteY126" fmla="*/ 432332 h 6602362"/>
              <a:gd name="connsiteX127" fmla="*/ 8205590 w 8636594"/>
              <a:gd name="connsiteY127" fmla="*/ 396920 h 6602362"/>
              <a:gd name="connsiteX128" fmla="*/ 8239820 w 8636594"/>
              <a:gd name="connsiteY128" fmla="*/ 361843 h 6602362"/>
              <a:gd name="connsiteX129" fmla="*/ 8274337 w 8636594"/>
              <a:gd name="connsiteY129" fmla="*/ 327107 h 6602362"/>
              <a:gd name="connsiteX130" fmla="*/ 8309147 w 8636594"/>
              <a:gd name="connsiteY130" fmla="*/ 292718 h 6602362"/>
              <a:gd name="connsiteX131" fmla="*/ 8344256 w 8636594"/>
              <a:gd name="connsiteY131" fmla="*/ 258685 h 6602362"/>
              <a:gd name="connsiteX132" fmla="*/ 8379669 w 8636594"/>
              <a:gd name="connsiteY132" fmla="*/ 225013 h 6602362"/>
              <a:gd name="connsiteX133" fmla="*/ 8415394 w 8636594"/>
              <a:gd name="connsiteY133" fmla="*/ 191709 h 6602362"/>
              <a:gd name="connsiteX134" fmla="*/ 8451434 w 8636594"/>
              <a:gd name="connsiteY134" fmla="*/ 158780 h 6602362"/>
              <a:gd name="connsiteX135" fmla="*/ 8487798 w 8636594"/>
              <a:gd name="connsiteY135" fmla="*/ 126233 h 6602362"/>
              <a:gd name="connsiteX136" fmla="*/ 8524489 w 8636594"/>
              <a:gd name="connsiteY136" fmla="*/ 94075 h 6602362"/>
              <a:gd name="connsiteX137" fmla="*/ 8561515 w 8636594"/>
              <a:gd name="connsiteY137" fmla="*/ 62312 h 6602362"/>
              <a:gd name="connsiteX138" fmla="*/ 8598881 w 8636594"/>
              <a:gd name="connsiteY138" fmla="*/ 30951 h 6602362"/>
              <a:gd name="connsiteX139" fmla="*/ 8636594 w 8636594"/>
              <a:gd name="connsiteY139" fmla="*/ 0 h 6602362"/>
              <a:gd name="connsiteX0" fmla="*/ 8636594 w 8636594"/>
              <a:gd name="connsiteY0" fmla="*/ 0 h 6591417"/>
              <a:gd name="connsiteX1" fmla="*/ 5293 w 8636594"/>
              <a:gd name="connsiteY1" fmla="*/ 0 h 6591417"/>
              <a:gd name="connsiteX2" fmla="*/ 0 w 8636594"/>
              <a:gd name="connsiteY2" fmla="*/ 5587843 h 6591417"/>
              <a:gd name="connsiteX3" fmla="*/ 1594033 w 8636594"/>
              <a:gd name="connsiteY3" fmla="*/ 5600057 h 6591417"/>
              <a:gd name="connsiteX4" fmla="*/ 1686068 w 8636594"/>
              <a:gd name="connsiteY4" fmla="*/ 5599745 h 6591417"/>
              <a:gd name="connsiteX5" fmla="*/ 2244569 w 8636594"/>
              <a:gd name="connsiteY5" fmla="*/ 6591417 h 6591417"/>
              <a:gd name="connsiteX6" fmla="*/ 2302482 w 8636594"/>
              <a:gd name="connsiteY6" fmla="*/ 6580040 h 6591417"/>
              <a:gd name="connsiteX7" fmla="*/ 2359737 w 8636594"/>
              <a:gd name="connsiteY7" fmla="*/ 6568233 h 6591417"/>
              <a:gd name="connsiteX8" fmla="*/ 2416341 w 8636594"/>
              <a:gd name="connsiteY8" fmla="*/ 6555999 h 6591417"/>
              <a:gd name="connsiteX9" fmla="*/ 2472299 w 8636594"/>
              <a:gd name="connsiteY9" fmla="*/ 6543344 h 6591417"/>
              <a:gd name="connsiteX10" fmla="*/ 2527618 w 8636594"/>
              <a:gd name="connsiteY10" fmla="*/ 6530269 h 6591417"/>
              <a:gd name="connsiteX11" fmla="*/ 2582304 w 8636594"/>
              <a:gd name="connsiteY11" fmla="*/ 6516778 h 6591417"/>
              <a:gd name="connsiteX12" fmla="*/ 2636364 w 8636594"/>
              <a:gd name="connsiteY12" fmla="*/ 6502876 h 6591417"/>
              <a:gd name="connsiteX13" fmla="*/ 2689804 w 8636594"/>
              <a:gd name="connsiteY13" fmla="*/ 6488565 h 6591417"/>
              <a:gd name="connsiteX14" fmla="*/ 2742629 w 8636594"/>
              <a:gd name="connsiteY14" fmla="*/ 6473849 h 6591417"/>
              <a:gd name="connsiteX15" fmla="*/ 2794848 w 8636594"/>
              <a:gd name="connsiteY15" fmla="*/ 6458731 h 6591417"/>
              <a:gd name="connsiteX16" fmla="*/ 2846466 w 8636594"/>
              <a:gd name="connsiteY16" fmla="*/ 6443216 h 6591417"/>
              <a:gd name="connsiteX17" fmla="*/ 2897488 w 8636594"/>
              <a:gd name="connsiteY17" fmla="*/ 6427305 h 6591417"/>
              <a:gd name="connsiteX18" fmla="*/ 2947923 w 8636594"/>
              <a:gd name="connsiteY18" fmla="*/ 6411004 h 6591417"/>
              <a:gd name="connsiteX19" fmla="*/ 2997775 w 8636594"/>
              <a:gd name="connsiteY19" fmla="*/ 6394316 h 6591417"/>
              <a:gd name="connsiteX20" fmla="*/ 3047052 w 8636594"/>
              <a:gd name="connsiteY20" fmla="*/ 6377243 h 6591417"/>
              <a:gd name="connsiteX21" fmla="*/ 3095759 w 8636594"/>
              <a:gd name="connsiteY21" fmla="*/ 6359791 h 6591417"/>
              <a:gd name="connsiteX22" fmla="*/ 3143903 w 8636594"/>
              <a:gd name="connsiteY22" fmla="*/ 6341961 h 6591417"/>
              <a:gd name="connsiteX23" fmla="*/ 3191491 w 8636594"/>
              <a:gd name="connsiteY23" fmla="*/ 6323757 h 6591417"/>
              <a:gd name="connsiteX24" fmla="*/ 3238528 w 8636594"/>
              <a:gd name="connsiteY24" fmla="*/ 6305184 h 6591417"/>
              <a:gd name="connsiteX25" fmla="*/ 3285021 w 8636594"/>
              <a:gd name="connsiteY25" fmla="*/ 6286245 h 6591417"/>
              <a:gd name="connsiteX26" fmla="*/ 3330977 w 8636594"/>
              <a:gd name="connsiteY26" fmla="*/ 6266942 h 6591417"/>
              <a:gd name="connsiteX27" fmla="*/ 3376401 w 8636594"/>
              <a:gd name="connsiteY27" fmla="*/ 6247281 h 6591417"/>
              <a:gd name="connsiteX28" fmla="*/ 3421300 w 8636594"/>
              <a:gd name="connsiteY28" fmla="*/ 6227263 h 6591417"/>
              <a:gd name="connsiteX29" fmla="*/ 3465680 w 8636594"/>
              <a:gd name="connsiteY29" fmla="*/ 6206893 h 6591417"/>
              <a:gd name="connsiteX30" fmla="*/ 3509548 w 8636594"/>
              <a:gd name="connsiteY30" fmla="*/ 6186174 h 6591417"/>
              <a:gd name="connsiteX31" fmla="*/ 3552910 w 8636594"/>
              <a:gd name="connsiteY31" fmla="*/ 6165110 h 6591417"/>
              <a:gd name="connsiteX32" fmla="*/ 3595773 w 8636594"/>
              <a:gd name="connsiteY32" fmla="*/ 6143704 h 6591417"/>
              <a:gd name="connsiteX33" fmla="*/ 3638142 w 8636594"/>
              <a:gd name="connsiteY33" fmla="*/ 6121960 h 6591417"/>
              <a:gd name="connsiteX34" fmla="*/ 3680024 w 8636594"/>
              <a:gd name="connsiteY34" fmla="*/ 6099881 h 6591417"/>
              <a:gd name="connsiteX35" fmla="*/ 3721426 w 8636594"/>
              <a:gd name="connsiteY35" fmla="*/ 6077471 h 6591417"/>
              <a:gd name="connsiteX36" fmla="*/ 3762353 w 8636594"/>
              <a:gd name="connsiteY36" fmla="*/ 6054733 h 6591417"/>
              <a:gd name="connsiteX37" fmla="*/ 3802812 w 8636594"/>
              <a:gd name="connsiteY37" fmla="*/ 6031671 h 6591417"/>
              <a:gd name="connsiteX38" fmla="*/ 3842810 w 8636594"/>
              <a:gd name="connsiteY38" fmla="*/ 6008288 h 6591417"/>
              <a:gd name="connsiteX39" fmla="*/ 3882352 w 8636594"/>
              <a:gd name="connsiteY39" fmla="*/ 5984588 h 6591417"/>
              <a:gd name="connsiteX40" fmla="*/ 3921445 w 8636594"/>
              <a:gd name="connsiteY40" fmla="*/ 5960574 h 6591417"/>
              <a:gd name="connsiteX41" fmla="*/ 3960096 w 8636594"/>
              <a:gd name="connsiteY41" fmla="*/ 5936250 h 6591417"/>
              <a:gd name="connsiteX42" fmla="*/ 3998311 w 8636594"/>
              <a:gd name="connsiteY42" fmla="*/ 5911619 h 6591417"/>
              <a:gd name="connsiteX43" fmla="*/ 4036095 w 8636594"/>
              <a:gd name="connsiteY43" fmla="*/ 5886685 h 6591417"/>
              <a:gd name="connsiteX44" fmla="*/ 4073456 w 8636594"/>
              <a:gd name="connsiteY44" fmla="*/ 5861452 h 6591417"/>
              <a:gd name="connsiteX45" fmla="*/ 4110400 w 8636594"/>
              <a:gd name="connsiteY45" fmla="*/ 5835922 h 6591417"/>
              <a:gd name="connsiteX46" fmla="*/ 4146933 w 8636594"/>
              <a:gd name="connsiteY46" fmla="*/ 5810100 h 6591417"/>
              <a:gd name="connsiteX47" fmla="*/ 4183061 w 8636594"/>
              <a:gd name="connsiteY47" fmla="*/ 5783988 h 6591417"/>
              <a:gd name="connsiteX48" fmla="*/ 4218791 w 8636594"/>
              <a:gd name="connsiteY48" fmla="*/ 5757591 h 6591417"/>
              <a:gd name="connsiteX49" fmla="*/ 4254129 w 8636594"/>
              <a:gd name="connsiteY49" fmla="*/ 5730912 h 6591417"/>
              <a:gd name="connsiteX50" fmla="*/ 4289081 w 8636594"/>
              <a:gd name="connsiteY50" fmla="*/ 5703955 h 6591417"/>
              <a:gd name="connsiteX51" fmla="*/ 4323654 w 8636594"/>
              <a:gd name="connsiteY51" fmla="*/ 5676722 h 6591417"/>
              <a:gd name="connsiteX52" fmla="*/ 4357854 w 8636594"/>
              <a:gd name="connsiteY52" fmla="*/ 5649218 h 6591417"/>
              <a:gd name="connsiteX53" fmla="*/ 4391688 w 8636594"/>
              <a:gd name="connsiteY53" fmla="*/ 5621446 h 6591417"/>
              <a:gd name="connsiteX54" fmla="*/ 4425162 w 8636594"/>
              <a:gd name="connsiteY54" fmla="*/ 5593409 h 6591417"/>
              <a:gd name="connsiteX55" fmla="*/ 4458281 w 8636594"/>
              <a:gd name="connsiteY55" fmla="*/ 5565111 h 6591417"/>
              <a:gd name="connsiteX56" fmla="*/ 4491053 w 8636594"/>
              <a:gd name="connsiteY56" fmla="*/ 5536556 h 6591417"/>
              <a:gd name="connsiteX57" fmla="*/ 4523484 w 8636594"/>
              <a:gd name="connsiteY57" fmla="*/ 5507747 h 6591417"/>
              <a:gd name="connsiteX58" fmla="*/ 4555580 w 8636594"/>
              <a:gd name="connsiteY58" fmla="*/ 5478687 h 6591417"/>
              <a:gd name="connsiteX59" fmla="*/ 4587347 w 8636594"/>
              <a:gd name="connsiteY59" fmla="*/ 5449380 h 6591417"/>
              <a:gd name="connsiteX60" fmla="*/ 4618793 w 8636594"/>
              <a:gd name="connsiteY60" fmla="*/ 5419830 h 6591417"/>
              <a:gd name="connsiteX61" fmla="*/ 4649922 w 8636594"/>
              <a:gd name="connsiteY61" fmla="*/ 5390040 h 6591417"/>
              <a:gd name="connsiteX62" fmla="*/ 4680742 w 8636594"/>
              <a:gd name="connsiteY62" fmla="*/ 5360014 h 6591417"/>
              <a:gd name="connsiteX63" fmla="*/ 4711259 w 8636594"/>
              <a:gd name="connsiteY63" fmla="*/ 5329755 h 6591417"/>
              <a:gd name="connsiteX64" fmla="*/ 4741478 w 8636594"/>
              <a:gd name="connsiteY64" fmla="*/ 5299266 h 6591417"/>
              <a:gd name="connsiteX65" fmla="*/ 4771408 w 8636594"/>
              <a:gd name="connsiteY65" fmla="*/ 5268551 h 6591417"/>
              <a:gd name="connsiteX66" fmla="*/ 4801053 w 8636594"/>
              <a:gd name="connsiteY66" fmla="*/ 5237614 h 6591417"/>
              <a:gd name="connsiteX67" fmla="*/ 4830420 w 8636594"/>
              <a:gd name="connsiteY67" fmla="*/ 5206458 h 6591417"/>
              <a:gd name="connsiteX68" fmla="*/ 4859516 w 8636594"/>
              <a:gd name="connsiteY68" fmla="*/ 5175087 h 6591417"/>
              <a:gd name="connsiteX69" fmla="*/ 4888347 w 8636594"/>
              <a:gd name="connsiteY69" fmla="*/ 5143504 h 6591417"/>
              <a:gd name="connsiteX70" fmla="*/ 4916919 w 8636594"/>
              <a:gd name="connsiteY70" fmla="*/ 5111713 h 6591417"/>
              <a:gd name="connsiteX71" fmla="*/ 4945238 w 8636594"/>
              <a:gd name="connsiteY71" fmla="*/ 5079717 h 6591417"/>
              <a:gd name="connsiteX72" fmla="*/ 4973311 w 8636594"/>
              <a:gd name="connsiteY72" fmla="*/ 5047519 h 6591417"/>
              <a:gd name="connsiteX73" fmla="*/ 5001145 w 8636594"/>
              <a:gd name="connsiteY73" fmla="*/ 5015124 h 6591417"/>
              <a:gd name="connsiteX74" fmla="*/ 5028745 w 8636594"/>
              <a:gd name="connsiteY74" fmla="*/ 4982535 h 6591417"/>
              <a:gd name="connsiteX75" fmla="*/ 5056117 w 8636594"/>
              <a:gd name="connsiteY75" fmla="*/ 4949755 h 6591417"/>
              <a:gd name="connsiteX76" fmla="*/ 5083269 w 8636594"/>
              <a:gd name="connsiteY76" fmla="*/ 4916787 h 6591417"/>
              <a:gd name="connsiteX77" fmla="*/ 5110207 w 8636594"/>
              <a:gd name="connsiteY77" fmla="*/ 4883636 h 6591417"/>
              <a:gd name="connsiteX78" fmla="*/ 5136937 w 8636594"/>
              <a:gd name="connsiteY78" fmla="*/ 4850305 h 6591417"/>
              <a:gd name="connsiteX79" fmla="*/ 5163464 w 8636594"/>
              <a:gd name="connsiteY79" fmla="*/ 4816797 h 6591417"/>
              <a:gd name="connsiteX80" fmla="*/ 5215940 w 8636594"/>
              <a:gd name="connsiteY80" fmla="*/ 4749265 h 6591417"/>
              <a:gd name="connsiteX81" fmla="*/ 5267684 w 8636594"/>
              <a:gd name="connsiteY81" fmla="*/ 4681068 h 6591417"/>
              <a:gd name="connsiteX82" fmla="*/ 5318748 w 8636594"/>
              <a:gd name="connsiteY82" fmla="*/ 4612234 h 6591417"/>
              <a:gd name="connsiteX83" fmla="*/ 5369182 w 8636594"/>
              <a:gd name="connsiteY83" fmla="*/ 4542793 h 6591417"/>
              <a:gd name="connsiteX84" fmla="*/ 5419038 w 8636594"/>
              <a:gd name="connsiteY84" fmla="*/ 4472771 h 6591417"/>
              <a:gd name="connsiteX85" fmla="*/ 5468365 w 8636594"/>
              <a:gd name="connsiteY85" fmla="*/ 4402196 h 6591417"/>
              <a:gd name="connsiteX86" fmla="*/ 5517215 w 8636594"/>
              <a:gd name="connsiteY86" fmla="*/ 4331098 h 6591417"/>
              <a:gd name="connsiteX87" fmla="*/ 5565637 w 8636594"/>
              <a:gd name="connsiteY87" fmla="*/ 4259503 h 6591417"/>
              <a:gd name="connsiteX88" fmla="*/ 5613684 w 8636594"/>
              <a:gd name="connsiteY88" fmla="*/ 4187441 h 6591417"/>
              <a:gd name="connsiteX89" fmla="*/ 5685160 w 8636594"/>
              <a:gd name="connsiteY89" fmla="*/ 4078531 h 6591417"/>
              <a:gd name="connsiteX90" fmla="*/ 5756074 w 8636594"/>
              <a:gd name="connsiteY90" fmla="*/ 3968727 h 6591417"/>
              <a:gd name="connsiteX91" fmla="*/ 5873483 w 8636594"/>
              <a:gd name="connsiteY91" fmla="*/ 3783989 h 6591417"/>
              <a:gd name="connsiteX92" fmla="*/ 6203209 w 8636594"/>
              <a:gd name="connsiteY92" fmla="*/ 3258640 h 6591417"/>
              <a:gd name="connsiteX93" fmla="*/ 6299430 w 8636594"/>
              <a:gd name="connsiteY93" fmla="*/ 3107321 h 6591417"/>
              <a:gd name="connsiteX94" fmla="*/ 6372650 w 8636594"/>
              <a:gd name="connsiteY94" fmla="*/ 2993735 h 6591417"/>
              <a:gd name="connsiteX95" fmla="*/ 6453197 w 8636594"/>
              <a:gd name="connsiteY95" fmla="*/ 2869788 h 6591417"/>
              <a:gd name="connsiteX96" fmla="*/ 6564167 w 8636594"/>
              <a:gd name="connsiteY96" fmla="*/ 2696807 h 6591417"/>
              <a:gd name="connsiteX97" fmla="*/ 6976233 w 8636594"/>
              <a:gd name="connsiteY97" fmla="*/ 2045274 h 6591417"/>
              <a:gd name="connsiteX98" fmla="*/ 7086755 w 8636594"/>
              <a:gd name="connsiteY98" fmla="*/ 1872743 h 6591417"/>
              <a:gd name="connsiteX99" fmla="*/ 7170279 w 8636594"/>
              <a:gd name="connsiteY99" fmla="*/ 1744202 h 6591417"/>
              <a:gd name="connsiteX100" fmla="*/ 7226351 w 8636594"/>
              <a:gd name="connsiteY100" fmla="*/ 1659017 h 6591417"/>
              <a:gd name="connsiteX101" fmla="*/ 7282789 w 8636594"/>
              <a:gd name="connsiteY101" fmla="*/ 1574303 h 6591417"/>
              <a:gd name="connsiteX102" fmla="*/ 7339643 w 8636594"/>
              <a:gd name="connsiteY102" fmla="*/ 1490113 h 6591417"/>
              <a:gd name="connsiteX103" fmla="*/ 7396957 w 8636594"/>
              <a:gd name="connsiteY103" fmla="*/ 1406503 h 6591417"/>
              <a:gd name="connsiteX104" fmla="*/ 7454781 w 8636594"/>
              <a:gd name="connsiteY104" fmla="*/ 1323526 h 6591417"/>
              <a:gd name="connsiteX105" fmla="*/ 7513161 w 8636594"/>
              <a:gd name="connsiteY105" fmla="*/ 1241237 h 6591417"/>
              <a:gd name="connsiteX106" fmla="*/ 7572144 w 8636594"/>
              <a:gd name="connsiteY106" fmla="*/ 1159689 h 6591417"/>
              <a:gd name="connsiteX107" fmla="*/ 7601877 w 8636594"/>
              <a:gd name="connsiteY107" fmla="*/ 1119210 h 6591417"/>
              <a:gd name="connsiteX108" fmla="*/ 7631779 w 8636594"/>
              <a:gd name="connsiteY108" fmla="*/ 1078937 h 6591417"/>
              <a:gd name="connsiteX109" fmla="*/ 7661855 w 8636594"/>
              <a:gd name="connsiteY109" fmla="*/ 1038876 h 6591417"/>
              <a:gd name="connsiteX110" fmla="*/ 7692111 w 8636594"/>
              <a:gd name="connsiteY110" fmla="*/ 999035 h 6591417"/>
              <a:gd name="connsiteX111" fmla="*/ 7722554 w 8636594"/>
              <a:gd name="connsiteY111" fmla="*/ 959419 h 6591417"/>
              <a:gd name="connsiteX112" fmla="*/ 7753190 w 8636594"/>
              <a:gd name="connsiteY112" fmla="*/ 920037 h 6591417"/>
              <a:gd name="connsiteX113" fmla="*/ 7784023 w 8636594"/>
              <a:gd name="connsiteY113" fmla="*/ 880894 h 6591417"/>
              <a:gd name="connsiteX114" fmla="*/ 7815061 w 8636594"/>
              <a:gd name="connsiteY114" fmla="*/ 841997 h 6591417"/>
              <a:gd name="connsiteX115" fmla="*/ 7846308 w 8636594"/>
              <a:gd name="connsiteY115" fmla="*/ 803354 h 6591417"/>
              <a:gd name="connsiteX116" fmla="*/ 7877772 w 8636594"/>
              <a:gd name="connsiteY116" fmla="*/ 764970 h 6591417"/>
              <a:gd name="connsiteX117" fmla="*/ 7909458 w 8636594"/>
              <a:gd name="connsiteY117" fmla="*/ 726853 h 6591417"/>
              <a:gd name="connsiteX118" fmla="*/ 7941371 w 8636594"/>
              <a:gd name="connsiteY118" fmla="*/ 689010 h 6591417"/>
              <a:gd name="connsiteX119" fmla="*/ 7973518 w 8636594"/>
              <a:gd name="connsiteY119" fmla="*/ 651447 h 6591417"/>
              <a:gd name="connsiteX120" fmla="*/ 8005905 w 8636594"/>
              <a:gd name="connsiteY120" fmla="*/ 614171 h 6591417"/>
              <a:gd name="connsiteX121" fmla="*/ 8038538 w 8636594"/>
              <a:gd name="connsiteY121" fmla="*/ 577189 h 6591417"/>
              <a:gd name="connsiteX122" fmla="*/ 8071421 w 8636594"/>
              <a:gd name="connsiteY122" fmla="*/ 540507 h 6591417"/>
              <a:gd name="connsiteX123" fmla="*/ 8104563 w 8636594"/>
              <a:gd name="connsiteY123" fmla="*/ 504132 h 6591417"/>
              <a:gd name="connsiteX124" fmla="*/ 8137967 w 8636594"/>
              <a:gd name="connsiteY124" fmla="*/ 468072 h 6591417"/>
              <a:gd name="connsiteX125" fmla="*/ 8171641 w 8636594"/>
              <a:gd name="connsiteY125" fmla="*/ 432332 h 6591417"/>
              <a:gd name="connsiteX126" fmla="*/ 8205590 w 8636594"/>
              <a:gd name="connsiteY126" fmla="*/ 396920 h 6591417"/>
              <a:gd name="connsiteX127" fmla="*/ 8239820 w 8636594"/>
              <a:gd name="connsiteY127" fmla="*/ 361843 h 6591417"/>
              <a:gd name="connsiteX128" fmla="*/ 8274337 w 8636594"/>
              <a:gd name="connsiteY128" fmla="*/ 327107 h 6591417"/>
              <a:gd name="connsiteX129" fmla="*/ 8309147 w 8636594"/>
              <a:gd name="connsiteY129" fmla="*/ 292718 h 6591417"/>
              <a:gd name="connsiteX130" fmla="*/ 8344256 w 8636594"/>
              <a:gd name="connsiteY130" fmla="*/ 258685 h 6591417"/>
              <a:gd name="connsiteX131" fmla="*/ 8379669 w 8636594"/>
              <a:gd name="connsiteY131" fmla="*/ 225013 h 6591417"/>
              <a:gd name="connsiteX132" fmla="*/ 8415394 w 8636594"/>
              <a:gd name="connsiteY132" fmla="*/ 191709 h 6591417"/>
              <a:gd name="connsiteX133" fmla="*/ 8451434 w 8636594"/>
              <a:gd name="connsiteY133" fmla="*/ 158780 h 6591417"/>
              <a:gd name="connsiteX134" fmla="*/ 8487798 w 8636594"/>
              <a:gd name="connsiteY134" fmla="*/ 126233 h 6591417"/>
              <a:gd name="connsiteX135" fmla="*/ 8524489 w 8636594"/>
              <a:gd name="connsiteY135" fmla="*/ 94075 h 6591417"/>
              <a:gd name="connsiteX136" fmla="*/ 8561515 w 8636594"/>
              <a:gd name="connsiteY136" fmla="*/ 62312 h 6591417"/>
              <a:gd name="connsiteX137" fmla="*/ 8598881 w 8636594"/>
              <a:gd name="connsiteY137" fmla="*/ 30951 h 6591417"/>
              <a:gd name="connsiteX138" fmla="*/ 8636594 w 8636594"/>
              <a:gd name="connsiteY138" fmla="*/ 0 h 6591417"/>
              <a:gd name="connsiteX0" fmla="*/ 8636594 w 8636594"/>
              <a:gd name="connsiteY0" fmla="*/ 0 h 6580040"/>
              <a:gd name="connsiteX1" fmla="*/ 5293 w 8636594"/>
              <a:gd name="connsiteY1" fmla="*/ 0 h 6580040"/>
              <a:gd name="connsiteX2" fmla="*/ 0 w 8636594"/>
              <a:gd name="connsiteY2" fmla="*/ 5587843 h 6580040"/>
              <a:gd name="connsiteX3" fmla="*/ 1594033 w 8636594"/>
              <a:gd name="connsiteY3" fmla="*/ 5600057 h 6580040"/>
              <a:gd name="connsiteX4" fmla="*/ 1686068 w 8636594"/>
              <a:gd name="connsiteY4" fmla="*/ 5599745 h 6580040"/>
              <a:gd name="connsiteX5" fmla="*/ 2302482 w 8636594"/>
              <a:gd name="connsiteY5" fmla="*/ 6580040 h 6580040"/>
              <a:gd name="connsiteX6" fmla="*/ 2359737 w 8636594"/>
              <a:gd name="connsiteY6" fmla="*/ 6568233 h 6580040"/>
              <a:gd name="connsiteX7" fmla="*/ 2416341 w 8636594"/>
              <a:gd name="connsiteY7" fmla="*/ 6555999 h 6580040"/>
              <a:gd name="connsiteX8" fmla="*/ 2472299 w 8636594"/>
              <a:gd name="connsiteY8" fmla="*/ 6543344 h 6580040"/>
              <a:gd name="connsiteX9" fmla="*/ 2527618 w 8636594"/>
              <a:gd name="connsiteY9" fmla="*/ 6530269 h 6580040"/>
              <a:gd name="connsiteX10" fmla="*/ 2582304 w 8636594"/>
              <a:gd name="connsiteY10" fmla="*/ 6516778 h 6580040"/>
              <a:gd name="connsiteX11" fmla="*/ 2636364 w 8636594"/>
              <a:gd name="connsiteY11" fmla="*/ 6502876 h 6580040"/>
              <a:gd name="connsiteX12" fmla="*/ 2689804 w 8636594"/>
              <a:gd name="connsiteY12" fmla="*/ 6488565 h 6580040"/>
              <a:gd name="connsiteX13" fmla="*/ 2742629 w 8636594"/>
              <a:gd name="connsiteY13" fmla="*/ 6473849 h 6580040"/>
              <a:gd name="connsiteX14" fmla="*/ 2794848 w 8636594"/>
              <a:gd name="connsiteY14" fmla="*/ 6458731 h 6580040"/>
              <a:gd name="connsiteX15" fmla="*/ 2846466 w 8636594"/>
              <a:gd name="connsiteY15" fmla="*/ 6443216 h 6580040"/>
              <a:gd name="connsiteX16" fmla="*/ 2897488 w 8636594"/>
              <a:gd name="connsiteY16" fmla="*/ 6427305 h 6580040"/>
              <a:gd name="connsiteX17" fmla="*/ 2947923 w 8636594"/>
              <a:gd name="connsiteY17" fmla="*/ 6411004 h 6580040"/>
              <a:gd name="connsiteX18" fmla="*/ 2997775 w 8636594"/>
              <a:gd name="connsiteY18" fmla="*/ 6394316 h 6580040"/>
              <a:gd name="connsiteX19" fmla="*/ 3047052 w 8636594"/>
              <a:gd name="connsiteY19" fmla="*/ 6377243 h 6580040"/>
              <a:gd name="connsiteX20" fmla="*/ 3095759 w 8636594"/>
              <a:gd name="connsiteY20" fmla="*/ 6359791 h 6580040"/>
              <a:gd name="connsiteX21" fmla="*/ 3143903 w 8636594"/>
              <a:gd name="connsiteY21" fmla="*/ 6341961 h 6580040"/>
              <a:gd name="connsiteX22" fmla="*/ 3191491 w 8636594"/>
              <a:gd name="connsiteY22" fmla="*/ 6323757 h 6580040"/>
              <a:gd name="connsiteX23" fmla="*/ 3238528 w 8636594"/>
              <a:gd name="connsiteY23" fmla="*/ 6305184 h 6580040"/>
              <a:gd name="connsiteX24" fmla="*/ 3285021 w 8636594"/>
              <a:gd name="connsiteY24" fmla="*/ 6286245 h 6580040"/>
              <a:gd name="connsiteX25" fmla="*/ 3330977 w 8636594"/>
              <a:gd name="connsiteY25" fmla="*/ 6266942 h 6580040"/>
              <a:gd name="connsiteX26" fmla="*/ 3376401 w 8636594"/>
              <a:gd name="connsiteY26" fmla="*/ 6247281 h 6580040"/>
              <a:gd name="connsiteX27" fmla="*/ 3421300 w 8636594"/>
              <a:gd name="connsiteY27" fmla="*/ 6227263 h 6580040"/>
              <a:gd name="connsiteX28" fmla="*/ 3465680 w 8636594"/>
              <a:gd name="connsiteY28" fmla="*/ 6206893 h 6580040"/>
              <a:gd name="connsiteX29" fmla="*/ 3509548 w 8636594"/>
              <a:gd name="connsiteY29" fmla="*/ 6186174 h 6580040"/>
              <a:gd name="connsiteX30" fmla="*/ 3552910 w 8636594"/>
              <a:gd name="connsiteY30" fmla="*/ 6165110 h 6580040"/>
              <a:gd name="connsiteX31" fmla="*/ 3595773 w 8636594"/>
              <a:gd name="connsiteY31" fmla="*/ 6143704 h 6580040"/>
              <a:gd name="connsiteX32" fmla="*/ 3638142 w 8636594"/>
              <a:gd name="connsiteY32" fmla="*/ 6121960 h 6580040"/>
              <a:gd name="connsiteX33" fmla="*/ 3680024 w 8636594"/>
              <a:gd name="connsiteY33" fmla="*/ 6099881 h 6580040"/>
              <a:gd name="connsiteX34" fmla="*/ 3721426 w 8636594"/>
              <a:gd name="connsiteY34" fmla="*/ 6077471 h 6580040"/>
              <a:gd name="connsiteX35" fmla="*/ 3762353 w 8636594"/>
              <a:gd name="connsiteY35" fmla="*/ 6054733 h 6580040"/>
              <a:gd name="connsiteX36" fmla="*/ 3802812 w 8636594"/>
              <a:gd name="connsiteY36" fmla="*/ 6031671 h 6580040"/>
              <a:gd name="connsiteX37" fmla="*/ 3842810 w 8636594"/>
              <a:gd name="connsiteY37" fmla="*/ 6008288 h 6580040"/>
              <a:gd name="connsiteX38" fmla="*/ 3882352 w 8636594"/>
              <a:gd name="connsiteY38" fmla="*/ 5984588 h 6580040"/>
              <a:gd name="connsiteX39" fmla="*/ 3921445 w 8636594"/>
              <a:gd name="connsiteY39" fmla="*/ 5960574 h 6580040"/>
              <a:gd name="connsiteX40" fmla="*/ 3960096 w 8636594"/>
              <a:gd name="connsiteY40" fmla="*/ 5936250 h 6580040"/>
              <a:gd name="connsiteX41" fmla="*/ 3998311 w 8636594"/>
              <a:gd name="connsiteY41" fmla="*/ 5911619 h 6580040"/>
              <a:gd name="connsiteX42" fmla="*/ 4036095 w 8636594"/>
              <a:gd name="connsiteY42" fmla="*/ 5886685 h 6580040"/>
              <a:gd name="connsiteX43" fmla="*/ 4073456 w 8636594"/>
              <a:gd name="connsiteY43" fmla="*/ 5861452 h 6580040"/>
              <a:gd name="connsiteX44" fmla="*/ 4110400 w 8636594"/>
              <a:gd name="connsiteY44" fmla="*/ 5835922 h 6580040"/>
              <a:gd name="connsiteX45" fmla="*/ 4146933 w 8636594"/>
              <a:gd name="connsiteY45" fmla="*/ 5810100 h 6580040"/>
              <a:gd name="connsiteX46" fmla="*/ 4183061 w 8636594"/>
              <a:gd name="connsiteY46" fmla="*/ 5783988 h 6580040"/>
              <a:gd name="connsiteX47" fmla="*/ 4218791 w 8636594"/>
              <a:gd name="connsiteY47" fmla="*/ 5757591 h 6580040"/>
              <a:gd name="connsiteX48" fmla="*/ 4254129 w 8636594"/>
              <a:gd name="connsiteY48" fmla="*/ 5730912 h 6580040"/>
              <a:gd name="connsiteX49" fmla="*/ 4289081 w 8636594"/>
              <a:gd name="connsiteY49" fmla="*/ 5703955 h 6580040"/>
              <a:gd name="connsiteX50" fmla="*/ 4323654 w 8636594"/>
              <a:gd name="connsiteY50" fmla="*/ 5676722 h 6580040"/>
              <a:gd name="connsiteX51" fmla="*/ 4357854 w 8636594"/>
              <a:gd name="connsiteY51" fmla="*/ 5649218 h 6580040"/>
              <a:gd name="connsiteX52" fmla="*/ 4391688 w 8636594"/>
              <a:gd name="connsiteY52" fmla="*/ 5621446 h 6580040"/>
              <a:gd name="connsiteX53" fmla="*/ 4425162 w 8636594"/>
              <a:gd name="connsiteY53" fmla="*/ 5593409 h 6580040"/>
              <a:gd name="connsiteX54" fmla="*/ 4458281 w 8636594"/>
              <a:gd name="connsiteY54" fmla="*/ 5565111 h 6580040"/>
              <a:gd name="connsiteX55" fmla="*/ 4491053 w 8636594"/>
              <a:gd name="connsiteY55" fmla="*/ 5536556 h 6580040"/>
              <a:gd name="connsiteX56" fmla="*/ 4523484 w 8636594"/>
              <a:gd name="connsiteY56" fmla="*/ 5507747 h 6580040"/>
              <a:gd name="connsiteX57" fmla="*/ 4555580 w 8636594"/>
              <a:gd name="connsiteY57" fmla="*/ 5478687 h 6580040"/>
              <a:gd name="connsiteX58" fmla="*/ 4587347 w 8636594"/>
              <a:gd name="connsiteY58" fmla="*/ 5449380 h 6580040"/>
              <a:gd name="connsiteX59" fmla="*/ 4618793 w 8636594"/>
              <a:gd name="connsiteY59" fmla="*/ 5419830 h 6580040"/>
              <a:gd name="connsiteX60" fmla="*/ 4649922 w 8636594"/>
              <a:gd name="connsiteY60" fmla="*/ 5390040 h 6580040"/>
              <a:gd name="connsiteX61" fmla="*/ 4680742 w 8636594"/>
              <a:gd name="connsiteY61" fmla="*/ 5360014 h 6580040"/>
              <a:gd name="connsiteX62" fmla="*/ 4711259 w 8636594"/>
              <a:gd name="connsiteY62" fmla="*/ 5329755 h 6580040"/>
              <a:gd name="connsiteX63" fmla="*/ 4741478 w 8636594"/>
              <a:gd name="connsiteY63" fmla="*/ 5299266 h 6580040"/>
              <a:gd name="connsiteX64" fmla="*/ 4771408 w 8636594"/>
              <a:gd name="connsiteY64" fmla="*/ 5268551 h 6580040"/>
              <a:gd name="connsiteX65" fmla="*/ 4801053 w 8636594"/>
              <a:gd name="connsiteY65" fmla="*/ 5237614 h 6580040"/>
              <a:gd name="connsiteX66" fmla="*/ 4830420 w 8636594"/>
              <a:gd name="connsiteY66" fmla="*/ 5206458 h 6580040"/>
              <a:gd name="connsiteX67" fmla="*/ 4859516 w 8636594"/>
              <a:gd name="connsiteY67" fmla="*/ 5175087 h 6580040"/>
              <a:gd name="connsiteX68" fmla="*/ 4888347 w 8636594"/>
              <a:gd name="connsiteY68" fmla="*/ 5143504 h 6580040"/>
              <a:gd name="connsiteX69" fmla="*/ 4916919 w 8636594"/>
              <a:gd name="connsiteY69" fmla="*/ 5111713 h 6580040"/>
              <a:gd name="connsiteX70" fmla="*/ 4945238 w 8636594"/>
              <a:gd name="connsiteY70" fmla="*/ 5079717 h 6580040"/>
              <a:gd name="connsiteX71" fmla="*/ 4973311 w 8636594"/>
              <a:gd name="connsiteY71" fmla="*/ 5047519 h 6580040"/>
              <a:gd name="connsiteX72" fmla="*/ 5001145 w 8636594"/>
              <a:gd name="connsiteY72" fmla="*/ 5015124 h 6580040"/>
              <a:gd name="connsiteX73" fmla="*/ 5028745 w 8636594"/>
              <a:gd name="connsiteY73" fmla="*/ 4982535 h 6580040"/>
              <a:gd name="connsiteX74" fmla="*/ 5056117 w 8636594"/>
              <a:gd name="connsiteY74" fmla="*/ 4949755 h 6580040"/>
              <a:gd name="connsiteX75" fmla="*/ 5083269 w 8636594"/>
              <a:gd name="connsiteY75" fmla="*/ 4916787 h 6580040"/>
              <a:gd name="connsiteX76" fmla="*/ 5110207 w 8636594"/>
              <a:gd name="connsiteY76" fmla="*/ 4883636 h 6580040"/>
              <a:gd name="connsiteX77" fmla="*/ 5136937 w 8636594"/>
              <a:gd name="connsiteY77" fmla="*/ 4850305 h 6580040"/>
              <a:gd name="connsiteX78" fmla="*/ 5163464 w 8636594"/>
              <a:gd name="connsiteY78" fmla="*/ 4816797 h 6580040"/>
              <a:gd name="connsiteX79" fmla="*/ 5215940 w 8636594"/>
              <a:gd name="connsiteY79" fmla="*/ 4749265 h 6580040"/>
              <a:gd name="connsiteX80" fmla="*/ 5267684 w 8636594"/>
              <a:gd name="connsiteY80" fmla="*/ 4681068 h 6580040"/>
              <a:gd name="connsiteX81" fmla="*/ 5318748 w 8636594"/>
              <a:gd name="connsiteY81" fmla="*/ 4612234 h 6580040"/>
              <a:gd name="connsiteX82" fmla="*/ 5369182 w 8636594"/>
              <a:gd name="connsiteY82" fmla="*/ 4542793 h 6580040"/>
              <a:gd name="connsiteX83" fmla="*/ 5419038 w 8636594"/>
              <a:gd name="connsiteY83" fmla="*/ 4472771 h 6580040"/>
              <a:gd name="connsiteX84" fmla="*/ 5468365 w 8636594"/>
              <a:gd name="connsiteY84" fmla="*/ 4402196 h 6580040"/>
              <a:gd name="connsiteX85" fmla="*/ 5517215 w 8636594"/>
              <a:gd name="connsiteY85" fmla="*/ 4331098 h 6580040"/>
              <a:gd name="connsiteX86" fmla="*/ 5565637 w 8636594"/>
              <a:gd name="connsiteY86" fmla="*/ 4259503 h 6580040"/>
              <a:gd name="connsiteX87" fmla="*/ 5613684 w 8636594"/>
              <a:gd name="connsiteY87" fmla="*/ 4187441 h 6580040"/>
              <a:gd name="connsiteX88" fmla="*/ 5685160 w 8636594"/>
              <a:gd name="connsiteY88" fmla="*/ 4078531 h 6580040"/>
              <a:gd name="connsiteX89" fmla="*/ 5756074 w 8636594"/>
              <a:gd name="connsiteY89" fmla="*/ 3968727 h 6580040"/>
              <a:gd name="connsiteX90" fmla="*/ 5873483 w 8636594"/>
              <a:gd name="connsiteY90" fmla="*/ 3783989 h 6580040"/>
              <a:gd name="connsiteX91" fmla="*/ 6203209 w 8636594"/>
              <a:gd name="connsiteY91" fmla="*/ 3258640 h 6580040"/>
              <a:gd name="connsiteX92" fmla="*/ 6299430 w 8636594"/>
              <a:gd name="connsiteY92" fmla="*/ 3107321 h 6580040"/>
              <a:gd name="connsiteX93" fmla="*/ 6372650 w 8636594"/>
              <a:gd name="connsiteY93" fmla="*/ 2993735 h 6580040"/>
              <a:gd name="connsiteX94" fmla="*/ 6453197 w 8636594"/>
              <a:gd name="connsiteY94" fmla="*/ 2869788 h 6580040"/>
              <a:gd name="connsiteX95" fmla="*/ 6564167 w 8636594"/>
              <a:gd name="connsiteY95" fmla="*/ 2696807 h 6580040"/>
              <a:gd name="connsiteX96" fmla="*/ 6976233 w 8636594"/>
              <a:gd name="connsiteY96" fmla="*/ 2045274 h 6580040"/>
              <a:gd name="connsiteX97" fmla="*/ 7086755 w 8636594"/>
              <a:gd name="connsiteY97" fmla="*/ 1872743 h 6580040"/>
              <a:gd name="connsiteX98" fmla="*/ 7170279 w 8636594"/>
              <a:gd name="connsiteY98" fmla="*/ 1744202 h 6580040"/>
              <a:gd name="connsiteX99" fmla="*/ 7226351 w 8636594"/>
              <a:gd name="connsiteY99" fmla="*/ 1659017 h 6580040"/>
              <a:gd name="connsiteX100" fmla="*/ 7282789 w 8636594"/>
              <a:gd name="connsiteY100" fmla="*/ 1574303 h 6580040"/>
              <a:gd name="connsiteX101" fmla="*/ 7339643 w 8636594"/>
              <a:gd name="connsiteY101" fmla="*/ 1490113 h 6580040"/>
              <a:gd name="connsiteX102" fmla="*/ 7396957 w 8636594"/>
              <a:gd name="connsiteY102" fmla="*/ 1406503 h 6580040"/>
              <a:gd name="connsiteX103" fmla="*/ 7454781 w 8636594"/>
              <a:gd name="connsiteY103" fmla="*/ 1323526 h 6580040"/>
              <a:gd name="connsiteX104" fmla="*/ 7513161 w 8636594"/>
              <a:gd name="connsiteY104" fmla="*/ 1241237 h 6580040"/>
              <a:gd name="connsiteX105" fmla="*/ 7572144 w 8636594"/>
              <a:gd name="connsiteY105" fmla="*/ 1159689 h 6580040"/>
              <a:gd name="connsiteX106" fmla="*/ 7601877 w 8636594"/>
              <a:gd name="connsiteY106" fmla="*/ 1119210 h 6580040"/>
              <a:gd name="connsiteX107" fmla="*/ 7631779 w 8636594"/>
              <a:gd name="connsiteY107" fmla="*/ 1078937 h 6580040"/>
              <a:gd name="connsiteX108" fmla="*/ 7661855 w 8636594"/>
              <a:gd name="connsiteY108" fmla="*/ 1038876 h 6580040"/>
              <a:gd name="connsiteX109" fmla="*/ 7692111 w 8636594"/>
              <a:gd name="connsiteY109" fmla="*/ 999035 h 6580040"/>
              <a:gd name="connsiteX110" fmla="*/ 7722554 w 8636594"/>
              <a:gd name="connsiteY110" fmla="*/ 959419 h 6580040"/>
              <a:gd name="connsiteX111" fmla="*/ 7753190 w 8636594"/>
              <a:gd name="connsiteY111" fmla="*/ 920037 h 6580040"/>
              <a:gd name="connsiteX112" fmla="*/ 7784023 w 8636594"/>
              <a:gd name="connsiteY112" fmla="*/ 880894 h 6580040"/>
              <a:gd name="connsiteX113" fmla="*/ 7815061 w 8636594"/>
              <a:gd name="connsiteY113" fmla="*/ 841997 h 6580040"/>
              <a:gd name="connsiteX114" fmla="*/ 7846308 w 8636594"/>
              <a:gd name="connsiteY114" fmla="*/ 803354 h 6580040"/>
              <a:gd name="connsiteX115" fmla="*/ 7877772 w 8636594"/>
              <a:gd name="connsiteY115" fmla="*/ 764970 h 6580040"/>
              <a:gd name="connsiteX116" fmla="*/ 7909458 w 8636594"/>
              <a:gd name="connsiteY116" fmla="*/ 726853 h 6580040"/>
              <a:gd name="connsiteX117" fmla="*/ 7941371 w 8636594"/>
              <a:gd name="connsiteY117" fmla="*/ 689010 h 6580040"/>
              <a:gd name="connsiteX118" fmla="*/ 7973518 w 8636594"/>
              <a:gd name="connsiteY118" fmla="*/ 651447 h 6580040"/>
              <a:gd name="connsiteX119" fmla="*/ 8005905 w 8636594"/>
              <a:gd name="connsiteY119" fmla="*/ 614171 h 6580040"/>
              <a:gd name="connsiteX120" fmla="*/ 8038538 w 8636594"/>
              <a:gd name="connsiteY120" fmla="*/ 577189 h 6580040"/>
              <a:gd name="connsiteX121" fmla="*/ 8071421 w 8636594"/>
              <a:gd name="connsiteY121" fmla="*/ 540507 h 6580040"/>
              <a:gd name="connsiteX122" fmla="*/ 8104563 w 8636594"/>
              <a:gd name="connsiteY122" fmla="*/ 504132 h 6580040"/>
              <a:gd name="connsiteX123" fmla="*/ 8137967 w 8636594"/>
              <a:gd name="connsiteY123" fmla="*/ 468072 h 6580040"/>
              <a:gd name="connsiteX124" fmla="*/ 8171641 w 8636594"/>
              <a:gd name="connsiteY124" fmla="*/ 432332 h 6580040"/>
              <a:gd name="connsiteX125" fmla="*/ 8205590 w 8636594"/>
              <a:gd name="connsiteY125" fmla="*/ 396920 h 6580040"/>
              <a:gd name="connsiteX126" fmla="*/ 8239820 w 8636594"/>
              <a:gd name="connsiteY126" fmla="*/ 361843 h 6580040"/>
              <a:gd name="connsiteX127" fmla="*/ 8274337 w 8636594"/>
              <a:gd name="connsiteY127" fmla="*/ 327107 h 6580040"/>
              <a:gd name="connsiteX128" fmla="*/ 8309147 w 8636594"/>
              <a:gd name="connsiteY128" fmla="*/ 292718 h 6580040"/>
              <a:gd name="connsiteX129" fmla="*/ 8344256 w 8636594"/>
              <a:gd name="connsiteY129" fmla="*/ 258685 h 6580040"/>
              <a:gd name="connsiteX130" fmla="*/ 8379669 w 8636594"/>
              <a:gd name="connsiteY130" fmla="*/ 225013 h 6580040"/>
              <a:gd name="connsiteX131" fmla="*/ 8415394 w 8636594"/>
              <a:gd name="connsiteY131" fmla="*/ 191709 h 6580040"/>
              <a:gd name="connsiteX132" fmla="*/ 8451434 w 8636594"/>
              <a:gd name="connsiteY132" fmla="*/ 158780 h 6580040"/>
              <a:gd name="connsiteX133" fmla="*/ 8487798 w 8636594"/>
              <a:gd name="connsiteY133" fmla="*/ 126233 h 6580040"/>
              <a:gd name="connsiteX134" fmla="*/ 8524489 w 8636594"/>
              <a:gd name="connsiteY134" fmla="*/ 94075 h 6580040"/>
              <a:gd name="connsiteX135" fmla="*/ 8561515 w 8636594"/>
              <a:gd name="connsiteY135" fmla="*/ 62312 h 6580040"/>
              <a:gd name="connsiteX136" fmla="*/ 8598881 w 8636594"/>
              <a:gd name="connsiteY136" fmla="*/ 30951 h 6580040"/>
              <a:gd name="connsiteX137" fmla="*/ 8636594 w 8636594"/>
              <a:gd name="connsiteY137" fmla="*/ 0 h 6580040"/>
              <a:gd name="connsiteX0" fmla="*/ 8636594 w 8636594"/>
              <a:gd name="connsiteY0" fmla="*/ 0 h 6568233"/>
              <a:gd name="connsiteX1" fmla="*/ 5293 w 8636594"/>
              <a:gd name="connsiteY1" fmla="*/ 0 h 6568233"/>
              <a:gd name="connsiteX2" fmla="*/ 0 w 8636594"/>
              <a:gd name="connsiteY2" fmla="*/ 5587843 h 6568233"/>
              <a:gd name="connsiteX3" fmla="*/ 1594033 w 8636594"/>
              <a:gd name="connsiteY3" fmla="*/ 5600057 h 6568233"/>
              <a:gd name="connsiteX4" fmla="*/ 1686068 w 8636594"/>
              <a:gd name="connsiteY4" fmla="*/ 5599745 h 6568233"/>
              <a:gd name="connsiteX5" fmla="*/ 2359737 w 8636594"/>
              <a:gd name="connsiteY5" fmla="*/ 6568233 h 6568233"/>
              <a:gd name="connsiteX6" fmla="*/ 2416341 w 8636594"/>
              <a:gd name="connsiteY6" fmla="*/ 6555999 h 6568233"/>
              <a:gd name="connsiteX7" fmla="*/ 2472299 w 8636594"/>
              <a:gd name="connsiteY7" fmla="*/ 6543344 h 6568233"/>
              <a:gd name="connsiteX8" fmla="*/ 2527618 w 8636594"/>
              <a:gd name="connsiteY8" fmla="*/ 6530269 h 6568233"/>
              <a:gd name="connsiteX9" fmla="*/ 2582304 w 8636594"/>
              <a:gd name="connsiteY9" fmla="*/ 6516778 h 6568233"/>
              <a:gd name="connsiteX10" fmla="*/ 2636364 w 8636594"/>
              <a:gd name="connsiteY10" fmla="*/ 6502876 h 6568233"/>
              <a:gd name="connsiteX11" fmla="*/ 2689804 w 8636594"/>
              <a:gd name="connsiteY11" fmla="*/ 6488565 h 6568233"/>
              <a:gd name="connsiteX12" fmla="*/ 2742629 w 8636594"/>
              <a:gd name="connsiteY12" fmla="*/ 6473849 h 6568233"/>
              <a:gd name="connsiteX13" fmla="*/ 2794848 w 8636594"/>
              <a:gd name="connsiteY13" fmla="*/ 6458731 h 6568233"/>
              <a:gd name="connsiteX14" fmla="*/ 2846466 w 8636594"/>
              <a:gd name="connsiteY14" fmla="*/ 6443216 h 6568233"/>
              <a:gd name="connsiteX15" fmla="*/ 2897488 w 8636594"/>
              <a:gd name="connsiteY15" fmla="*/ 6427305 h 6568233"/>
              <a:gd name="connsiteX16" fmla="*/ 2947923 w 8636594"/>
              <a:gd name="connsiteY16" fmla="*/ 6411004 h 6568233"/>
              <a:gd name="connsiteX17" fmla="*/ 2997775 w 8636594"/>
              <a:gd name="connsiteY17" fmla="*/ 6394316 h 6568233"/>
              <a:gd name="connsiteX18" fmla="*/ 3047052 w 8636594"/>
              <a:gd name="connsiteY18" fmla="*/ 6377243 h 6568233"/>
              <a:gd name="connsiteX19" fmla="*/ 3095759 w 8636594"/>
              <a:gd name="connsiteY19" fmla="*/ 6359791 h 6568233"/>
              <a:gd name="connsiteX20" fmla="*/ 3143903 w 8636594"/>
              <a:gd name="connsiteY20" fmla="*/ 6341961 h 6568233"/>
              <a:gd name="connsiteX21" fmla="*/ 3191491 w 8636594"/>
              <a:gd name="connsiteY21" fmla="*/ 6323757 h 6568233"/>
              <a:gd name="connsiteX22" fmla="*/ 3238528 w 8636594"/>
              <a:gd name="connsiteY22" fmla="*/ 6305184 h 6568233"/>
              <a:gd name="connsiteX23" fmla="*/ 3285021 w 8636594"/>
              <a:gd name="connsiteY23" fmla="*/ 6286245 h 6568233"/>
              <a:gd name="connsiteX24" fmla="*/ 3330977 w 8636594"/>
              <a:gd name="connsiteY24" fmla="*/ 6266942 h 6568233"/>
              <a:gd name="connsiteX25" fmla="*/ 3376401 w 8636594"/>
              <a:gd name="connsiteY25" fmla="*/ 6247281 h 6568233"/>
              <a:gd name="connsiteX26" fmla="*/ 3421300 w 8636594"/>
              <a:gd name="connsiteY26" fmla="*/ 6227263 h 6568233"/>
              <a:gd name="connsiteX27" fmla="*/ 3465680 w 8636594"/>
              <a:gd name="connsiteY27" fmla="*/ 6206893 h 6568233"/>
              <a:gd name="connsiteX28" fmla="*/ 3509548 w 8636594"/>
              <a:gd name="connsiteY28" fmla="*/ 6186174 h 6568233"/>
              <a:gd name="connsiteX29" fmla="*/ 3552910 w 8636594"/>
              <a:gd name="connsiteY29" fmla="*/ 6165110 h 6568233"/>
              <a:gd name="connsiteX30" fmla="*/ 3595773 w 8636594"/>
              <a:gd name="connsiteY30" fmla="*/ 6143704 h 6568233"/>
              <a:gd name="connsiteX31" fmla="*/ 3638142 w 8636594"/>
              <a:gd name="connsiteY31" fmla="*/ 6121960 h 6568233"/>
              <a:gd name="connsiteX32" fmla="*/ 3680024 w 8636594"/>
              <a:gd name="connsiteY32" fmla="*/ 6099881 h 6568233"/>
              <a:gd name="connsiteX33" fmla="*/ 3721426 w 8636594"/>
              <a:gd name="connsiteY33" fmla="*/ 6077471 h 6568233"/>
              <a:gd name="connsiteX34" fmla="*/ 3762353 w 8636594"/>
              <a:gd name="connsiteY34" fmla="*/ 6054733 h 6568233"/>
              <a:gd name="connsiteX35" fmla="*/ 3802812 w 8636594"/>
              <a:gd name="connsiteY35" fmla="*/ 6031671 h 6568233"/>
              <a:gd name="connsiteX36" fmla="*/ 3842810 w 8636594"/>
              <a:gd name="connsiteY36" fmla="*/ 6008288 h 6568233"/>
              <a:gd name="connsiteX37" fmla="*/ 3882352 w 8636594"/>
              <a:gd name="connsiteY37" fmla="*/ 5984588 h 6568233"/>
              <a:gd name="connsiteX38" fmla="*/ 3921445 w 8636594"/>
              <a:gd name="connsiteY38" fmla="*/ 5960574 h 6568233"/>
              <a:gd name="connsiteX39" fmla="*/ 3960096 w 8636594"/>
              <a:gd name="connsiteY39" fmla="*/ 5936250 h 6568233"/>
              <a:gd name="connsiteX40" fmla="*/ 3998311 w 8636594"/>
              <a:gd name="connsiteY40" fmla="*/ 5911619 h 6568233"/>
              <a:gd name="connsiteX41" fmla="*/ 4036095 w 8636594"/>
              <a:gd name="connsiteY41" fmla="*/ 5886685 h 6568233"/>
              <a:gd name="connsiteX42" fmla="*/ 4073456 w 8636594"/>
              <a:gd name="connsiteY42" fmla="*/ 5861452 h 6568233"/>
              <a:gd name="connsiteX43" fmla="*/ 4110400 w 8636594"/>
              <a:gd name="connsiteY43" fmla="*/ 5835922 h 6568233"/>
              <a:gd name="connsiteX44" fmla="*/ 4146933 w 8636594"/>
              <a:gd name="connsiteY44" fmla="*/ 5810100 h 6568233"/>
              <a:gd name="connsiteX45" fmla="*/ 4183061 w 8636594"/>
              <a:gd name="connsiteY45" fmla="*/ 5783988 h 6568233"/>
              <a:gd name="connsiteX46" fmla="*/ 4218791 w 8636594"/>
              <a:gd name="connsiteY46" fmla="*/ 5757591 h 6568233"/>
              <a:gd name="connsiteX47" fmla="*/ 4254129 w 8636594"/>
              <a:gd name="connsiteY47" fmla="*/ 5730912 h 6568233"/>
              <a:gd name="connsiteX48" fmla="*/ 4289081 w 8636594"/>
              <a:gd name="connsiteY48" fmla="*/ 5703955 h 6568233"/>
              <a:gd name="connsiteX49" fmla="*/ 4323654 w 8636594"/>
              <a:gd name="connsiteY49" fmla="*/ 5676722 h 6568233"/>
              <a:gd name="connsiteX50" fmla="*/ 4357854 w 8636594"/>
              <a:gd name="connsiteY50" fmla="*/ 5649218 h 6568233"/>
              <a:gd name="connsiteX51" fmla="*/ 4391688 w 8636594"/>
              <a:gd name="connsiteY51" fmla="*/ 5621446 h 6568233"/>
              <a:gd name="connsiteX52" fmla="*/ 4425162 w 8636594"/>
              <a:gd name="connsiteY52" fmla="*/ 5593409 h 6568233"/>
              <a:gd name="connsiteX53" fmla="*/ 4458281 w 8636594"/>
              <a:gd name="connsiteY53" fmla="*/ 5565111 h 6568233"/>
              <a:gd name="connsiteX54" fmla="*/ 4491053 w 8636594"/>
              <a:gd name="connsiteY54" fmla="*/ 5536556 h 6568233"/>
              <a:gd name="connsiteX55" fmla="*/ 4523484 w 8636594"/>
              <a:gd name="connsiteY55" fmla="*/ 5507747 h 6568233"/>
              <a:gd name="connsiteX56" fmla="*/ 4555580 w 8636594"/>
              <a:gd name="connsiteY56" fmla="*/ 5478687 h 6568233"/>
              <a:gd name="connsiteX57" fmla="*/ 4587347 w 8636594"/>
              <a:gd name="connsiteY57" fmla="*/ 5449380 h 6568233"/>
              <a:gd name="connsiteX58" fmla="*/ 4618793 w 8636594"/>
              <a:gd name="connsiteY58" fmla="*/ 5419830 h 6568233"/>
              <a:gd name="connsiteX59" fmla="*/ 4649922 w 8636594"/>
              <a:gd name="connsiteY59" fmla="*/ 5390040 h 6568233"/>
              <a:gd name="connsiteX60" fmla="*/ 4680742 w 8636594"/>
              <a:gd name="connsiteY60" fmla="*/ 5360014 h 6568233"/>
              <a:gd name="connsiteX61" fmla="*/ 4711259 w 8636594"/>
              <a:gd name="connsiteY61" fmla="*/ 5329755 h 6568233"/>
              <a:gd name="connsiteX62" fmla="*/ 4741478 w 8636594"/>
              <a:gd name="connsiteY62" fmla="*/ 5299266 h 6568233"/>
              <a:gd name="connsiteX63" fmla="*/ 4771408 w 8636594"/>
              <a:gd name="connsiteY63" fmla="*/ 5268551 h 6568233"/>
              <a:gd name="connsiteX64" fmla="*/ 4801053 w 8636594"/>
              <a:gd name="connsiteY64" fmla="*/ 5237614 h 6568233"/>
              <a:gd name="connsiteX65" fmla="*/ 4830420 w 8636594"/>
              <a:gd name="connsiteY65" fmla="*/ 5206458 h 6568233"/>
              <a:gd name="connsiteX66" fmla="*/ 4859516 w 8636594"/>
              <a:gd name="connsiteY66" fmla="*/ 5175087 h 6568233"/>
              <a:gd name="connsiteX67" fmla="*/ 4888347 w 8636594"/>
              <a:gd name="connsiteY67" fmla="*/ 5143504 h 6568233"/>
              <a:gd name="connsiteX68" fmla="*/ 4916919 w 8636594"/>
              <a:gd name="connsiteY68" fmla="*/ 5111713 h 6568233"/>
              <a:gd name="connsiteX69" fmla="*/ 4945238 w 8636594"/>
              <a:gd name="connsiteY69" fmla="*/ 5079717 h 6568233"/>
              <a:gd name="connsiteX70" fmla="*/ 4973311 w 8636594"/>
              <a:gd name="connsiteY70" fmla="*/ 5047519 h 6568233"/>
              <a:gd name="connsiteX71" fmla="*/ 5001145 w 8636594"/>
              <a:gd name="connsiteY71" fmla="*/ 5015124 h 6568233"/>
              <a:gd name="connsiteX72" fmla="*/ 5028745 w 8636594"/>
              <a:gd name="connsiteY72" fmla="*/ 4982535 h 6568233"/>
              <a:gd name="connsiteX73" fmla="*/ 5056117 w 8636594"/>
              <a:gd name="connsiteY73" fmla="*/ 4949755 h 6568233"/>
              <a:gd name="connsiteX74" fmla="*/ 5083269 w 8636594"/>
              <a:gd name="connsiteY74" fmla="*/ 4916787 h 6568233"/>
              <a:gd name="connsiteX75" fmla="*/ 5110207 w 8636594"/>
              <a:gd name="connsiteY75" fmla="*/ 4883636 h 6568233"/>
              <a:gd name="connsiteX76" fmla="*/ 5136937 w 8636594"/>
              <a:gd name="connsiteY76" fmla="*/ 4850305 h 6568233"/>
              <a:gd name="connsiteX77" fmla="*/ 5163464 w 8636594"/>
              <a:gd name="connsiteY77" fmla="*/ 4816797 h 6568233"/>
              <a:gd name="connsiteX78" fmla="*/ 5215940 w 8636594"/>
              <a:gd name="connsiteY78" fmla="*/ 4749265 h 6568233"/>
              <a:gd name="connsiteX79" fmla="*/ 5267684 w 8636594"/>
              <a:gd name="connsiteY79" fmla="*/ 4681068 h 6568233"/>
              <a:gd name="connsiteX80" fmla="*/ 5318748 w 8636594"/>
              <a:gd name="connsiteY80" fmla="*/ 4612234 h 6568233"/>
              <a:gd name="connsiteX81" fmla="*/ 5369182 w 8636594"/>
              <a:gd name="connsiteY81" fmla="*/ 4542793 h 6568233"/>
              <a:gd name="connsiteX82" fmla="*/ 5419038 w 8636594"/>
              <a:gd name="connsiteY82" fmla="*/ 4472771 h 6568233"/>
              <a:gd name="connsiteX83" fmla="*/ 5468365 w 8636594"/>
              <a:gd name="connsiteY83" fmla="*/ 4402196 h 6568233"/>
              <a:gd name="connsiteX84" fmla="*/ 5517215 w 8636594"/>
              <a:gd name="connsiteY84" fmla="*/ 4331098 h 6568233"/>
              <a:gd name="connsiteX85" fmla="*/ 5565637 w 8636594"/>
              <a:gd name="connsiteY85" fmla="*/ 4259503 h 6568233"/>
              <a:gd name="connsiteX86" fmla="*/ 5613684 w 8636594"/>
              <a:gd name="connsiteY86" fmla="*/ 4187441 h 6568233"/>
              <a:gd name="connsiteX87" fmla="*/ 5685160 w 8636594"/>
              <a:gd name="connsiteY87" fmla="*/ 4078531 h 6568233"/>
              <a:gd name="connsiteX88" fmla="*/ 5756074 w 8636594"/>
              <a:gd name="connsiteY88" fmla="*/ 3968727 h 6568233"/>
              <a:gd name="connsiteX89" fmla="*/ 5873483 w 8636594"/>
              <a:gd name="connsiteY89" fmla="*/ 3783989 h 6568233"/>
              <a:gd name="connsiteX90" fmla="*/ 6203209 w 8636594"/>
              <a:gd name="connsiteY90" fmla="*/ 3258640 h 6568233"/>
              <a:gd name="connsiteX91" fmla="*/ 6299430 w 8636594"/>
              <a:gd name="connsiteY91" fmla="*/ 3107321 h 6568233"/>
              <a:gd name="connsiteX92" fmla="*/ 6372650 w 8636594"/>
              <a:gd name="connsiteY92" fmla="*/ 2993735 h 6568233"/>
              <a:gd name="connsiteX93" fmla="*/ 6453197 w 8636594"/>
              <a:gd name="connsiteY93" fmla="*/ 2869788 h 6568233"/>
              <a:gd name="connsiteX94" fmla="*/ 6564167 w 8636594"/>
              <a:gd name="connsiteY94" fmla="*/ 2696807 h 6568233"/>
              <a:gd name="connsiteX95" fmla="*/ 6976233 w 8636594"/>
              <a:gd name="connsiteY95" fmla="*/ 2045274 h 6568233"/>
              <a:gd name="connsiteX96" fmla="*/ 7086755 w 8636594"/>
              <a:gd name="connsiteY96" fmla="*/ 1872743 h 6568233"/>
              <a:gd name="connsiteX97" fmla="*/ 7170279 w 8636594"/>
              <a:gd name="connsiteY97" fmla="*/ 1744202 h 6568233"/>
              <a:gd name="connsiteX98" fmla="*/ 7226351 w 8636594"/>
              <a:gd name="connsiteY98" fmla="*/ 1659017 h 6568233"/>
              <a:gd name="connsiteX99" fmla="*/ 7282789 w 8636594"/>
              <a:gd name="connsiteY99" fmla="*/ 1574303 h 6568233"/>
              <a:gd name="connsiteX100" fmla="*/ 7339643 w 8636594"/>
              <a:gd name="connsiteY100" fmla="*/ 1490113 h 6568233"/>
              <a:gd name="connsiteX101" fmla="*/ 7396957 w 8636594"/>
              <a:gd name="connsiteY101" fmla="*/ 1406503 h 6568233"/>
              <a:gd name="connsiteX102" fmla="*/ 7454781 w 8636594"/>
              <a:gd name="connsiteY102" fmla="*/ 1323526 h 6568233"/>
              <a:gd name="connsiteX103" fmla="*/ 7513161 w 8636594"/>
              <a:gd name="connsiteY103" fmla="*/ 1241237 h 6568233"/>
              <a:gd name="connsiteX104" fmla="*/ 7572144 w 8636594"/>
              <a:gd name="connsiteY104" fmla="*/ 1159689 h 6568233"/>
              <a:gd name="connsiteX105" fmla="*/ 7601877 w 8636594"/>
              <a:gd name="connsiteY105" fmla="*/ 1119210 h 6568233"/>
              <a:gd name="connsiteX106" fmla="*/ 7631779 w 8636594"/>
              <a:gd name="connsiteY106" fmla="*/ 1078937 h 6568233"/>
              <a:gd name="connsiteX107" fmla="*/ 7661855 w 8636594"/>
              <a:gd name="connsiteY107" fmla="*/ 1038876 h 6568233"/>
              <a:gd name="connsiteX108" fmla="*/ 7692111 w 8636594"/>
              <a:gd name="connsiteY108" fmla="*/ 999035 h 6568233"/>
              <a:gd name="connsiteX109" fmla="*/ 7722554 w 8636594"/>
              <a:gd name="connsiteY109" fmla="*/ 959419 h 6568233"/>
              <a:gd name="connsiteX110" fmla="*/ 7753190 w 8636594"/>
              <a:gd name="connsiteY110" fmla="*/ 920037 h 6568233"/>
              <a:gd name="connsiteX111" fmla="*/ 7784023 w 8636594"/>
              <a:gd name="connsiteY111" fmla="*/ 880894 h 6568233"/>
              <a:gd name="connsiteX112" fmla="*/ 7815061 w 8636594"/>
              <a:gd name="connsiteY112" fmla="*/ 841997 h 6568233"/>
              <a:gd name="connsiteX113" fmla="*/ 7846308 w 8636594"/>
              <a:gd name="connsiteY113" fmla="*/ 803354 h 6568233"/>
              <a:gd name="connsiteX114" fmla="*/ 7877772 w 8636594"/>
              <a:gd name="connsiteY114" fmla="*/ 764970 h 6568233"/>
              <a:gd name="connsiteX115" fmla="*/ 7909458 w 8636594"/>
              <a:gd name="connsiteY115" fmla="*/ 726853 h 6568233"/>
              <a:gd name="connsiteX116" fmla="*/ 7941371 w 8636594"/>
              <a:gd name="connsiteY116" fmla="*/ 689010 h 6568233"/>
              <a:gd name="connsiteX117" fmla="*/ 7973518 w 8636594"/>
              <a:gd name="connsiteY117" fmla="*/ 651447 h 6568233"/>
              <a:gd name="connsiteX118" fmla="*/ 8005905 w 8636594"/>
              <a:gd name="connsiteY118" fmla="*/ 614171 h 6568233"/>
              <a:gd name="connsiteX119" fmla="*/ 8038538 w 8636594"/>
              <a:gd name="connsiteY119" fmla="*/ 577189 h 6568233"/>
              <a:gd name="connsiteX120" fmla="*/ 8071421 w 8636594"/>
              <a:gd name="connsiteY120" fmla="*/ 540507 h 6568233"/>
              <a:gd name="connsiteX121" fmla="*/ 8104563 w 8636594"/>
              <a:gd name="connsiteY121" fmla="*/ 504132 h 6568233"/>
              <a:gd name="connsiteX122" fmla="*/ 8137967 w 8636594"/>
              <a:gd name="connsiteY122" fmla="*/ 468072 h 6568233"/>
              <a:gd name="connsiteX123" fmla="*/ 8171641 w 8636594"/>
              <a:gd name="connsiteY123" fmla="*/ 432332 h 6568233"/>
              <a:gd name="connsiteX124" fmla="*/ 8205590 w 8636594"/>
              <a:gd name="connsiteY124" fmla="*/ 396920 h 6568233"/>
              <a:gd name="connsiteX125" fmla="*/ 8239820 w 8636594"/>
              <a:gd name="connsiteY125" fmla="*/ 361843 h 6568233"/>
              <a:gd name="connsiteX126" fmla="*/ 8274337 w 8636594"/>
              <a:gd name="connsiteY126" fmla="*/ 327107 h 6568233"/>
              <a:gd name="connsiteX127" fmla="*/ 8309147 w 8636594"/>
              <a:gd name="connsiteY127" fmla="*/ 292718 h 6568233"/>
              <a:gd name="connsiteX128" fmla="*/ 8344256 w 8636594"/>
              <a:gd name="connsiteY128" fmla="*/ 258685 h 6568233"/>
              <a:gd name="connsiteX129" fmla="*/ 8379669 w 8636594"/>
              <a:gd name="connsiteY129" fmla="*/ 225013 h 6568233"/>
              <a:gd name="connsiteX130" fmla="*/ 8415394 w 8636594"/>
              <a:gd name="connsiteY130" fmla="*/ 191709 h 6568233"/>
              <a:gd name="connsiteX131" fmla="*/ 8451434 w 8636594"/>
              <a:gd name="connsiteY131" fmla="*/ 158780 h 6568233"/>
              <a:gd name="connsiteX132" fmla="*/ 8487798 w 8636594"/>
              <a:gd name="connsiteY132" fmla="*/ 126233 h 6568233"/>
              <a:gd name="connsiteX133" fmla="*/ 8524489 w 8636594"/>
              <a:gd name="connsiteY133" fmla="*/ 94075 h 6568233"/>
              <a:gd name="connsiteX134" fmla="*/ 8561515 w 8636594"/>
              <a:gd name="connsiteY134" fmla="*/ 62312 h 6568233"/>
              <a:gd name="connsiteX135" fmla="*/ 8598881 w 8636594"/>
              <a:gd name="connsiteY135" fmla="*/ 30951 h 6568233"/>
              <a:gd name="connsiteX136" fmla="*/ 8636594 w 8636594"/>
              <a:gd name="connsiteY136" fmla="*/ 0 h 6568233"/>
              <a:gd name="connsiteX0" fmla="*/ 8636594 w 8636594"/>
              <a:gd name="connsiteY0" fmla="*/ 0 h 6555999"/>
              <a:gd name="connsiteX1" fmla="*/ 5293 w 8636594"/>
              <a:gd name="connsiteY1" fmla="*/ 0 h 6555999"/>
              <a:gd name="connsiteX2" fmla="*/ 0 w 8636594"/>
              <a:gd name="connsiteY2" fmla="*/ 5587843 h 6555999"/>
              <a:gd name="connsiteX3" fmla="*/ 1594033 w 8636594"/>
              <a:gd name="connsiteY3" fmla="*/ 5600057 h 6555999"/>
              <a:gd name="connsiteX4" fmla="*/ 1686068 w 8636594"/>
              <a:gd name="connsiteY4" fmla="*/ 5599745 h 6555999"/>
              <a:gd name="connsiteX5" fmla="*/ 2416341 w 8636594"/>
              <a:gd name="connsiteY5" fmla="*/ 6555999 h 6555999"/>
              <a:gd name="connsiteX6" fmla="*/ 2472299 w 8636594"/>
              <a:gd name="connsiteY6" fmla="*/ 6543344 h 6555999"/>
              <a:gd name="connsiteX7" fmla="*/ 2527618 w 8636594"/>
              <a:gd name="connsiteY7" fmla="*/ 6530269 h 6555999"/>
              <a:gd name="connsiteX8" fmla="*/ 2582304 w 8636594"/>
              <a:gd name="connsiteY8" fmla="*/ 6516778 h 6555999"/>
              <a:gd name="connsiteX9" fmla="*/ 2636364 w 8636594"/>
              <a:gd name="connsiteY9" fmla="*/ 6502876 h 6555999"/>
              <a:gd name="connsiteX10" fmla="*/ 2689804 w 8636594"/>
              <a:gd name="connsiteY10" fmla="*/ 6488565 h 6555999"/>
              <a:gd name="connsiteX11" fmla="*/ 2742629 w 8636594"/>
              <a:gd name="connsiteY11" fmla="*/ 6473849 h 6555999"/>
              <a:gd name="connsiteX12" fmla="*/ 2794848 w 8636594"/>
              <a:gd name="connsiteY12" fmla="*/ 6458731 h 6555999"/>
              <a:gd name="connsiteX13" fmla="*/ 2846466 w 8636594"/>
              <a:gd name="connsiteY13" fmla="*/ 6443216 h 6555999"/>
              <a:gd name="connsiteX14" fmla="*/ 2897488 w 8636594"/>
              <a:gd name="connsiteY14" fmla="*/ 6427305 h 6555999"/>
              <a:gd name="connsiteX15" fmla="*/ 2947923 w 8636594"/>
              <a:gd name="connsiteY15" fmla="*/ 6411004 h 6555999"/>
              <a:gd name="connsiteX16" fmla="*/ 2997775 w 8636594"/>
              <a:gd name="connsiteY16" fmla="*/ 6394316 h 6555999"/>
              <a:gd name="connsiteX17" fmla="*/ 3047052 w 8636594"/>
              <a:gd name="connsiteY17" fmla="*/ 6377243 h 6555999"/>
              <a:gd name="connsiteX18" fmla="*/ 3095759 w 8636594"/>
              <a:gd name="connsiteY18" fmla="*/ 6359791 h 6555999"/>
              <a:gd name="connsiteX19" fmla="*/ 3143903 w 8636594"/>
              <a:gd name="connsiteY19" fmla="*/ 6341961 h 6555999"/>
              <a:gd name="connsiteX20" fmla="*/ 3191491 w 8636594"/>
              <a:gd name="connsiteY20" fmla="*/ 6323757 h 6555999"/>
              <a:gd name="connsiteX21" fmla="*/ 3238528 w 8636594"/>
              <a:gd name="connsiteY21" fmla="*/ 6305184 h 6555999"/>
              <a:gd name="connsiteX22" fmla="*/ 3285021 w 8636594"/>
              <a:gd name="connsiteY22" fmla="*/ 6286245 h 6555999"/>
              <a:gd name="connsiteX23" fmla="*/ 3330977 w 8636594"/>
              <a:gd name="connsiteY23" fmla="*/ 6266942 h 6555999"/>
              <a:gd name="connsiteX24" fmla="*/ 3376401 w 8636594"/>
              <a:gd name="connsiteY24" fmla="*/ 6247281 h 6555999"/>
              <a:gd name="connsiteX25" fmla="*/ 3421300 w 8636594"/>
              <a:gd name="connsiteY25" fmla="*/ 6227263 h 6555999"/>
              <a:gd name="connsiteX26" fmla="*/ 3465680 w 8636594"/>
              <a:gd name="connsiteY26" fmla="*/ 6206893 h 6555999"/>
              <a:gd name="connsiteX27" fmla="*/ 3509548 w 8636594"/>
              <a:gd name="connsiteY27" fmla="*/ 6186174 h 6555999"/>
              <a:gd name="connsiteX28" fmla="*/ 3552910 w 8636594"/>
              <a:gd name="connsiteY28" fmla="*/ 6165110 h 6555999"/>
              <a:gd name="connsiteX29" fmla="*/ 3595773 w 8636594"/>
              <a:gd name="connsiteY29" fmla="*/ 6143704 h 6555999"/>
              <a:gd name="connsiteX30" fmla="*/ 3638142 w 8636594"/>
              <a:gd name="connsiteY30" fmla="*/ 6121960 h 6555999"/>
              <a:gd name="connsiteX31" fmla="*/ 3680024 w 8636594"/>
              <a:gd name="connsiteY31" fmla="*/ 6099881 h 6555999"/>
              <a:gd name="connsiteX32" fmla="*/ 3721426 w 8636594"/>
              <a:gd name="connsiteY32" fmla="*/ 6077471 h 6555999"/>
              <a:gd name="connsiteX33" fmla="*/ 3762353 w 8636594"/>
              <a:gd name="connsiteY33" fmla="*/ 6054733 h 6555999"/>
              <a:gd name="connsiteX34" fmla="*/ 3802812 w 8636594"/>
              <a:gd name="connsiteY34" fmla="*/ 6031671 h 6555999"/>
              <a:gd name="connsiteX35" fmla="*/ 3842810 w 8636594"/>
              <a:gd name="connsiteY35" fmla="*/ 6008288 h 6555999"/>
              <a:gd name="connsiteX36" fmla="*/ 3882352 w 8636594"/>
              <a:gd name="connsiteY36" fmla="*/ 5984588 h 6555999"/>
              <a:gd name="connsiteX37" fmla="*/ 3921445 w 8636594"/>
              <a:gd name="connsiteY37" fmla="*/ 5960574 h 6555999"/>
              <a:gd name="connsiteX38" fmla="*/ 3960096 w 8636594"/>
              <a:gd name="connsiteY38" fmla="*/ 5936250 h 6555999"/>
              <a:gd name="connsiteX39" fmla="*/ 3998311 w 8636594"/>
              <a:gd name="connsiteY39" fmla="*/ 5911619 h 6555999"/>
              <a:gd name="connsiteX40" fmla="*/ 4036095 w 8636594"/>
              <a:gd name="connsiteY40" fmla="*/ 5886685 h 6555999"/>
              <a:gd name="connsiteX41" fmla="*/ 4073456 w 8636594"/>
              <a:gd name="connsiteY41" fmla="*/ 5861452 h 6555999"/>
              <a:gd name="connsiteX42" fmla="*/ 4110400 w 8636594"/>
              <a:gd name="connsiteY42" fmla="*/ 5835922 h 6555999"/>
              <a:gd name="connsiteX43" fmla="*/ 4146933 w 8636594"/>
              <a:gd name="connsiteY43" fmla="*/ 5810100 h 6555999"/>
              <a:gd name="connsiteX44" fmla="*/ 4183061 w 8636594"/>
              <a:gd name="connsiteY44" fmla="*/ 5783988 h 6555999"/>
              <a:gd name="connsiteX45" fmla="*/ 4218791 w 8636594"/>
              <a:gd name="connsiteY45" fmla="*/ 5757591 h 6555999"/>
              <a:gd name="connsiteX46" fmla="*/ 4254129 w 8636594"/>
              <a:gd name="connsiteY46" fmla="*/ 5730912 h 6555999"/>
              <a:gd name="connsiteX47" fmla="*/ 4289081 w 8636594"/>
              <a:gd name="connsiteY47" fmla="*/ 5703955 h 6555999"/>
              <a:gd name="connsiteX48" fmla="*/ 4323654 w 8636594"/>
              <a:gd name="connsiteY48" fmla="*/ 5676722 h 6555999"/>
              <a:gd name="connsiteX49" fmla="*/ 4357854 w 8636594"/>
              <a:gd name="connsiteY49" fmla="*/ 5649218 h 6555999"/>
              <a:gd name="connsiteX50" fmla="*/ 4391688 w 8636594"/>
              <a:gd name="connsiteY50" fmla="*/ 5621446 h 6555999"/>
              <a:gd name="connsiteX51" fmla="*/ 4425162 w 8636594"/>
              <a:gd name="connsiteY51" fmla="*/ 5593409 h 6555999"/>
              <a:gd name="connsiteX52" fmla="*/ 4458281 w 8636594"/>
              <a:gd name="connsiteY52" fmla="*/ 5565111 h 6555999"/>
              <a:gd name="connsiteX53" fmla="*/ 4491053 w 8636594"/>
              <a:gd name="connsiteY53" fmla="*/ 5536556 h 6555999"/>
              <a:gd name="connsiteX54" fmla="*/ 4523484 w 8636594"/>
              <a:gd name="connsiteY54" fmla="*/ 5507747 h 6555999"/>
              <a:gd name="connsiteX55" fmla="*/ 4555580 w 8636594"/>
              <a:gd name="connsiteY55" fmla="*/ 5478687 h 6555999"/>
              <a:gd name="connsiteX56" fmla="*/ 4587347 w 8636594"/>
              <a:gd name="connsiteY56" fmla="*/ 5449380 h 6555999"/>
              <a:gd name="connsiteX57" fmla="*/ 4618793 w 8636594"/>
              <a:gd name="connsiteY57" fmla="*/ 5419830 h 6555999"/>
              <a:gd name="connsiteX58" fmla="*/ 4649922 w 8636594"/>
              <a:gd name="connsiteY58" fmla="*/ 5390040 h 6555999"/>
              <a:gd name="connsiteX59" fmla="*/ 4680742 w 8636594"/>
              <a:gd name="connsiteY59" fmla="*/ 5360014 h 6555999"/>
              <a:gd name="connsiteX60" fmla="*/ 4711259 w 8636594"/>
              <a:gd name="connsiteY60" fmla="*/ 5329755 h 6555999"/>
              <a:gd name="connsiteX61" fmla="*/ 4741478 w 8636594"/>
              <a:gd name="connsiteY61" fmla="*/ 5299266 h 6555999"/>
              <a:gd name="connsiteX62" fmla="*/ 4771408 w 8636594"/>
              <a:gd name="connsiteY62" fmla="*/ 5268551 h 6555999"/>
              <a:gd name="connsiteX63" fmla="*/ 4801053 w 8636594"/>
              <a:gd name="connsiteY63" fmla="*/ 5237614 h 6555999"/>
              <a:gd name="connsiteX64" fmla="*/ 4830420 w 8636594"/>
              <a:gd name="connsiteY64" fmla="*/ 5206458 h 6555999"/>
              <a:gd name="connsiteX65" fmla="*/ 4859516 w 8636594"/>
              <a:gd name="connsiteY65" fmla="*/ 5175087 h 6555999"/>
              <a:gd name="connsiteX66" fmla="*/ 4888347 w 8636594"/>
              <a:gd name="connsiteY66" fmla="*/ 5143504 h 6555999"/>
              <a:gd name="connsiteX67" fmla="*/ 4916919 w 8636594"/>
              <a:gd name="connsiteY67" fmla="*/ 5111713 h 6555999"/>
              <a:gd name="connsiteX68" fmla="*/ 4945238 w 8636594"/>
              <a:gd name="connsiteY68" fmla="*/ 5079717 h 6555999"/>
              <a:gd name="connsiteX69" fmla="*/ 4973311 w 8636594"/>
              <a:gd name="connsiteY69" fmla="*/ 5047519 h 6555999"/>
              <a:gd name="connsiteX70" fmla="*/ 5001145 w 8636594"/>
              <a:gd name="connsiteY70" fmla="*/ 5015124 h 6555999"/>
              <a:gd name="connsiteX71" fmla="*/ 5028745 w 8636594"/>
              <a:gd name="connsiteY71" fmla="*/ 4982535 h 6555999"/>
              <a:gd name="connsiteX72" fmla="*/ 5056117 w 8636594"/>
              <a:gd name="connsiteY72" fmla="*/ 4949755 h 6555999"/>
              <a:gd name="connsiteX73" fmla="*/ 5083269 w 8636594"/>
              <a:gd name="connsiteY73" fmla="*/ 4916787 h 6555999"/>
              <a:gd name="connsiteX74" fmla="*/ 5110207 w 8636594"/>
              <a:gd name="connsiteY74" fmla="*/ 4883636 h 6555999"/>
              <a:gd name="connsiteX75" fmla="*/ 5136937 w 8636594"/>
              <a:gd name="connsiteY75" fmla="*/ 4850305 h 6555999"/>
              <a:gd name="connsiteX76" fmla="*/ 5163464 w 8636594"/>
              <a:gd name="connsiteY76" fmla="*/ 4816797 h 6555999"/>
              <a:gd name="connsiteX77" fmla="*/ 5215940 w 8636594"/>
              <a:gd name="connsiteY77" fmla="*/ 4749265 h 6555999"/>
              <a:gd name="connsiteX78" fmla="*/ 5267684 w 8636594"/>
              <a:gd name="connsiteY78" fmla="*/ 4681068 h 6555999"/>
              <a:gd name="connsiteX79" fmla="*/ 5318748 w 8636594"/>
              <a:gd name="connsiteY79" fmla="*/ 4612234 h 6555999"/>
              <a:gd name="connsiteX80" fmla="*/ 5369182 w 8636594"/>
              <a:gd name="connsiteY80" fmla="*/ 4542793 h 6555999"/>
              <a:gd name="connsiteX81" fmla="*/ 5419038 w 8636594"/>
              <a:gd name="connsiteY81" fmla="*/ 4472771 h 6555999"/>
              <a:gd name="connsiteX82" fmla="*/ 5468365 w 8636594"/>
              <a:gd name="connsiteY82" fmla="*/ 4402196 h 6555999"/>
              <a:gd name="connsiteX83" fmla="*/ 5517215 w 8636594"/>
              <a:gd name="connsiteY83" fmla="*/ 4331098 h 6555999"/>
              <a:gd name="connsiteX84" fmla="*/ 5565637 w 8636594"/>
              <a:gd name="connsiteY84" fmla="*/ 4259503 h 6555999"/>
              <a:gd name="connsiteX85" fmla="*/ 5613684 w 8636594"/>
              <a:gd name="connsiteY85" fmla="*/ 4187441 h 6555999"/>
              <a:gd name="connsiteX86" fmla="*/ 5685160 w 8636594"/>
              <a:gd name="connsiteY86" fmla="*/ 4078531 h 6555999"/>
              <a:gd name="connsiteX87" fmla="*/ 5756074 w 8636594"/>
              <a:gd name="connsiteY87" fmla="*/ 3968727 h 6555999"/>
              <a:gd name="connsiteX88" fmla="*/ 5873483 w 8636594"/>
              <a:gd name="connsiteY88" fmla="*/ 3783989 h 6555999"/>
              <a:gd name="connsiteX89" fmla="*/ 6203209 w 8636594"/>
              <a:gd name="connsiteY89" fmla="*/ 3258640 h 6555999"/>
              <a:gd name="connsiteX90" fmla="*/ 6299430 w 8636594"/>
              <a:gd name="connsiteY90" fmla="*/ 3107321 h 6555999"/>
              <a:gd name="connsiteX91" fmla="*/ 6372650 w 8636594"/>
              <a:gd name="connsiteY91" fmla="*/ 2993735 h 6555999"/>
              <a:gd name="connsiteX92" fmla="*/ 6453197 w 8636594"/>
              <a:gd name="connsiteY92" fmla="*/ 2869788 h 6555999"/>
              <a:gd name="connsiteX93" fmla="*/ 6564167 w 8636594"/>
              <a:gd name="connsiteY93" fmla="*/ 2696807 h 6555999"/>
              <a:gd name="connsiteX94" fmla="*/ 6976233 w 8636594"/>
              <a:gd name="connsiteY94" fmla="*/ 2045274 h 6555999"/>
              <a:gd name="connsiteX95" fmla="*/ 7086755 w 8636594"/>
              <a:gd name="connsiteY95" fmla="*/ 1872743 h 6555999"/>
              <a:gd name="connsiteX96" fmla="*/ 7170279 w 8636594"/>
              <a:gd name="connsiteY96" fmla="*/ 1744202 h 6555999"/>
              <a:gd name="connsiteX97" fmla="*/ 7226351 w 8636594"/>
              <a:gd name="connsiteY97" fmla="*/ 1659017 h 6555999"/>
              <a:gd name="connsiteX98" fmla="*/ 7282789 w 8636594"/>
              <a:gd name="connsiteY98" fmla="*/ 1574303 h 6555999"/>
              <a:gd name="connsiteX99" fmla="*/ 7339643 w 8636594"/>
              <a:gd name="connsiteY99" fmla="*/ 1490113 h 6555999"/>
              <a:gd name="connsiteX100" fmla="*/ 7396957 w 8636594"/>
              <a:gd name="connsiteY100" fmla="*/ 1406503 h 6555999"/>
              <a:gd name="connsiteX101" fmla="*/ 7454781 w 8636594"/>
              <a:gd name="connsiteY101" fmla="*/ 1323526 h 6555999"/>
              <a:gd name="connsiteX102" fmla="*/ 7513161 w 8636594"/>
              <a:gd name="connsiteY102" fmla="*/ 1241237 h 6555999"/>
              <a:gd name="connsiteX103" fmla="*/ 7572144 w 8636594"/>
              <a:gd name="connsiteY103" fmla="*/ 1159689 h 6555999"/>
              <a:gd name="connsiteX104" fmla="*/ 7601877 w 8636594"/>
              <a:gd name="connsiteY104" fmla="*/ 1119210 h 6555999"/>
              <a:gd name="connsiteX105" fmla="*/ 7631779 w 8636594"/>
              <a:gd name="connsiteY105" fmla="*/ 1078937 h 6555999"/>
              <a:gd name="connsiteX106" fmla="*/ 7661855 w 8636594"/>
              <a:gd name="connsiteY106" fmla="*/ 1038876 h 6555999"/>
              <a:gd name="connsiteX107" fmla="*/ 7692111 w 8636594"/>
              <a:gd name="connsiteY107" fmla="*/ 999035 h 6555999"/>
              <a:gd name="connsiteX108" fmla="*/ 7722554 w 8636594"/>
              <a:gd name="connsiteY108" fmla="*/ 959419 h 6555999"/>
              <a:gd name="connsiteX109" fmla="*/ 7753190 w 8636594"/>
              <a:gd name="connsiteY109" fmla="*/ 920037 h 6555999"/>
              <a:gd name="connsiteX110" fmla="*/ 7784023 w 8636594"/>
              <a:gd name="connsiteY110" fmla="*/ 880894 h 6555999"/>
              <a:gd name="connsiteX111" fmla="*/ 7815061 w 8636594"/>
              <a:gd name="connsiteY111" fmla="*/ 841997 h 6555999"/>
              <a:gd name="connsiteX112" fmla="*/ 7846308 w 8636594"/>
              <a:gd name="connsiteY112" fmla="*/ 803354 h 6555999"/>
              <a:gd name="connsiteX113" fmla="*/ 7877772 w 8636594"/>
              <a:gd name="connsiteY113" fmla="*/ 764970 h 6555999"/>
              <a:gd name="connsiteX114" fmla="*/ 7909458 w 8636594"/>
              <a:gd name="connsiteY114" fmla="*/ 726853 h 6555999"/>
              <a:gd name="connsiteX115" fmla="*/ 7941371 w 8636594"/>
              <a:gd name="connsiteY115" fmla="*/ 689010 h 6555999"/>
              <a:gd name="connsiteX116" fmla="*/ 7973518 w 8636594"/>
              <a:gd name="connsiteY116" fmla="*/ 651447 h 6555999"/>
              <a:gd name="connsiteX117" fmla="*/ 8005905 w 8636594"/>
              <a:gd name="connsiteY117" fmla="*/ 614171 h 6555999"/>
              <a:gd name="connsiteX118" fmla="*/ 8038538 w 8636594"/>
              <a:gd name="connsiteY118" fmla="*/ 577189 h 6555999"/>
              <a:gd name="connsiteX119" fmla="*/ 8071421 w 8636594"/>
              <a:gd name="connsiteY119" fmla="*/ 540507 h 6555999"/>
              <a:gd name="connsiteX120" fmla="*/ 8104563 w 8636594"/>
              <a:gd name="connsiteY120" fmla="*/ 504132 h 6555999"/>
              <a:gd name="connsiteX121" fmla="*/ 8137967 w 8636594"/>
              <a:gd name="connsiteY121" fmla="*/ 468072 h 6555999"/>
              <a:gd name="connsiteX122" fmla="*/ 8171641 w 8636594"/>
              <a:gd name="connsiteY122" fmla="*/ 432332 h 6555999"/>
              <a:gd name="connsiteX123" fmla="*/ 8205590 w 8636594"/>
              <a:gd name="connsiteY123" fmla="*/ 396920 h 6555999"/>
              <a:gd name="connsiteX124" fmla="*/ 8239820 w 8636594"/>
              <a:gd name="connsiteY124" fmla="*/ 361843 h 6555999"/>
              <a:gd name="connsiteX125" fmla="*/ 8274337 w 8636594"/>
              <a:gd name="connsiteY125" fmla="*/ 327107 h 6555999"/>
              <a:gd name="connsiteX126" fmla="*/ 8309147 w 8636594"/>
              <a:gd name="connsiteY126" fmla="*/ 292718 h 6555999"/>
              <a:gd name="connsiteX127" fmla="*/ 8344256 w 8636594"/>
              <a:gd name="connsiteY127" fmla="*/ 258685 h 6555999"/>
              <a:gd name="connsiteX128" fmla="*/ 8379669 w 8636594"/>
              <a:gd name="connsiteY128" fmla="*/ 225013 h 6555999"/>
              <a:gd name="connsiteX129" fmla="*/ 8415394 w 8636594"/>
              <a:gd name="connsiteY129" fmla="*/ 191709 h 6555999"/>
              <a:gd name="connsiteX130" fmla="*/ 8451434 w 8636594"/>
              <a:gd name="connsiteY130" fmla="*/ 158780 h 6555999"/>
              <a:gd name="connsiteX131" fmla="*/ 8487798 w 8636594"/>
              <a:gd name="connsiteY131" fmla="*/ 126233 h 6555999"/>
              <a:gd name="connsiteX132" fmla="*/ 8524489 w 8636594"/>
              <a:gd name="connsiteY132" fmla="*/ 94075 h 6555999"/>
              <a:gd name="connsiteX133" fmla="*/ 8561515 w 8636594"/>
              <a:gd name="connsiteY133" fmla="*/ 62312 h 6555999"/>
              <a:gd name="connsiteX134" fmla="*/ 8598881 w 8636594"/>
              <a:gd name="connsiteY134" fmla="*/ 30951 h 6555999"/>
              <a:gd name="connsiteX135" fmla="*/ 8636594 w 8636594"/>
              <a:gd name="connsiteY135" fmla="*/ 0 h 6555999"/>
              <a:gd name="connsiteX0" fmla="*/ 8636594 w 8636594"/>
              <a:gd name="connsiteY0" fmla="*/ 0 h 6543344"/>
              <a:gd name="connsiteX1" fmla="*/ 5293 w 8636594"/>
              <a:gd name="connsiteY1" fmla="*/ 0 h 6543344"/>
              <a:gd name="connsiteX2" fmla="*/ 0 w 8636594"/>
              <a:gd name="connsiteY2" fmla="*/ 5587843 h 6543344"/>
              <a:gd name="connsiteX3" fmla="*/ 1594033 w 8636594"/>
              <a:gd name="connsiteY3" fmla="*/ 5600057 h 6543344"/>
              <a:gd name="connsiteX4" fmla="*/ 1686068 w 8636594"/>
              <a:gd name="connsiteY4" fmla="*/ 5599745 h 6543344"/>
              <a:gd name="connsiteX5" fmla="*/ 2472299 w 8636594"/>
              <a:gd name="connsiteY5" fmla="*/ 6543344 h 6543344"/>
              <a:gd name="connsiteX6" fmla="*/ 2527618 w 8636594"/>
              <a:gd name="connsiteY6" fmla="*/ 6530269 h 6543344"/>
              <a:gd name="connsiteX7" fmla="*/ 2582304 w 8636594"/>
              <a:gd name="connsiteY7" fmla="*/ 6516778 h 6543344"/>
              <a:gd name="connsiteX8" fmla="*/ 2636364 w 8636594"/>
              <a:gd name="connsiteY8" fmla="*/ 6502876 h 6543344"/>
              <a:gd name="connsiteX9" fmla="*/ 2689804 w 8636594"/>
              <a:gd name="connsiteY9" fmla="*/ 6488565 h 6543344"/>
              <a:gd name="connsiteX10" fmla="*/ 2742629 w 8636594"/>
              <a:gd name="connsiteY10" fmla="*/ 6473849 h 6543344"/>
              <a:gd name="connsiteX11" fmla="*/ 2794848 w 8636594"/>
              <a:gd name="connsiteY11" fmla="*/ 6458731 h 6543344"/>
              <a:gd name="connsiteX12" fmla="*/ 2846466 w 8636594"/>
              <a:gd name="connsiteY12" fmla="*/ 6443216 h 6543344"/>
              <a:gd name="connsiteX13" fmla="*/ 2897488 w 8636594"/>
              <a:gd name="connsiteY13" fmla="*/ 6427305 h 6543344"/>
              <a:gd name="connsiteX14" fmla="*/ 2947923 w 8636594"/>
              <a:gd name="connsiteY14" fmla="*/ 6411004 h 6543344"/>
              <a:gd name="connsiteX15" fmla="*/ 2997775 w 8636594"/>
              <a:gd name="connsiteY15" fmla="*/ 6394316 h 6543344"/>
              <a:gd name="connsiteX16" fmla="*/ 3047052 w 8636594"/>
              <a:gd name="connsiteY16" fmla="*/ 6377243 h 6543344"/>
              <a:gd name="connsiteX17" fmla="*/ 3095759 w 8636594"/>
              <a:gd name="connsiteY17" fmla="*/ 6359791 h 6543344"/>
              <a:gd name="connsiteX18" fmla="*/ 3143903 w 8636594"/>
              <a:gd name="connsiteY18" fmla="*/ 6341961 h 6543344"/>
              <a:gd name="connsiteX19" fmla="*/ 3191491 w 8636594"/>
              <a:gd name="connsiteY19" fmla="*/ 6323757 h 6543344"/>
              <a:gd name="connsiteX20" fmla="*/ 3238528 w 8636594"/>
              <a:gd name="connsiteY20" fmla="*/ 6305184 h 6543344"/>
              <a:gd name="connsiteX21" fmla="*/ 3285021 w 8636594"/>
              <a:gd name="connsiteY21" fmla="*/ 6286245 h 6543344"/>
              <a:gd name="connsiteX22" fmla="*/ 3330977 w 8636594"/>
              <a:gd name="connsiteY22" fmla="*/ 6266942 h 6543344"/>
              <a:gd name="connsiteX23" fmla="*/ 3376401 w 8636594"/>
              <a:gd name="connsiteY23" fmla="*/ 6247281 h 6543344"/>
              <a:gd name="connsiteX24" fmla="*/ 3421300 w 8636594"/>
              <a:gd name="connsiteY24" fmla="*/ 6227263 h 6543344"/>
              <a:gd name="connsiteX25" fmla="*/ 3465680 w 8636594"/>
              <a:gd name="connsiteY25" fmla="*/ 6206893 h 6543344"/>
              <a:gd name="connsiteX26" fmla="*/ 3509548 w 8636594"/>
              <a:gd name="connsiteY26" fmla="*/ 6186174 h 6543344"/>
              <a:gd name="connsiteX27" fmla="*/ 3552910 w 8636594"/>
              <a:gd name="connsiteY27" fmla="*/ 6165110 h 6543344"/>
              <a:gd name="connsiteX28" fmla="*/ 3595773 w 8636594"/>
              <a:gd name="connsiteY28" fmla="*/ 6143704 h 6543344"/>
              <a:gd name="connsiteX29" fmla="*/ 3638142 w 8636594"/>
              <a:gd name="connsiteY29" fmla="*/ 6121960 h 6543344"/>
              <a:gd name="connsiteX30" fmla="*/ 3680024 w 8636594"/>
              <a:gd name="connsiteY30" fmla="*/ 6099881 h 6543344"/>
              <a:gd name="connsiteX31" fmla="*/ 3721426 w 8636594"/>
              <a:gd name="connsiteY31" fmla="*/ 6077471 h 6543344"/>
              <a:gd name="connsiteX32" fmla="*/ 3762353 w 8636594"/>
              <a:gd name="connsiteY32" fmla="*/ 6054733 h 6543344"/>
              <a:gd name="connsiteX33" fmla="*/ 3802812 w 8636594"/>
              <a:gd name="connsiteY33" fmla="*/ 6031671 h 6543344"/>
              <a:gd name="connsiteX34" fmla="*/ 3842810 w 8636594"/>
              <a:gd name="connsiteY34" fmla="*/ 6008288 h 6543344"/>
              <a:gd name="connsiteX35" fmla="*/ 3882352 w 8636594"/>
              <a:gd name="connsiteY35" fmla="*/ 5984588 h 6543344"/>
              <a:gd name="connsiteX36" fmla="*/ 3921445 w 8636594"/>
              <a:gd name="connsiteY36" fmla="*/ 5960574 h 6543344"/>
              <a:gd name="connsiteX37" fmla="*/ 3960096 w 8636594"/>
              <a:gd name="connsiteY37" fmla="*/ 5936250 h 6543344"/>
              <a:gd name="connsiteX38" fmla="*/ 3998311 w 8636594"/>
              <a:gd name="connsiteY38" fmla="*/ 5911619 h 6543344"/>
              <a:gd name="connsiteX39" fmla="*/ 4036095 w 8636594"/>
              <a:gd name="connsiteY39" fmla="*/ 5886685 h 6543344"/>
              <a:gd name="connsiteX40" fmla="*/ 4073456 w 8636594"/>
              <a:gd name="connsiteY40" fmla="*/ 5861452 h 6543344"/>
              <a:gd name="connsiteX41" fmla="*/ 4110400 w 8636594"/>
              <a:gd name="connsiteY41" fmla="*/ 5835922 h 6543344"/>
              <a:gd name="connsiteX42" fmla="*/ 4146933 w 8636594"/>
              <a:gd name="connsiteY42" fmla="*/ 5810100 h 6543344"/>
              <a:gd name="connsiteX43" fmla="*/ 4183061 w 8636594"/>
              <a:gd name="connsiteY43" fmla="*/ 5783988 h 6543344"/>
              <a:gd name="connsiteX44" fmla="*/ 4218791 w 8636594"/>
              <a:gd name="connsiteY44" fmla="*/ 5757591 h 6543344"/>
              <a:gd name="connsiteX45" fmla="*/ 4254129 w 8636594"/>
              <a:gd name="connsiteY45" fmla="*/ 5730912 h 6543344"/>
              <a:gd name="connsiteX46" fmla="*/ 4289081 w 8636594"/>
              <a:gd name="connsiteY46" fmla="*/ 5703955 h 6543344"/>
              <a:gd name="connsiteX47" fmla="*/ 4323654 w 8636594"/>
              <a:gd name="connsiteY47" fmla="*/ 5676722 h 6543344"/>
              <a:gd name="connsiteX48" fmla="*/ 4357854 w 8636594"/>
              <a:gd name="connsiteY48" fmla="*/ 5649218 h 6543344"/>
              <a:gd name="connsiteX49" fmla="*/ 4391688 w 8636594"/>
              <a:gd name="connsiteY49" fmla="*/ 5621446 h 6543344"/>
              <a:gd name="connsiteX50" fmla="*/ 4425162 w 8636594"/>
              <a:gd name="connsiteY50" fmla="*/ 5593409 h 6543344"/>
              <a:gd name="connsiteX51" fmla="*/ 4458281 w 8636594"/>
              <a:gd name="connsiteY51" fmla="*/ 5565111 h 6543344"/>
              <a:gd name="connsiteX52" fmla="*/ 4491053 w 8636594"/>
              <a:gd name="connsiteY52" fmla="*/ 5536556 h 6543344"/>
              <a:gd name="connsiteX53" fmla="*/ 4523484 w 8636594"/>
              <a:gd name="connsiteY53" fmla="*/ 5507747 h 6543344"/>
              <a:gd name="connsiteX54" fmla="*/ 4555580 w 8636594"/>
              <a:gd name="connsiteY54" fmla="*/ 5478687 h 6543344"/>
              <a:gd name="connsiteX55" fmla="*/ 4587347 w 8636594"/>
              <a:gd name="connsiteY55" fmla="*/ 5449380 h 6543344"/>
              <a:gd name="connsiteX56" fmla="*/ 4618793 w 8636594"/>
              <a:gd name="connsiteY56" fmla="*/ 5419830 h 6543344"/>
              <a:gd name="connsiteX57" fmla="*/ 4649922 w 8636594"/>
              <a:gd name="connsiteY57" fmla="*/ 5390040 h 6543344"/>
              <a:gd name="connsiteX58" fmla="*/ 4680742 w 8636594"/>
              <a:gd name="connsiteY58" fmla="*/ 5360014 h 6543344"/>
              <a:gd name="connsiteX59" fmla="*/ 4711259 w 8636594"/>
              <a:gd name="connsiteY59" fmla="*/ 5329755 h 6543344"/>
              <a:gd name="connsiteX60" fmla="*/ 4741478 w 8636594"/>
              <a:gd name="connsiteY60" fmla="*/ 5299266 h 6543344"/>
              <a:gd name="connsiteX61" fmla="*/ 4771408 w 8636594"/>
              <a:gd name="connsiteY61" fmla="*/ 5268551 h 6543344"/>
              <a:gd name="connsiteX62" fmla="*/ 4801053 w 8636594"/>
              <a:gd name="connsiteY62" fmla="*/ 5237614 h 6543344"/>
              <a:gd name="connsiteX63" fmla="*/ 4830420 w 8636594"/>
              <a:gd name="connsiteY63" fmla="*/ 5206458 h 6543344"/>
              <a:gd name="connsiteX64" fmla="*/ 4859516 w 8636594"/>
              <a:gd name="connsiteY64" fmla="*/ 5175087 h 6543344"/>
              <a:gd name="connsiteX65" fmla="*/ 4888347 w 8636594"/>
              <a:gd name="connsiteY65" fmla="*/ 5143504 h 6543344"/>
              <a:gd name="connsiteX66" fmla="*/ 4916919 w 8636594"/>
              <a:gd name="connsiteY66" fmla="*/ 5111713 h 6543344"/>
              <a:gd name="connsiteX67" fmla="*/ 4945238 w 8636594"/>
              <a:gd name="connsiteY67" fmla="*/ 5079717 h 6543344"/>
              <a:gd name="connsiteX68" fmla="*/ 4973311 w 8636594"/>
              <a:gd name="connsiteY68" fmla="*/ 5047519 h 6543344"/>
              <a:gd name="connsiteX69" fmla="*/ 5001145 w 8636594"/>
              <a:gd name="connsiteY69" fmla="*/ 5015124 h 6543344"/>
              <a:gd name="connsiteX70" fmla="*/ 5028745 w 8636594"/>
              <a:gd name="connsiteY70" fmla="*/ 4982535 h 6543344"/>
              <a:gd name="connsiteX71" fmla="*/ 5056117 w 8636594"/>
              <a:gd name="connsiteY71" fmla="*/ 4949755 h 6543344"/>
              <a:gd name="connsiteX72" fmla="*/ 5083269 w 8636594"/>
              <a:gd name="connsiteY72" fmla="*/ 4916787 h 6543344"/>
              <a:gd name="connsiteX73" fmla="*/ 5110207 w 8636594"/>
              <a:gd name="connsiteY73" fmla="*/ 4883636 h 6543344"/>
              <a:gd name="connsiteX74" fmla="*/ 5136937 w 8636594"/>
              <a:gd name="connsiteY74" fmla="*/ 4850305 h 6543344"/>
              <a:gd name="connsiteX75" fmla="*/ 5163464 w 8636594"/>
              <a:gd name="connsiteY75" fmla="*/ 4816797 h 6543344"/>
              <a:gd name="connsiteX76" fmla="*/ 5215940 w 8636594"/>
              <a:gd name="connsiteY76" fmla="*/ 4749265 h 6543344"/>
              <a:gd name="connsiteX77" fmla="*/ 5267684 w 8636594"/>
              <a:gd name="connsiteY77" fmla="*/ 4681068 h 6543344"/>
              <a:gd name="connsiteX78" fmla="*/ 5318748 w 8636594"/>
              <a:gd name="connsiteY78" fmla="*/ 4612234 h 6543344"/>
              <a:gd name="connsiteX79" fmla="*/ 5369182 w 8636594"/>
              <a:gd name="connsiteY79" fmla="*/ 4542793 h 6543344"/>
              <a:gd name="connsiteX80" fmla="*/ 5419038 w 8636594"/>
              <a:gd name="connsiteY80" fmla="*/ 4472771 h 6543344"/>
              <a:gd name="connsiteX81" fmla="*/ 5468365 w 8636594"/>
              <a:gd name="connsiteY81" fmla="*/ 4402196 h 6543344"/>
              <a:gd name="connsiteX82" fmla="*/ 5517215 w 8636594"/>
              <a:gd name="connsiteY82" fmla="*/ 4331098 h 6543344"/>
              <a:gd name="connsiteX83" fmla="*/ 5565637 w 8636594"/>
              <a:gd name="connsiteY83" fmla="*/ 4259503 h 6543344"/>
              <a:gd name="connsiteX84" fmla="*/ 5613684 w 8636594"/>
              <a:gd name="connsiteY84" fmla="*/ 4187441 h 6543344"/>
              <a:gd name="connsiteX85" fmla="*/ 5685160 w 8636594"/>
              <a:gd name="connsiteY85" fmla="*/ 4078531 h 6543344"/>
              <a:gd name="connsiteX86" fmla="*/ 5756074 w 8636594"/>
              <a:gd name="connsiteY86" fmla="*/ 3968727 h 6543344"/>
              <a:gd name="connsiteX87" fmla="*/ 5873483 w 8636594"/>
              <a:gd name="connsiteY87" fmla="*/ 3783989 h 6543344"/>
              <a:gd name="connsiteX88" fmla="*/ 6203209 w 8636594"/>
              <a:gd name="connsiteY88" fmla="*/ 3258640 h 6543344"/>
              <a:gd name="connsiteX89" fmla="*/ 6299430 w 8636594"/>
              <a:gd name="connsiteY89" fmla="*/ 3107321 h 6543344"/>
              <a:gd name="connsiteX90" fmla="*/ 6372650 w 8636594"/>
              <a:gd name="connsiteY90" fmla="*/ 2993735 h 6543344"/>
              <a:gd name="connsiteX91" fmla="*/ 6453197 w 8636594"/>
              <a:gd name="connsiteY91" fmla="*/ 2869788 h 6543344"/>
              <a:gd name="connsiteX92" fmla="*/ 6564167 w 8636594"/>
              <a:gd name="connsiteY92" fmla="*/ 2696807 h 6543344"/>
              <a:gd name="connsiteX93" fmla="*/ 6976233 w 8636594"/>
              <a:gd name="connsiteY93" fmla="*/ 2045274 h 6543344"/>
              <a:gd name="connsiteX94" fmla="*/ 7086755 w 8636594"/>
              <a:gd name="connsiteY94" fmla="*/ 1872743 h 6543344"/>
              <a:gd name="connsiteX95" fmla="*/ 7170279 w 8636594"/>
              <a:gd name="connsiteY95" fmla="*/ 1744202 h 6543344"/>
              <a:gd name="connsiteX96" fmla="*/ 7226351 w 8636594"/>
              <a:gd name="connsiteY96" fmla="*/ 1659017 h 6543344"/>
              <a:gd name="connsiteX97" fmla="*/ 7282789 w 8636594"/>
              <a:gd name="connsiteY97" fmla="*/ 1574303 h 6543344"/>
              <a:gd name="connsiteX98" fmla="*/ 7339643 w 8636594"/>
              <a:gd name="connsiteY98" fmla="*/ 1490113 h 6543344"/>
              <a:gd name="connsiteX99" fmla="*/ 7396957 w 8636594"/>
              <a:gd name="connsiteY99" fmla="*/ 1406503 h 6543344"/>
              <a:gd name="connsiteX100" fmla="*/ 7454781 w 8636594"/>
              <a:gd name="connsiteY100" fmla="*/ 1323526 h 6543344"/>
              <a:gd name="connsiteX101" fmla="*/ 7513161 w 8636594"/>
              <a:gd name="connsiteY101" fmla="*/ 1241237 h 6543344"/>
              <a:gd name="connsiteX102" fmla="*/ 7572144 w 8636594"/>
              <a:gd name="connsiteY102" fmla="*/ 1159689 h 6543344"/>
              <a:gd name="connsiteX103" fmla="*/ 7601877 w 8636594"/>
              <a:gd name="connsiteY103" fmla="*/ 1119210 h 6543344"/>
              <a:gd name="connsiteX104" fmla="*/ 7631779 w 8636594"/>
              <a:gd name="connsiteY104" fmla="*/ 1078937 h 6543344"/>
              <a:gd name="connsiteX105" fmla="*/ 7661855 w 8636594"/>
              <a:gd name="connsiteY105" fmla="*/ 1038876 h 6543344"/>
              <a:gd name="connsiteX106" fmla="*/ 7692111 w 8636594"/>
              <a:gd name="connsiteY106" fmla="*/ 999035 h 6543344"/>
              <a:gd name="connsiteX107" fmla="*/ 7722554 w 8636594"/>
              <a:gd name="connsiteY107" fmla="*/ 959419 h 6543344"/>
              <a:gd name="connsiteX108" fmla="*/ 7753190 w 8636594"/>
              <a:gd name="connsiteY108" fmla="*/ 920037 h 6543344"/>
              <a:gd name="connsiteX109" fmla="*/ 7784023 w 8636594"/>
              <a:gd name="connsiteY109" fmla="*/ 880894 h 6543344"/>
              <a:gd name="connsiteX110" fmla="*/ 7815061 w 8636594"/>
              <a:gd name="connsiteY110" fmla="*/ 841997 h 6543344"/>
              <a:gd name="connsiteX111" fmla="*/ 7846308 w 8636594"/>
              <a:gd name="connsiteY111" fmla="*/ 803354 h 6543344"/>
              <a:gd name="connsiteX112" fmla="*/ 7877772 w 8636594"/>
              <a:gd name="connsiteY112" fmla="*/ 764970 h 6543344"/>
              <a:gd name="connsiteX113" fmla="*/ 7909458 w 8636594"/>
              <a:gd name="connsiteY113" fmla="*/ 726853 h 6543344"/>
              <a:gd name="connsiteX114" fmla="*/ 7941371 w 8636594"/>
              <a:gd name="connsiteY114" fmla="*/ 689010 h 6543344"/>
              <a:gd name="connsiteX115" fmla="*/ 7973518 w 8636594"/>
              <a:gd name="connsiteY115" fmla="*/ 651447 h 6543344"/>
              <a:gd name="connsiteX116" fmla="*/ 8005905 w 8636594"/>
              <a:gd name="connsiteY116" fmla="*/ 614171 h 6543344"/>
              <a:gd name="connsiteX117" fmla="*/ 8038538 w 8636594"/>
              <a:gd name="connsiteY117" fmla="*/ 577189 h 6543344"/>
              <a:gd name="connsiteX118" fmla="*/ 8071421 w 8636594"/>
              <a:gd name="connsiteY118" fmla="*/ 540507 h 6543344"/>
              <a:gd name="connsiteX119" fmla="*/ 8104563 w 8636594"/>
              <a:gd name="connsiteY119" fmla="*/ 504132 h 6543344"/>
              <a:gd name="connsiteX120" fmla="*/ 8137967 w 8636594"/>
              <a:gd name="connsiteY120" fmla="*/ 468072 h 6543344"/>
              <a:gd name="connsiteX121" fmla="*/ 8171641 w 8636594"/>
              <a:gd name="connsiteY121" fmla="*/ 432332 h 6543344"/>
              <a:gd name="connsiteX122" fmla="*/ 8205590 w 8636594"/>
              <a:gd name="connsiteY122" fmla="*/ 396920 h 6543344"/>
              <a:gd name="connsiteX123" fmla="*/ 8239820 w 8636594"/>
              <a:gd name="connsiteY123" fmla="*/ 361843 h 6543344"/>
              <a:gd name="connsiteX124" fmla="*/ 8274337 w 8636594"/>
              <a:gd name="connsiteY124" fmla="*/ 327107 h 6543344"/>
              <a:gd name="connsiteX125" fmla="*/ 8309147 w 8636594"/>
              <a:gd name="connsiteY125" fmla="*/ 292718 h 6543344"/>
              <a:gd name="connsiteX126" fmla="*/ 8344256 w 8636594"/>
              <a:gd name="connsiteY126" fmla="*/ 258685 h 6543344"/>
              <a:gd name="connsiteX127" fmla="*/ 8379669 w 8636594"/>
              <a:gd name="connsiteY127" fmla="*/ 225013 h 6543344"/>
              <a:gd name="connsiteX128" fmla="*/ 8415394 w 8636594"/>
              <a:gd name="connsiteY128" fmla="*/ 191709 h 6543344"/>
              <a:gd name="connsiteX129" fmla="*/ 8451434 w 8636594"/>
              <a:gd name="connsiteY129" fmla="*/ 158780 h 6543344"/>
              <a:gd name="connsiteX130" fmla="*/ 8487798 w 8636594"/>
              <a:gd name="connsiteY130" fmla="*/ 126233 h 6543344"/>
              <a:gd name="connsiteX131" fmla="*/ 8524489 w 8636594"/>
              <a:gd name="connsiteY131" fmla="*/ 94075 h 6543344"/>
              <a:gd name="connsiteX132" fmla="*/ 8561515 w 8636594"/>
              <a:gd name="connsiteY132" fmla="*/ 62312 h 6543344"/>
              <a:gd name="connsiteX133" fmla="*/ 8598881 w 8636594"/>
              <a:gd name="connsiteY133" fmla="*/ 30951 h 6543344"/>
              <a:gd name="connsiteX134" fmla="*/ 8636594 w 8636594"/>
              <a:gd name="connsiteY134" fmla="*/ 0 h 6543344"/>
              <a:gd name="connsiteX0" fmla="*/ 8636594 w 8636594"/>
              <a:gd name="connsiteY0" fmla="*/ 0 h 6530269"/>
              <a:gd name="connsiteX1" fmla="*/ 5293 w 8636594"/>
              <a:gd name="connsiteY1" fmla="*/ 0 h 6530269"/>
              <a:gd name="connsiteX2" fmla="*/ 0 w 8636594"/>
              <a:gd name="connsiteY2" fmla="*/ 5587843 h 6530269"/>
              <a:gd name="connsiteX3" fmla="*/ 1594033 w 8636594"/>
              <a:gd name="connsiteY3" fmla="*/ 5600057 h 6530269"/>
              <a:gd name="connsiteX4" fmla="*/ 1686068 w 8636594"/>
              <a:gd name="connsiteY4" fmla="*/ 5599745 h 6530269"/>
              <a:gd name="connsiteX5" fmla="*/ 2527618 w 8636594"/>
              <a:gd name="connsiteY5" fmla="*/ 6530269 h 6530269"/>
              <a:gd name="connsiteX6" fmla="*/ 2582304 w 8636594"/>
              <a:gd name="connsiteY6" fmla="*/ 6516778 h 6530269"/>
              <a:gd name="connsiteX7" fmla="*/ 2636364 w 8636594"/>
              <a:gd name="connsiteY7" fmla="*/ 6502876 h 6530269"/>
              <a:gd name="connsiteX8" fmla="*/ 2689804 w 8636594"/>
              <a:gd name="connsiteY8" fmla="*/ 6488565 h 6530269"/>
              <a:gd name="connsiteX9" fmla="*/ 2742629 w 8636594"/>
              <a:gd name="connsiteY9" fmla="*/ 6473849 h 6530269"/>
              <a:gd name="connsiteX10" fmla="*/ 2794848 w 8636594"/>
              <a:gd name="connsiteY10" fmla="*/ 6458731 h 6530269"/>
              <a:gd name="connsiteX11" fmla="*/ 2846466 w 8636594"/>
              <a:gd name="connsiteY11" fmla="*/ 6443216 h 6530269"/>
              <a:gd name="connsiteX12" fmla="*/ 2897488 w 8636594"/>
              <a:gd name="connsiteY12" fmla="*/ 6427305 h 6530269"/>
              <a:gd name="connsiteX13" fmla="*/ 2947923 w 8636594"/>
              <a:gd name="connsiteY13" fmla="*/ 6411004 h 6530269"/>
              <a:gd name="connsiteX14" fmla="*/ 2997775 w 8636594"/>
              <a:gd name="connsiteY14" fmla="*/ 6394316 h 6530269"/>
              <a:gd name="connsiteX15" fmla="*/ 3047052 w 8636594"/>
              <a:gd name="connsiteY15" fmla="*/ 6377243 h 6530269"/>
              <a:gd name="connsiteX16" fmla="*/ 3095759 w 8636594"/>
              <a:gd name="connsiteY16" fmla="*/ 6359791 h 6530269"/>
              <a:gd name="connsiteX17" fmla="*/ 3143903 w 8636594"/>
              <a:gd name="connsiteY17" fmla="*/ 6341961 h 6530269"/>
              <a:gd name="connsiteX18" fmla="*/ 3191491 w 8636594"/>
              <a:gd name="connsiteY18" fmla="*/ 6323757 h 6530269"/>
              <a:gd name="connsiteX19" fmla="*/ 3238528 w 8636594"/>
              <a:gd name="connsiteY19" fmla="*/ 6305184 h 6530269"/>
              <a:gd name="connsiteX20" fmla="*/ 3285021 w 8636594"/>
              <a:gd name="connsiteY20" fmla="*/ 6286245 h 6530269"/>
              <a:gd name="connsiteX21" fmla="*/ 3330977 w 8636594"/>
              <a:gd name="connsiteY21" fmla="*/ 6266942 h 6530269"/>
              <a:gd name="connsiteX22" fmla="*/ 3376401 w 8636594"/>
              <a:gd name="connsiteY22" fmla="*/ 6247281 h 6530269"/>
              <a:gd name="connsiteX23" fmla="*/ 3421300 w 8636594"/>
              <a:gd name="connsiteY23" fmla="*/ 6227263 h 6530269"/>
              <a:gd name="connsiteX24" fmla="*/ 3465680 w 8636594"/>
              <a:gd name="connsiteY24" fmla="*/ 6206893 h 6530269"/>
              <a:gd name="connsiteX25" fmla="*/ 3509548 w 8636594"/>
              <a:gd name="connsiteY25" fmla="*/ 6186174 h 6530269"/>
              <a:gd name="connsiteX26" fmla="*/ 3552910 w 8636594"/>
              <a:gd name="connsiteY26" fmla="*/ 6165110 h 6530269"/>
              <a:gd name="connsiteX27" fmla="*/ 3595773 w 8636594"/>
              <a:gd name="connsiteY27" fmla="*/ 6143704 h 6530269"/>
              <a:gd name="connsiteX28" fmla="*/ 3638142 w 8636594"/>
              <a:gd name="connsiteY28" fmla="*/ 6121960 h 6530269"/>
              <a:gd name="connsiteX29" fmla="*/ 3680024 w 8636594"/>
              <a:gd name="connsiteY29" fmla="*/ 6099881 h 6530269"/>
              <a:gd name="connsiteX30" fmla="*/ 3721426 w 8636594"/>
              <a:gd name="connsiteY30" fmla="*/ 6077471 h 6530269"/>
              <a:gd name="connsiteX31" fmla="*/ 3762353 w 8636594"/>
              <a:gd name="connsiteY31" fmla="*/ 6054733 h 6530269"/>
              <a:gd name="connsiteX32" fmla="*/ 3802812 w 8636594"/>
              <a:gd name="connsiteY32" fmla="*/ 6031671 h 6530269"/>
              <a:gd name="connsiteX33" fmla="*/ 3842810 w 8636594"/>
              <a:gd name="connsiteY33" fmla="*/ 6008288 h 6530269"/>
              <a:gd name="connsiteX34" fmla="*/ 3882352 w 8636594"/>
              <a:gd name="connsiteY34" fmla="*/ 5984588 h 6530269"/>
              <a:gd name="connsiteX35" fmla="*/ 3921445 w 8636594"/>
              <a:gd name="connsiteY35" fmla="*/ 5960574 h 6530269"/>
              <a:gd name="connsiteX36" fmla="*/ 3960096 w 8636594"/>
              <a:gd name="connsiteY36" fmla="*/ 5936250 h 6530269"/>
              <a:gd name="connsiteX37" fmla="*/ 3998311 w 8636594"/>
              <a:gd name="connsiteY37" fmla="*/ 5911619 h 6530269"/>
              <a:gd name="connsiteX38" fmla="*/ 4036095 w 8636594"/>
              <a:gd name="connsiteY38" fmla="*/ 5886685 h 6530269"/>
              <a:gd name="connsiteX39" fmla="*/ 4073456 w 8636594"/>
              <a:gd name="connsiteY39" fmla="*/ 5861452 h 6530269"/>
              <a:gd name="connsiteX40" fmla="*/ 4110400 w 8636594"/>
              <a:gd name="connsiteY40" fmla="*/ 5835922 h 6530269"/>
              <a:gd name="connsiteX41" fmla="*/ 4146933 w 8636594"/>
              <a:gd name="connsiteY41" fmla="*/ 5810100 h 6530269"/>
              <a:gd name="connsiteX42" fmla="*/ 4183061 w 8636594"/>
              <a:gd name="connsiteY42" fmla="*/ 5783988 h 6530269"/>
              <a:gd name="connsiteX43" fmla="*/ 4218791 w 8636594"/>
              <a:gd name="connsiteY43" fmla="*/ 5757591 h 6530269"/>
              <a:gd name="connsiteX44" fmla="*/ 4254129 w 8636594"/>
              <a:gd name="connsiteY44" fmla="*/ 5730912 h 6530269"/>
              <a:gd name="connsiteX45" fmla="*/ 4289081 w 8636594"/>
              <a:gd name="connsiteY45" fmla="*/ 5703955 h 6530269"/>
              <a:gd name="connsiteX46" fmla="*/ 4323654 w 8636594"/>
              <a:gd name="connsiteY46" fmla="*/ 5676722 h 6530269"/>
              <a:gd name="connsiteX47" fmla="*/ 4357854 w 8636594"/>
              <a:gd name="connsiteY47" fmla="*/ 5649218 h 6530269"/>
              <a:gd name="connsiteX48" fmla="*/ 4391688 w 8636594"/>
              <a:gd name="connsiteY48" fmla="*/ 5621446 h 6530269"/>
              <a:gd name="connsiteX49" fmla="*/ 4425162 w 8636594"/>
              <a:gd name="connsiteY49" fmla="*/ 5593409 h 6530269"/>
              <a:gd name="connsiteX50" fmla="*/ 4458281 w 8636594"/>
              <a:gd name="connsiteY50" fmla="*/ 5565111 h 6530269"/>
              <a:gd name="connsiteX51" fmla="*/ 4491053 w 8636594"/>
              <a:gd name="connsiteY51" fmla="*/ 5536556 h 6530269"/>
              <a:gd name="connsiteX52" fmla="*/ 4523484 w 8636594"/>
              <a:gd name="connsiteY52" fmla="*/ 5507747 h 6530269"/>
              <a:gd name="connsiteX53" fmla="*/ 4555580 w 8636594"/>
              <a:gd name="connsiteY53" fmla="*/ 5478687 h 6530269"/>
              <a:gd name="connsiteX54" fmla="*/ 4587347 w 8636594"/>
              <a:gd name="connsiteY54" fmla="*/ 5449380 h 6530269"/>
              <a:gd name="connsiteX55" fmla="*/ 4618793 w 8636594"/>
              <a:gd name="connsiteY55" fmla="*/ 5419830 h 6530269"/>
              <a:gd name="connsiteX56" fmla="*/ 4649922 w 8636594"/>
              <a:gd name="connsiteY56" fmla="*/ 5390040 h 6530269"/>
              <a:gd name="connsiteX57" fmla="*/ 4680742 w 8636594"/>
              <a:gd name="connsiteY57" fmla="*/ 5360014 h 6530269"/>
              <a:gd name="connsiteX58" fmla="*/ 4711259 w 8636594"/>
              <a:gd name="connsiteY58" fmla="*/ 5329755 h 6530269"/>
              <a:gd name="connsiteX59" fmla="*/ 4741478 w 8636594"/>
              <a:gd name="connsiteY59" fmla="*/ 5299266 h 6530269"/>
              <a:gd name="connsiteX60" fmla="*/ 4771408 w 8636594"/>
              <a:gd name="connsiteY60" fmla="*/ 5268551 h 6530269"/>
              <a:gd name="connsiteX61" fmla="*/ 4801053 w 8636594"/>
              <a:gd name="connsiteY61" fmla="*/ 5237614 h 6530269"/>
              <a:gd name="connsiteX62" fmla="*/ 4830420 w 8636594"/>
              <a:gd name="connsiteY62" fmla="*/ 5206458 h 6530269"/>
              <a:gd name="connsiteX63" fmla="*/ 4859516 w 8636594"/>
              <a:gd name="connsiteY63" fmla="*/ 5175087 h 6530269"/>
              <a:gd name="connsiteX64" fmla="*/ 4888347 w 8636594"/>
              <a:gd name="connsiteY64" fmla="*/ 5143504 h 6530269"/>
              <a:gd name="connsiteX65" fmla="*/ 4916919 w 8636594"/>
              <a:gd name="connsiteY65" fmla="*/ 5111713 h 6530269"/>
              <a:gd name="connsiteX66" fmla="*/ 4945238 w 8636594"/>
              <a:gd name="connsiteY66" fmla="*/ 5079717 h 6530269"/>
              <a:gd name="connsiteX67" fmla="*/ 4973311 w 8636594"/>
              <a:gd name="connsiteY67" fmla="*/ 5047519 h 6530269"/>
              <a:gd name="connsiteX68" fmla="*/ 5001145 w 8636594"/>
              <a:gd name="connsiteY68" fmla="*/ 5015124 h 6530269"/>
              <a:gd name="connsiteX69" fmla="*/ 5028745 w 8636594"/>
              <a:gd name="connsiteY69" fmla="*/ 4982535 h 6530269"/>
              <a:gd name="connsiteX70" fmla="*/ 5056117 w 8636594"/>
              <a:gd name="connsiteY70" fmla="*/ 4949755 h 6530269"/>
              <a:gd name="connsiteX71" fmla="*/ 5083269 w 8636594"/>
              <a:gd name="connsiteY71" fmla="*/ 4916787 h 6530269"/>
              <a:gd name="connsiteX72" fmla="*/ 5110207 w 8636594"/>
              <a:gd name="connsiteY72" fmla="*/ 4883636 h 6530269"/>
              <a:gd name="connsiteX73" fmla="*/ 5136937 w 8636594"/>
              <a:gd name="connsiteY73" fmla="*/ 4850305 h 6530269"/>
              <a:gd name="connsiteX74" fmla="*/ 5163464 w 8636594"/>
              <a:gd name="connsiteY74" fmla="*/ 4816797 h 6530269"/>
              <a:gd name="connsiteX75" fmla="*/ 5215940 w 8636594"/>
              <a:gd name="connsiteY75" fmla="*/ 4749265 h 6530269"/>
              <a:gd name="connsiteX76" fmla="*/ 5267684 w 8636594"/>
              <a:gd name="connsiteY76" fmla="*/ 4681068 h 6530269"/>
              <a:gd name="connsiteX77" fmla="*/ 5318748 w 8636594"/>
              <a:gd name="connsiteY77" fmla="*/ 4612234 h 6530269"/>
              <a:gd name="connsiteX78" fmla="*/ 5369182 w 8636594"/>
              <a:gd name="connsiteY78" fmla="*/ 4542793 h 6530269"/>
              <a:gd name="connsiteX79" fmla="*/ 5419038 w 8636594"/>
              <a:gd name="connsiteY79" fmla="*/ 4472771 h 6530269"/>
              <a:gd name="connsiteX80" fmla="*/ 5468365 w 8636594"/>
              <a:gd name="connsiteY80" fmla="*/ 4402196 h 6530269"/>
              <a:gd name="connsiteX81" fmla="*/ 5517215 w 8636594"/>
              <a:gd name="connsiteY81" fmla="*/ 4331098 h 6530269"/>
              <a:gd name="connsiteX82" fmla="*/ 5565637 w 8636594"/>
              <a:gd name="connsiteY82" fmla="*/ 4259503 h 6530269"/>
              <a:gd name="connsiteX83" fmla="*/ 5613684 w 8636594"/>
              <a:gd name="connsiteY83" fmla="*/ 4187441 h 6530269"/>
              <a:gd name="connsiteX84" fmla="*/ 5685160 w 8636594"/>
              <a:gd name="connsiteY84" fmla="*/ 4078531 h 6530269"/>
              <a:gd name="connsiteX85" fmla="*/ 5756074 w 8636594"/>
              <a:gd name="connsiteY85" fmla="*/ 3968727 h 6530269"/>
              <a:gd name="connsiteX86" fmla="*/ 5873483 w 8636594"/>
              <a:gd name="connsiteY86" fmla="*/ 3783989 h 6530269"/>
              <a:gd name="connsiteX87" fmla="*/ 6203209 w 8636594"/>
              <a:gd name="connsiteY87" fmla="*/ 3258640 h 6530269"/>
              <a:gd name="connsiteX88" fmla="*/ 6299430 w 8636594"/>
              <a:gd name="connsiteY88" fmla="*/ 3107321 h 6530269"/>
              <a:gd name="connsiteX89" fmla="*/ 6372650 w 8636594"/>
              <a:gd name="connsiteY89" fmla="*/ 2993735 h 6530269"/>
              <a:gd name="connsiteX90" fmla="*/ 6453197 w 8636594"/>
              <a:gd name="connsiteY90" fmla="*/ 2869788 h 6530269"/>
              <a:gd name="connsiteX91" fmla="*/ 6564167 w 8636594"/>
              <a:gd name="connsiteY91" fmla="*/ 2696807 h 6530269"/>
              <a:gd name="connsiteX92" fmla="*/ 6976233 w 8636594"/>
              <a:gd name="connsiteY92" fmla="*/ 2045274 h 6530269"/>
              <a:gd name="connsiteX93" fmla="*/ 7086755 w 8636594"/>
              <a:gd name="connsiteY93" fmla="*/ 1872743 h 6530269"/>
              <a:gd name="connsiteX94" fmla="*/ 7170279 w 8636594"/>
              <a:gd name="connsiteY94" fmla="*/ 1744202 h 6530269"/>
              <a:gd name="connsiteX95" fmla="*/ 7226351 w 8636594"/>
              <a:gd name="connsiteY95" fmla="*/ 1659017 h 6530269"/>
              <a:gd name="connsiteX96" fmla="*/ 7282789 w 8636594"/>
              <a:gd name="connsiteY96" fmla="*/ 1574303 h 6530269"/>
              <a:gd name="connsiteX97" fmla="*/ 7339643 w 8636594"/>
              <a:gd name="connsiteY97" fmla="*/ 1490113 h 6530269"/>
              <a:gd name="connsiteX98" fmla="*/ 7396957 w 8636594"/>
              <a:gd name="connsiteY98" fmla="*/ 1406503 h 6530269"/>
              <a:gd name="connsiteX99" fmla="*/ 7454781 w 8636594"/>
              <a:gd name="connsiteY99" fmla="*/ 1323526 h 6530269"/>
              <a:gd name="connsiteX100" fmla="*/ 7513161 w 8636594"/>
              <a:gd name="connsiteY100" fmla="*/ 1241237 h 6530269"/>
              <a:gd name="connsiteX101" fmla="*/ 7572144 w 8636594"/>
              <a:gd name="connsiteY101" fmla="*/ 1159689 h 6530269"/>
              <a:gd name="connsiteX102" fmla="*/ 7601877 w 8636594"/>
              <a:gd name="connsiteY102" fmla="*/ 1119210 h 6530269"/>
              <a:gd name="connsiteX103" fmla="*/ 7631779 w 8636594"/>
              <a:gd name="connsiteY103" fmla="*/ 1078937 h 6530269"/>
              <a:gd name="connsiteX104" fmla="*/ 7661855 w 8636594"/>
              <a:gd name="connsiteY104" fmla="*/ 1038876 h 6530269"/>
              <a:gd name="connsiteX105" fmla="*/ 7692111 w 8636594"/>
              <a:gd name="connsiteY105" fmla="*/ 999035 h 6530269"/>
              <a:gd name="connsiteX106" fmla="*/ 7722554 w 8636594"/>
              <a:gd name="connsiteY106" fmla="*/ 959419 h 6530269"/>
              <a:gd name="connsiteX107" fmla="*/ 7753190 w 8636594"/>
              <a:gd name="connsiteY107" fmla="*/ 920037 h 6530269"/>
              <a:gd name="connsiteX108" fmla="*/ 7784023 w 8636594"/>
              <a:gd name="connsiteY108" fmla="*/ 880894 h 6530269"/>
              <a:gd name="connsiteX109" fmla="*/ 7815061 w 8636594"/>
              <a:gd name="connsiteY109" fmla="*/ 841997 h 6530269"/>
              <a:gd name="connsiteX110" fmla="*/ 7846308 w 8636594"/>
              <a:gd name="connsiteY110" fmla="*/ 803354 h 6530269"/>
              <a:gd name="connsiteX111" fmla="*/ 7877772 w 8636594"/>
              <a:gd name="connsiteY111" fmla="*/ 764970 h 6530269"/>
              <a:gd name="connsiteX112" fmla="*/ 7909458 w 8636594"/>
              <a:gd name="connsiteY112" fmla="*/ 726853 h 6530269"/>
              <a:gd name="connsiteX113" fmla="*/ 7941371 w 8636594"/>
              <a:gd name="connsiteY113" fmla="*/ 689010 h 6530269"/>
              <a:gd name="connsiteX114" fmla="*/ 7973518 w 8636594"/>
              <a:gd name="connsiteY114" fmla="*/ 651447 h 6530269"/>
              <a:gd name="connsiteX115" fmla="*/ 8005905 w 8636594"/>
              <a:gd name="connsiteY115" fmla="*/ 614171 h 6530269"/>
              <a:gd name="connsiteX116" fmla="*/ 8038538 w 8636594"/>
              <a:gd name="connsiteY116" fmla="*/ 577189 h 6530269"/>
              <a:gd name="connsiteX117" fmla="*/ 8071421 w 8636594"/>
              <a:gd name="connsiteY117" fmla="*/ 540507 h 6530269"/>
              <a:gd name="connsiteX118" fmla="*/ 8104563 w 8636594"/>
              <a:gd name="connsiteY118" fmla="*/ 504132 h 6530269"/>
              <a:gd name="connsiteX119" fmla="*/ 8137967 w 8636594"/>
              <a:gd name="connsiteY119" fmla="*/ 468072 h 6530269"/>
              <a:gd name="connsiteX120" fmla="*/ 8171641 w 8636594"/>
              <a:gd name="connsiteY120" fmla="*/ 432332 h 6530269"/>
              <a:gd name="connsiteX121" fmla="*/ 8205590 w 8636594"/>
              <a:gd name="connsiteY121" fmla="*/ 396920 h 6530269"/>
              <a:gd name="connsiteX122" fmla="*/ 8239820 w 8636594"/>
              <a:gd name="connsiteY122" fmla="*/ 361843 h 6530269"/>
              <a:gd name="connsiteX123" fmla="*/ 8274337 w 8636594"/>
              <a:gd name="connsiteY123" fmla="*/ 327107 h 6530269"/>
              <a:gd name="connsiteX124" fmla="*/ 8309147 w 8636594"/>
              <a:gd name="connsiteY124" fmla="*/ 292718 h 6530269"/>
              <a:gd name="connsiteX125" fmla="*/ 8344256 w 8636594"/>
              <a:gd name="connsiteY125" fmla="*/ 258685 h 6530269"/>
              <a:gd name="connsiteX126" fmla="*/ 8379669 w 8636594"/>
              <a:gd name="connsiteY126" fmla="*/ 225013 h 6530269"/>
              <a:gd name="connsiteX127" fmla="*/ 8415394 w 8636594"/>
              <a:gd name="connsiteY127" fmla="*/ 191709 h 6530269"/>
              <a:gd name="connsiteX128" fmla="*/ 8451434 w 8636594"/>
              <a:gd name="connsiteY128" fmla="*/ 158780 h 6530269"/>
              <a:gd name="connsiteX129" fmla="*/ 8487798 w 8636594"/>
              <a:gd name="connsiteY129" fmla="*/ 126233 h 6530269"/>
              <a:gd name="connsiteX130" fmla="*/ 8524489 w 8636594"/>
              <a:gd name="connsiteY130" fmla="*/ 94075 h 6530269"/>
              <a:gd name="connsiteX131" fmla="*/ 8561515 w 8636594"/>
              <a:gd name="connsiteY131" fmla="*/ 62312 h 6530269"/>
              <a:gd name="connsiteX132" fmla="*/ 8598881 w 8636594"/>
              <a:gd name="connsiteY132" fmla="*/ 30951 h 6530269"/>
              <a:gd name="connsiteX133" fmla="*/ 8636594 w 8636594"/>
              <a:gd name="connsiteY133" fmla="*/ 0 h 6530269"/>
              <a:gd name="connsiteX0" fmla="*/ 8636594 w 8636594"/>
              <a:gd name="connsiteY0" fmla="*/ 0 h 6516778"/>
              <a:gd name="connsiteX1" fmla="*/ 5293 w 8636594"/>
              <a:gd name="connsiteY1" fmla="*/ 0 h 6516778"/>
              <a:gd name="connsiteX2" fmla="*/ 0 w 8636594"/>
              <a:gd name="connsiteY2" fmla="*/ 5587843 h 6516778"/>
              <a:gd name="connsiteX3" fmla="*/ 1594033 w 8636594"/>
              <a:gd name="connsiteY3" fmla="*/ 5600057 h 6516778"/>
              <a:gd name="connsiteX4" fmla="*/ 1686068 w 8636594"/>
              <a:gd name="connsiteY4" fmla="*/ 5599745 h 6516778"/>
              <a:gd name="connsiteX5" fmla="*/ 2582304 w 8636594"/>
              <a:gd name="connsiteY5" fmla="*/ 6516778 h 6516778"/>
              <a:gd name="connsiteX6" fmla="*/ 2636364 w 8636594"/>
              <a:gd name="connsiteY6" fmla="*/ 6502876 h 6516778"/>
              <a:gd name="connsiteX7" fmla="*/ 2689804 w 8636594"/>
              <a:gd name="connsiteY7" fmla="*/ 6488565 h 6516778"/>
              <a:gd name="connsiteX8" fmla="*/ 2742629 w 8636594"/>
              <a:gd name="connsiteY8" fmla="*/ 6473849 h 6516778"/>
              <a:gd name="connsiteX9" fmla="*/ 2794848 w 8636594"/>
              <a:gd name="connsiteY9" fmla="*/ 6458731 h 6516778"/>
              <a:gd name="connsiteX10" fmla="*/ 2846466 w 8636594"/>
              <a:gd name="connsiteY10" fmla="*/ 6443216 h 6516778"/>
              <a:gd name="connsiteX11" fmla="*/ 2897488 w 8636594"/>
              <a:gd name="connsiteY11" fmla="*/ 6427305 h 6516778"/>
              <a:gd name="connsiteX12" fmla="*/ 2947923 w 8636594"/>
              <a:gd name="connsiteY12" fmla="*/ 6411004 h 6516778"/>
              <a:gd name="connsiteX13" fmla="*/ 2997775 w 8636594"/>
              <a:gd name="connsiteY13" fmla="*/ 6394316 h 6516778"/>
              <a:gd name="connsiteX14" fmla="*/ 3047052 w 8636594"/>
              <a:gd name="connsiteY14" fmla="*/ 6377243 h 6516778"/>
              <a:gd name="connsiteX15" fmla="*/ 3095759 w 8636594"/>
              <a:gd name="connsiteY15" fmla="*/ 6359791 h 6516778"/>
              <a:gd name="connsiteX16" fmla="*/ 3143903 w 8636594"/>
              <a:gd name="connsiteY16" fmla="*/ 6341961 h 6516778"/>
              <a:gd name="connsiteX17" fmla="*/ 3191491 w 8636594"/>
              <a:gd name="connsiteY17" fmla="*/ 6323757 h 6516778"/>
              <a:gd name="connsiteX18" fmla="*/ 3238528 w 8636594"/>
              <a:gd name="connsiteY18" fmla="*/ 6305184 h 6516778"/>
              <a:gd name="connsiteX19" fmla="*/ 3285021 w 8636594"/>
              <a:gd name="connsiteY19" fmla="*/ 6286245 h 6516778"/>
              <a:gd name="connsiteX20" fmla="*/ 3330977 w 8636594"/>
              <a:gd name="connsiteY20" fmla="*/ 6266942 h 6516778"/>
              <a:gd name="connsiteX21" fmla="*/ 3376401 w 8636594"/>
              <a:gd name="connsiteY21" fmla="*/ 6247281 h 6516778"/>
              <a:gd name="connsiteX22" fmla="*/ 3421300 w 8636594"/>
              <a:gd name="connsiteY22" fmla="*/ 6227263 h 6516778"/>
              <a:gd name="connsiteX23" fmla="*/ 3465680 w 8636594"/>
              <a:gd name="connsiteY23" fmla="*/ 6206893 h 6516778"/>
              <a:gd name="connsiteX24" fmla="*/ 3509548 w 8636594"/>
              <a:gd name="connsiteY24" fmla="*/ 6186174 h 6516778"/>
              <a:gd name="connsiteX25" fmla="*/ 3552910 w 8636594"/>
              <a:gd name="connsiteY25" fmla="*/ 6165110 h 6516778"/>
              <a:gd name="connsiteX26" fmla="*/ 3595773 w 8636594"/>
              <a:gd name="connsiteY26" fmla="*/ 6143704 h 6516778"/>
              <a:gd name="connsiteX27" fmla="*/ 3638142 w 8636594"/>
              <a:gd name="connsiteY27" fmla="*/ 6121960 h 6516778"/>
              <a:gd name="connsiteX28" fmla="*/ 3680024 w 8636594"/>
              <a:gd name="connsiteY28" fmla="*/ 6099881 h 6516778"/>
              <a:gd name="connsiteX29" fmla="*/ 3721426 w 8636594"/>
              <a:gd name="connsiteY29" fmla="*/ 6077471 h 6516778"/>
              <a:gd name="connsiteX30" fmla="*/ 3762353 w 8636594"/>
              <a:gd name="connsiteY30" fmla="*/ 6054733 h 6516778"/>
              <a:gd name="connsiteX31" fmla="*/ 3802812 w 8636594"/>
              <a:gd name="connsiteY31" fmla="*/ 6031671 h 6516778"/>
              <a:gd name="connsiteX32" fmla="*/ 3842810 w 8636594"/>
              <a:gd name="connsiteY32" fmla="*/ 6008288 h 6516778"/>
              <a:gd name="connsiteX33" fmla="*/ 3882352 w 8636594"/>
              <a:gd name="connsiteY33" fmla="*/ 5984588 h 6516778"/>
              <a:gd name="connsiteX34" fmla="*/ 3921445 w 8636594"/>
              <a:gd name="connsiteY34" fmla="*/ 5960574 h 6516778"/>
              <a:gd name="connsiteX35" fmla="*/ 3960096 w 8636594"/>
              <a:gd name="connsiteY35" fmla="*/ 5936250 h 6516778"/>
              <a:gd name="connsiteX36" fmla="*/ 3998311 w 8636594"/>
              <a:gd name="connsiteY36" fmla="*/ 5911619 h 6516778"/>
              <a:gd name="connsiteX37" fmla="*/ 4036095 w 8636594"/>
              <a:gd name="connsiteY37" fmla="*/ 5886685 h 6516778"/>
              <a:gd name="connsiteX38" fmla="*/ 4073456 w 8636594"/>
              <a:gd name="connsiteY38" fmla="*/ 5861452 h 6516778"/>
              <a:gd name="connsiteX39" fmla="*/ 4110400 w 8636594"/>
              <a:gd name="connsiteY39" fmla="*/ 5835922 h 6516778"/>
              <a:gd name="connsiteX40" fmla="*/ 4146933 w 8636594"/>
              <a:gd name="connsiteY40" fmla="*/ 5810100 h 6516778"/>
              <a:gd name="connsiteX41" fmla="*/ 4183061 w 8636594"/>
              <a:gd name="connsiteY41" fmla="*/ 5783988 h 6516778"/>
              <a:gd name="connsiteX42" fmla="*/ 4218791 w 8636594"/>
              <a:gd name="connsiteY42" fmla="*/ 5757591 h 6516778"/>
              <a:gd name="connsiteX43" fmla="*/ 4254129 w 8636594"/>
              <a:gd name="connsiteY43" fmla="*/ 5730912 h 6516778"/>
              <a:gd name="connsiteX44" fmla="*/ 4289081 w 8636594"/>
              <a:gd name="connsiteY44" fmla="*/ 5703955 h 6516778"/>
              <a:gd name="connsiteX45" fmla="*/ 4323654 w 8636594"/>
              <a:gd name="connsiteY45" fmla="*/ 5676722 h 6516778"/>
              <a:gd name="connsiteX46" fmla="*/ 4357854 w 8636594"/>
              <a:gd name="connsiteY46" fmla="*/ 5649218 h 6516778"/>
              <a:gd name="connsiteX47" fmla="*/ 4391688 w 8636594"/>
              <a:gd name="connsiteY47" fmla="*/ 5621446 h 6516778"/>
              <a:gd name="connsiteX48" fmla="*/ 4425162 w 8636594"/>
              <a:gd name="connsiteY48" fmla="*/ 5593409 h 6516778"/>
              <a:gd name="connsiteX49" fmla="*/ 4458281 w 8636594"/>
              <a:gd name="connsiteY49" fmla="*/ 5565111 h 6516778"/>
              <a:gd name="connsiteX50" fmla="*/ 4491053 w 8636594"/>
              <a:gd name="connsiteY50" fmla="*/ 5536556 h 6516778"/>
              <a:gd name="connsiteX51" fmla="*/ 4523484 w 8636594"/>
              <a:gd name="connsiteY51" fmla="*/ 5507747 h 6516778"/>
              <a:gd name="connsiteX52" fmla="*/ 4555580 w 8636594"/>
              <a:gd name="connsiteY52" fmla="*/ 5478687 h 6516778"/>
              <a:gd name="connsiteX53" fmla="*/ 4587347 w 8636594"/>
              <a:gd name="connsiteY53" fmla="*/ 5449380 h 6516778"/>
              <a:gd name="connsiteX54" fmla="*/ 4618793 w 8636594"/>
              <a:gd name="connsiteY54" fmla="*/ 5419830 h 6516778"/>
              <a:gd name="connsiteX55" fmla="*/ 4649922 w 8636594"/>
              <a:gd name="connsiteY55" fmla="*/ 5390040 h 6516778"/>
              <a:gd name="connsiteX56" fmla="*/ 4680742 w 8636594"/>
              <a:gd name="connsiteY56" fmla="*/ 5360014 h 6516778"/>
              <a:gd name="connsiteX57" fmla="*/ 4711259 w 8636594"/>
              <a:gd name="connsiteY57" fmla="*/ 5329755 h 6516778"/>
              <a:gd name="connsiteX58" fmla="*/ 4741478 w 8636594"/>
              <a:gd name="connsiteY58" fmla="*/ 5299266 h 6516778"/>
              <a:gd name="connsiteX59" fmla="*/ 4771408 w 8636594"/>
              <a:gd name="connsiteY59" fmla="*/ 5268551 h 6516778"/>
              <a:gd name="connsiteX60" fmla="*/ 4801053 w 8636594"/>
              <a:gd name="connsiteY60" fmla="*/ 5237614 h 6516778"/>
              <a:gd name="connsiteX61" fmla="*/ 4830420 w 8636594"/>
              <a:gd name="connsiteY61" fmla="*/ 5206458 h 6516778"/>
              <a:gd name="connsiteX62" fmla="*/ 4859516 w 8636594"/>
              <a:gd name="connsiteY62" fmla="*/ 5175087 h 6516778"/>
              <a:gd name="connsiteX63" fmla="*/ 4888347 w 8636594"/>
              <a:gd name="connsiteY63" fmla="*/ 5143504 h 6516778"/>
              <a:gd name="connsiteX64" fmla="*/ 4916919 w 8636594"/>
              <a:gd name="connsiteY64" fmla="*/ 5111713 h 6516778"/>
              <a:gd name="connsiteX65" fmla="*/ 4945238 w 8636594"/>
              <a:gd name="connsiteY65" fmla="*/ 5079717 h 6516778"/>
              <a:gd name="connsiteX66" fmla="*/ 4973311 w 8636594"/>
              <a:gd name="connsiteY66" fmla="*/ 5047519 h 6516778"/>
              <a:gd name="connsiteX67" fmla="*/ 5001145 w 8636594"/>
              <a:gd name="connsiteY67" fmla="*/ 5015124 h 6516778"/>
              <a:gd name="connsiteX68" fmla="*/ 5028745 w 8636594"/>
              <a:gd name="connsiteY68" fmla="*/ 4982535 h 6516778"/>
              <a:gd name="connsiteX69" fmla="*/ 5056117 w 8636594"/>
              <a:gd name="connsiteY69" fmla="*/ 4949755 h 6516778"/>
              <a:gd name="connsiteX70" fmla="*/ 5083269 w 8636594"/>
              <a:gd name="connsiteY70" fmla="*/ 4916787 h 6516778"/>
              <a:gd name="connsiteX71" fmla="*/ 5110207 w 8636594"/>
              <a:gd name="connsiteY71" fmla="*/ 4883636 h 6516778"/>
              <a:gd name="connsiteX72" fmla="*/ 5136937 w 8636594"/>
              <a:gd name="connsiteY72" fmla="*/ 4850305 h 6516778"/>
              <a:gd name="connsiteX73" fmla="*/ 5163464 w 8636594"/>
              <a:gd name="connsiteY73" fmla="*/ 4816797 h 6516778"/>
              <a:gd name="connsiteX74" fmla="*/ 5215940 w 8636594"/>
              <a:gd name="connsiteY74" fmla="*/ 4749265 h 6516778"/>
              <a:gd name="connsiteX75" fmla="*/ 5267684 w 8636594"/>
              <a:gd name="connsiteY75" fmla="*/ 4681068 h 6516778"/>
              <a:gd name="connsiteX76" fmla="*/ 5318748 w 8636594"/>
              <a:gd name="connsiteY76" fmla="*/ 4612234 h 6516778"/>
              <a:gd name="connsiteX77" fmla="*/ 5369182 w 8636594"/>
              <a:gd name="connsiteY77" fmla="*/ 4542793 h 6516778"/>
              <a:gd name="connsiteX78" fmla="*/ 5419038 w 8636594"/>
              <a:gd name="connsiteY78" fmla="*/ 4472771 h 6516778"/>
              <a:gd name="connsiteX79" fmla="*/ 5468365 w 8636594"/>
              <a:gd name="connsiteY79" fmla="*/ 4402196 h 6516778"/>
              <a:gd name="connsiteX80" fmla="*/ 5517215 w 8636594"/>
              <a:gd name="connsiteY80" fmla="*/ 4331098 h 6516778"/>
              <a:gd name="connsiteX81" fmla="*/ 5565637 w 8636594"/>
              <a:gd name="connsiteY81" fmla="*/ 4259503 h 6516778"/>
              <a:gd name="connsiteX82" fmla="*/ 5613684 w 8636594"/>
              <a:gd name="connsiteY82" fmla="*/ 4187441 h 6516778"/>
              <a:gd name="connsiteX83" fmla="*/ 5685160 w 8636594"/>
              <a:gd name="connsiteY83" fmla="*/ 4078531 h 6516778"/>
              <a:gd name="connsiteX84" fmla="*/ 5756074 w 8636594"/>
              <a:gd name="connsiteY84" fmla="*/ 3968727 h 6516778"/>
              <a:gd name="connsiteX85" fmla="*/ 5873483 w 8636594"/>
              <a:gd name="connsiteY85" fmla="*/ 3783989 h 6516778"/>
              <a:gd name="connsiteX86" fmla="*/ 6203209 w 8636594"/>
              <a:gd name="connsiteY86" fmla="*/ 3258640 h 6516778"/>
              <a:gd name="connsiteX87" fmla="*/ 6299430 w 8636594"/>
              <a:gd name="connsiteY87" fmla="*/ 3107321 h 6516778"/>
              <a:gd name="connsiteX88" fmla="*/ 6372650 w 8636594"/>
              <a:gd name="connsiteY88" fmla="*/ 2993735 h 6516778"/>
              <a:gd name="connsiteX89" fmla="*/ 6453197 w 8636594"/>
              <a:gd name="connsiteY89" fmla="*/ 2869788 h 6516778"/>
              <a:gd name="connsiteX90" fmla="*/ 6564167 w 8636594"/>
              <a:gd name="connsiteY90" fmla="*/ 2696807 h 6516778"/>
              <a:gd name="connsiteX91" fmla="*/ 6976233 w 8636594"/>
              <a:gd name="connsiteY91" fmla="*/ 2045274 h 6516778"/>
              <a:gd name="connsiteX92" fmla="*/ 7086755 w 8636594"/>
              <a:gd name="connsiteY92" fmla="*/ 1872743 h 6516778"/>
              <a:gd name="connsiteX93" fmla="*/ 7170279 w 8636594"/>
              <a:gd name="connsiteY93" fmla="*/ 1744202 h 6516778"/>
              <a:gd name="connsiteX94" fmla="*/ 7226351 w 8636594"/>
              <a:gd name="connsiteY94" fmla="*/ 1659017 h 6516778"/>
              <a:gd name="connsiteX95" fmla="*/ 7282789 w 8636594"/>
              <a:gd name="connsiteY95" fmla="*/ 1574303 h 6516778"/>
              <a:gd name="connsiteX96" fmla="*/ 7339643 w 8636594"/>
              <a:gd name="connsiteY96" fmla="*/ 1490113 h 6516778"/>
              <a:gd name="connsiteX97" fmla="*/ 7396957 w 8636594"/>
              <a:gd name="connsiteY97" fmla="*/ 1406503 h 6516778"/>
              <a:gd name="connsiteX98" fmla="*/ 7454781 w 8636594"/>
              <a:gd name="connsiteY98" fmla="*/ 1323526 h 6516778"/>
              <a:gd name="connsiteX99" fmla="*/ 7513161 w 8636594"/>
              <a:gd name="connsiteY99" fmla="*/ 1241237 h 6516778"/>
              <a:gd name="connsiteX100" fmla="*/ 7572144 w 8636594"/>
              <a:gd name="connsiteY100" fmla="*/ 1159689 h 6516778"/>
              <a:gd name="connsiteX101" fmla="*/ 7601877 w 8636594"/>
              <a:gd name="connsiteY101" fmla="*/ 1119210 h 6516778"/>
              <a:gd name="connsiteX102" fmla="*/ 7631779 w 8636594"/>
              <a:gd name="connsiteY102" fmla="*/ 1078937 h 6516778"/>
              <a:gd name="connsiteX103" fmla="*/ 7661855 w 8636594"/>
              <a:gd name="connsiteY103" fmla="*/ 1038876 h 6516778"/>
              <a:gd name="connsiteX104" fmla="*/ 7692111 w 8636594"/>
              <a:gd name="connsiteY104" fmla="*/ 999035 h 6516778"/>
              <a:gd name="connsiteX105" fmla="*/ 7722554 w 8636594"/>
              <a:gd name="connsiteY105" fmla="*/ 959419 h 6516778"/>
              <a:gd name="connsiteX106" fmla="*/ 7753190 w 8636594"/>
              <a:gd name="connsiteY106" fmla="*/ 920037 h 6516778"/>
              <a:gd name="connsiteX107" fmla="*/ 7784023 w 8636594"/>
              <a:gd name="connsiteY107" fmla="*/ 880894 h 6516778"/>
              <a:gd name="connsiteX108" fmla="*/ 7815061 w 8636594"/>
              <a:gd name="connsiteY108" fmla="*/ 841997 h 6516778"/>
              <a:gd name="connsiteX109" fmla="*/ 7846308 w 8636594"/>
              <a:gd name="connsiteY109" fmla="*/ 803354 h 6516778"/>
              <a:gd name="connsiteX110" fmla="*/ 7877772 w 8636594"/>
              <a:gd name="connsiteY110" fmla="*/ 764970 h 6516778"/>
              <a:gd name="connsiteX111" fmla="*/ 7909458 w 8636594"/>
              <a:gd name="connsiteY111" fmla="*/ 726853 h 6516778"/>
              <a:gd name="connsiteX112" fmla="*/ 7941371 w 8636594"/>
              <a:gd name="connsiteY112" fmla="*/ 689010 h 6516778"/>
              <a:gd name="connsiteX113" fmla="*/ 7973518 w 8636594"/>
              <a:gd name="connsiteY113" fmla="*/ 651447 h 6516778"/>
              <a:gd name="connsiteX114" fmla="*/ 8005905 w 8636594"/>
              <a:gd name="connsiteY114" fmla="*/ 614171 h 6516778"/>
              <a:gd name="connsiteX115" fmla="*/ 8038538 w 8636594"/>
              <a:gd name="connsiteY115" fmla="*/ 577189 h 6516778"/>
              <a:gd name="connsiteX116" fmla="*/ 8071421 w 8636594"/>
              <a:gd name="connsiteY116" fmla="*/ 540507 h 6516778"/>
              <a:gd name="connsiteX117" fmla="*/ 8104563 w 8636594"/>
              <a:gd name="connsiteY117" fmla="*/ 504132 h 6516778"/>
              <a:gd name="connsiteX118" fmla="*/ 8137967 w 8636594"/>
              <a:gd name="connsiteY118" fmla="*/ 468072 h 6516778"/>
              <a:gd name="connsiteX119" fmla="*/ 8171641 w 8636594"/>
              <a:gd name="connsiteY119" fmla="*/ 432332 h 6516778"/>
              <a:gd name="connsiteX120" fmla="*/ 8205590 w 8636594"/>
              <a:gd name="connsiteY120" fmla="*/ 396920 h 6516778"/>
              <a:gd name="connsiteX121" fmla="*/ 8239820 w 8636594"/>
              <a:gd name="connsiteY121" fmla="*/ 361843 h 6516778"/>
              <a:gd name="connsiteX122" fmla="*/ 8274337 w 8636594"/>
              <a:gd name="connsiteY122" fmla="*/ 327107 h 6516778"/>
              <a:gd name="connsiteX123" fmla="*/ 8309147 w 8636594"/>
              <a:gd name="connsiteY123" fmla="*/ 292718 h 6516778"/>
              <a:gd name="connsiteX124" fmla="*/ 8344256 w 8636594"/>
              <a:gd name="connsiteY124" fmla="*/ 258685 h 6516778"/>
              <a:gd name="connsiteX125" fmla="*/ 8379669 w 8636594"/>
              <a:gd name="connsiteY125" fmla="*/ 225013 h 6516778"/>
              <a:gd name="connsiteX126" fmla="*/ 8415394 w 8636594"/>
              <a:gd name="connsiteY126" fmla="*/ 191709 h 6516778"/>
              <a:gd name="connsiteX127" fmla="*/ 8451434 w 8636594"/>
              <a:gd name="connsiteY127" fmla="*/ 158780 h 6516778"/>
              <a:gd name="connsiteX128" fmla="*/ 8487798 w 8636594"/>
              <a:gd name="connsiteY128" fmla="*/ 126233 h 6516778"/>
              <a:gd name="connsiteX129" fmla="*/ 8524489 w 8636594"/>
              <a:gd name="connsiteY129" fmla="*/ 94075 h 6516778"/>
              <a:gd name="connsiteX130" fmla="*/ 8561515 w 8636594"/>
              <a:gd name="connsiteY130" fmla="*/ 62312 h 6516778"/>
              <a:gd name="connsiteX131" fmla="*/ 8598881 w 8636594"/>
              <a:gd name="connsiteY131" fmla="*/ 30951 h 6516778"/>
              <a:gd name="connsiteX132" fmla="*/ 8636594 w 8636594"/>
              <a:gd name="connsiteY132" fmla="*/ 0 h 6516778"/>
              <a:gd name="connsiteX0" fmla="*/ 8636594 w 8636594"/>
              <a:gd name="connsiteY0" fmla="*/ 0 h 6502876"/>
              <a:gd name="connsiteX1" fmla="*/ 5293 w 8636594"/>
              <a:gd name="connsiteY1" fmla="*/ 0 h 6502876"/>
              <a:gd name="connsiteX2" fmla="*/ 0 w 8636594"/>
              <a:gd name="connsiteY2" fmla="*/ 5587843 h 6502876"/>
              <a:gd name="connsiteX3" fmla="*/ 1594033 w 8636594"/>
              <a:gd name="connsiteY3" fmla="*/ 5600057 h 6502876"/>
              <a:gd name="connsiteX4" fmla="*/ 1686068 w 8636594"/>
              <a:gd name="connsiteY4" fmla="*/ 5599745 h 6502876"/>
              <a:gd name="connsiteX5" fmla="*/ 2636364 w 8636594"/>
              <a:gd name="connsiteY5" fmla="*/ 6502876 h 6502876"/>
              <a:gd name="connsiteX6" fmla="*/ 2689804 w 8636594"/>
              <a:gd name="connsiteY6" fmla="*/ 6488565 h 6502876"/>
              <a:gd name="connsiteX7" fmla="*/ 2742629 w 8636594"/>
              <a:gd name="connsiteY7" fmla="*/ 6473849 h 6502876"/>
              <a:gd name="connsiteX8" fmla="*/ 2794848 w 8636594"/>
              <a:gd name="connsiteY8" fmla="*/ 6458731 h 6502876"/>
              <a:gd name="connsiteX9" fmla="*/ 2846466 w 8636594"/>
              <a:gd name="connsiteY9" fmla="*/ 6443216 h 6502876"/>
              <a:gd name="connsiteX10" fmla="*/ 2897488 w 8636594"/>
              <a:gd name="connsiteY10" fmla="*/ 6427305 h 6502876"/>
              <a:gd name="connsiteX11" fmla="*/ 2947923 w 8636594"/>
              <a:gd name="connsiteY11" fmla="*/ 6411004 h 6502876"/>
              <a:gd name="connsiteX12" fmla="*/ 2997775 w 8636594"/>
              <a:gd name="connsiteY12" fmla="*/ 6394316 h 6502876"/>
              <a:gd name="connsiteX13" fmla="*/ 3047052 w 8636594"/>
              <a:gd name="connsiteY13" fmla="*/ 6377243 h 6502876"/>
              <a:gd name="connsiteX14" fmla="*/ 3095759 w 8636594"/>
              <a:gd name="connsiteY14" fmla="*/ 6359791 h 6502876"/>
              <a:gd name="connsiteX15" fmla="*/ 3143903 w 8636594"/>
              <a:gd name="connsiteY15" fmla="*/ 6341961 h 6502876"/>
              <a:gd name="connsiteX16" fmla="*/ 3191491 w 8636594"/>
              <a:gd name="connsiteY16" fmla="*/ 6323757 h 6502876"/>
              <a:gd name="connsiteX17" fmla="*/ 3238528 w 8636594"/>
              <a:gd name="connsiteY17" fmla="*/ 6305184 h 6502876"/>
              <a:gd name="connsiteX18" fmla="*/ 3285021 w 8636594"/>
              <a:gd name="connsiteY18" fmla="*/ 6286245 h 6502876"/>
              <a:gd name="connsiteX19" fmla="*/ 3330977 w 8636594"/>
              <a:gd name="connsiteY19" fmla="*/ 6266942 h 6502876"/>
              <a:gd name="connsiteX20" fmla="*/ 3376401 w 8636594"/>
              <a:gd name="connsiteY20" fmla="*/ 6247281 h 6502876"/>
              <a:gd name="connsiteX21" fmla="*/ 3421300 w 8636594"/>
              <a:gd name="connsiteY21" fmla="*/ 6227263 h 6502876"/>
              <a:gd name="connsiteX22" fmla="*/ 3465680 w 8636594"/>
              <a:gd name="connsiteY22" fmla="*/ 6206893 h 6502876"/>
              <a:gd name="connsiteX23" fmla="*/ 3509548 w 8636594"/>
              <a:gd name="connsiteY23" fmla="*/ 6186174 h 6502876"/>
              <a:gd name="connsiteX24" fmla="*/ 3552910 w 8636594"/>
              <a:gd name="connsiteY24" fmla="*/ 6165110 h 6502876"/>
              <a:gd name="connsiteX25" fmla="*/ 3595773 w 8636594"/>
              <a:gd name="connsiteY25" fmla="*/ 6143704 h 6502876"/>
              <a:gd name="connsiteX26" fmla="*/ 3638142 w 8636594"/>
              <a:gd name="connsiteY26" fmla="*/ 6121960 h 6502876"/>
              <a:gd name="connsiteX27" fmla="*/ 3680024 w 8636594"/>
              <a:gd name="connsiteY27" fmla="*/ 6099881 h 6502876"/>
              <a:gd name="connsiteX28" fmla="*/ 3721426 w 8636594"/>
              <a:gd name="connsiteY28" fmla="*/ 6077471 h 6502876"/>
              <a:gd name="connsiteX29" fmla="*/ 3762353 w 8636594"/>
              <a:gd name="connsiteY29" fmla="*/ 6054733 h 6502876"/>
              <a:gd name="connsiteX30" fmla="*/ 3802812 w 8636594"/>
              <a:gd name="connsiteY30" fmla="*/ 6031671 h 6502876"/>
              <a:gd name="connsiteX31" fmla="*/ 3842810 w 8636594"/>
              <a:gd name="connsiteY31" fmla="*/ 6008288 h 6502876"/>
              <a:gd name="connsiteX32" fmla="*/ 3882352 w 8636594"/>
              <a:gd name="connsiteY32" fmla="*/ 5984588 h 6502876"/>
              <a:gd name="connsiteX33" fmla="*/ 3921445 w 8636594"/>
              <a:gd name="connsiteY33" fmla="*/ 5960574 h 6502876"/>
              <a:gd name="connsiteX34" fmla="*/ 3960096 w 8636594"/>
              <a:gd name="connsiteY34" fmla="*/ 5936250 h 6502876"/>
              <a:gd name="connsiteX35" fmla="*/ 3998311 w 8636594"/>
              <a:gd name="connsiteY35" fmla="*/ 5911619 h 6502876"/>
              <a:gd name="connsiteX36" fmla="*/ 4036095 w 8636594"/>
              <a:gd name="connsiteY36" fmla="*/ 5886685 h 6502876"/>
              <a:gd name="connsiteX37" fmla="*/ 4073456 w 8636594"/>
              <a:gd name="connsiteY37" fmla="*/ 5861452 h 6502876"/>
              <a:gd name="connsiteX38" fmla="*/ 4110400 w 8636594"/>
              <a:gd name="connsiteY38" fmla="*/ 5835922 h 6502876"/>
              <a:gd name="connsiteX39" fmla="*/ 4146933 w 8636594"/>
              <a:gd name="connsiteY39" fmla="*/ 5810100 h 6502876"/>
              <a:gd name="connsiteX40" fmla="*/ 4183061 w 8636594"/>
              <a:gd name="connsiteY40" fmla="*/ 5783988 h 6502876"/>
              <a:gd name="connsiteX41" fmla="*/ 4218791 w 8636594"/>
              <a:gd name="connsiteY41" fmla="*/ 5757591 h 6502876"/>
              <a:gd name="connsiteX42" fmla="*/ 4254129 w 8636594"/>
              <a:gd name="connsiteY42" fmla="*/ 5730912 h 6502876"/>
              <a:gd name="connsiteX43" fmla="*/ 4289081 w 8636594"/>
              <a:gd name="connsiteY43" fmla="*/ 5703955 h 6502876"/>
              <a:gd name="connsiteX44" fmla="*/ 4323654 w 8636594"/>
              <a:gd name="connsiteY44" fmla="*/ 5676722 h 6502876"/>
              <a:gd name="connsiteX45" fmla="*/ 4357854 w 8636594"/>
              <a:gd name="connsiteY45" fmla="*/ 5649218 h 6502876"/>
              <a:gd name="connsiteX46" fmla="*/ 4391688 w 8636594"/>
              <a:gd name="connsiteY46" fmla="*/ 5621446 h 6502876"/>
              <a:gd name="connsiteX47" fmla="*/ 4425162 w 8636594"/>
              <a:gd name="connsiteY47" fmla="*/ 5593409 h 6502876"/>
              <a:gd name="connsiteX48" fmla="*/ 4458281 w 8636594"/>
              <a:gd name="connsiteY48" fmla="*/ 5565111 h 6502876"/>
              <a:gd name="connsiteX49" fmla="*/ 4491053 w 8636594"/>
              <a:gd name="connsiteY49" fmla="*/ 5536556 h 6502876"/>
              <a:gd name="connsiteX50" fmla="*/ 4523484 w 8636594"/>
              <a:gd name="connsiteY50" fmla="*/ 5507747 h 6502876"/>
              <a:gd name="connsiteX51" fmla="*/ 4555580 w 8636594"/>
              <a:gd name="connsiteY51" fmla="*/ 5478687 h 6502876"/>
              <a:gd name="connsiteX52" fmla="*/ 4587347 w 8636594"/>
              <a:gd name="connsiteY52" fmla="*/ 5449380 h 6502876"/>
              <a:gd name="connsiteX53" fmla="*/ 4618793 w 8636594"/>
              <a:gd name="connsiteY53" fmla="*/ 5419830 h 6502876"/>
              <a:gd name="connsiteX54" fmla="*/ 4649922 w 8636594"/>
              <a:gd name="connsiteY54" fmla="*/ 5390040 h 6502876"/>
              <a:gd name="connsiteX55" fmla="*/ 4680742 w 8636594"/>
              <a:gd name="connsiteY55" fmla="*/ 5360014 h 6502876"/>
              <a:gd name="connsiteX56" fmla="*/ 4711259 w 8636594"/>
              <a:gd name="connsiteY56" fmla="*/ 5329755 h 6502876"/>
              <a:gd name="connsiteX57" fmla="*/ 4741478 w 8636594"/>
              <a:gd name="connsiteY57" fmla="*/ 5299266 h 6502876"/>
              <a:gd name="connsiteX58" fmla="*/ 4771408 w 8636594"/>
              <a:gd name="connsiteY58" fmla="*/ 5268551 h 6502876"/>
              <a:gd name="connsiteX59" fmla="*/ 4801053 w 8636594"/>
              <a:gd name="connsiteY59" fmla="*/ 5237614 h 6502876"/>
              <a:gd name="connsiteX60" fmla="*/ 4830420 w 8636594"/>
              <a:gd name="connsiteY60" fmla="*/ 5206458 h 6502876"/>
              <a:gd name="connsiteX61" fmla="*/ 4859516 w 8636594"/>
              <a:gd name="connsiteY61" fmla="*/ 5175087 h 6502876"/>
              <a:gd name="connsiteX62" fmla="*/ 4888347 w 8636594"/>
              <a:gd name="connsiteY62" fmla="*/ 5143504 h 6502876"/>
              <a:gd name="connsiteX63" fmla="*/ 4916919 w 8636594"/>
              <a:gd name="connsiteY63" fmla="*/ 5111713 h 6502876"/>
              <a:gd name="connsiteX64" fmla="*/ 4945238 w 8636594"/>
              <a:gd name="connsiteY64" fmla="*/ 5079717 h 6502876"/>
              <a:gd name="connsiteX65" fmla="*/ 4973311 w 8636594"/>
              <a:gd name="connsiteY65" fmla="*/ 5047519 h 6502876"/>
              <a:gd name="connsiteX66" fmla="*/ 5001145 w 8636594"/>
              <a:gd name="connsiteY66" fmla="*/ 5015124 h 6502876"/>
              <a:gd name="connsiteX67" fmla="*/ 5028745 w 8636594"/>
              <a:gd name="connsiteY67" fmla="*/ 4982535 h 6502876"/>
              <a:gd name="connsiteX68" fmla="*/ 5056117 w 8636594"/>
              <a:gd name="connsiteY68" fmla="*/ 4949755 h 6502876"/>
              <a:gd name="connsiteX69" fmla="*/ 5083269 w 8636594"/>
              <a:gd name="connsiteY69" fmla="*/ 4916787 h 6502876"/>
              <a:gd name="connsiteX70" fmla="*/ 5110207 w 8636594"/>
              <a:gd name="connsiteY70" fmla="*/ 4883636 h 6502876"/>
              <a:gd name="connsiteX71" fmla="*/ 5136937 w 8636594"/>
              <a:gd name="connsiteY71" fmla="*/ 4850305 h 6502876"/>
              <a:gd name="connsiteX72" fmla="*/ 5163464 w 8636594"/>
              <a:gd name="connsiteY72" fmla="*/ 4816797 h 6502876"/>
              <a:gd name="connsiteX73" fmla="*/ 5215940 w 8636594"/>
              <a:gd name="connsiteY73" fmla="*/ 4749265 h 6502876"/>
              <a:gd name="connsiteX74" fmla="*/ 5267684 w 8636594"/>
              <a:gd name="connsiteY74" fmla="*/ 4681068 h 6502876"/>
              <a:gd name="connsiteX75" fmla="*/ 5318748 w 8636594"/>
              <a:gd name="connsiteY75" fmla="*/ 4612234 h 6502876"/>
              <a:gd name="connsiteX76" fmla="*/ 5369182 w 8636594"/>
              <a:gd name="connsiteY76" fmla="*/ 4542793 h 6502876"/>
              <a:gd name="connsiteX77" fmla="*/ 5419038 w 8636594"/>
              <a:gd name="connsiteY77" fmla="*/ 4472771 h 6502876"/>
              <a:gd name="connsiteX78" fmla="*/ 5468365 w 8636594"/>
              <a:gd name="connsiteY78" fmla="*/ 4402196 h 6502876"/>
              <a:gd name="connsiteX79" fmla="*/ 5517215 w 8636594"/>
              <a:gd name="connsiteY79" fmla="*/ 4331098 h 6502876"/>
              <a:gd name="connsiteX80" fmla="*/ 5565637 w 8636594"/>
              <a:gd name="connsiteY80" fmla="*/ 4259503 h 6502876"/>
              <a:gd name="connsiteX81" fmla="*/ 5613684 w 8636594"/>
              <a:gd name="connsiteY81" fmla="*/ 4187441 h 6502876"/>
              <a:gd name="connsiteX82" fmla="*/ 5685160 w 8636594"/>
              <a:gd name="connsiteY82" fmla="*/ 4078531 h 6502876"/>
              <a:gd name="connsiteX83" fmla="*/ 5756074 w 8636594"/>
              <a:gd name="connsiteY83" fmla="*/ 3968727 h 6502876"/>
              <a:gd name="connsiteX84" fmla="*/ 5873483 w 8636594"/>
              <a:gd name="connsiteY84" fmla="*/ 3783989 h 6502876"/>
              <a:gd name="connsiteX85" fmla="*/ 6203209 w 8636594"/>
              <a:gd name="connsiteY85" fmla="*/ 3258640 h 6502876"/>
              <a:gd name="connsiteX86" fmla="*/ 6299430 w 8636594"/>
              <a:gd name="connsiteY86" fmla="*/ 3107321 h 6502876"/>
              <a:gd name="connsiteX87" fmla="*/ 6372650 w 8636594"/>
              <a:gd name="connsiteY87" fmla="*/ 2993735 h 6502876"/>
              <a:gd name="connsiteX88" fmla="*/ 6453197 w 8636594"/>
              <a:gd name="connsiteY88" fmla="*/ 2869788 h 6502876"/>
              <a:gd name="connsiteX89" fmla="*/ 6564167 w 8636594"/>
              <a:gd name="connsiteY89" fmla="*/ 2696807 h 6502876"/>
              <a:gd name="connsiteX90" fmla="*/ 6976233 w 8636594"/>
              <a:gd name="connsiteY90" fmla="*/ 2045274 h 6502876"/>
              <a:gd name="connsiteX91" fmla="*/ 7086755 w 8636594"/>
              <a:gd name="connsiteY91" fmla="*/ 1872743 h 6502876"/>
              <a:gd name="connsiteX92" fmla="*/ 7170279 w 8636594"/>
              <a:gd name="connsiteY92" fmla="*/ 1744202 h 6502876"/>
              <a:gd name="connsiteX93" fmla="*/ 7226351 w 8636594"/>
              <a:gd name="connsiteY93" fmla="*/ 1659017 h 6502876"/>
              <a:gd name="connsiteX94" fmla="*/ 7282789 w 8636594"/>
              <a:gd name="connsiteY94" fmla="*/ 1574303 h 6502876"/>
              <a:gd name="connsiteX95" fmla="*/ 7339643 w 8636594"/>
              <a:gd name="connsiteY95" fmla="*/ 1490113 h 6502876"/>
              <a:gd name="connsiteX96" fmla="*/ 7396957 w 8636594"/>
              <a:gd name="connsiteY96" fmla="*/ 1406503 h 6502876"/>
              <a:gd name="connsiteX97" fmla="*/ 7454781 w 8636594"/>
              <a:gd name="connsiteY97" fmla="*/ 1323526 h 6502876"/>
              <a:gd name="connsiteX98" fmla="*/ 7513161 w 8636594"/>
              <a:gd name="connsiteY98" fmla="*/ 1241237 h 6502876"/>
              <a:gd name="connsiteX99" fmla="*/ 7572144 w 8636594"/>
              <a:gd name="connsiteY99" fmla="*/ 1159689 h 6502876"/>
              <a:gd name="connsiteX100" fmla="*/ 7601877 w 8636594"/>
              <a:gd name="connsiteY100" fmla="*/ 1119210 h 6502876"/>
              <a:gd name="connsiteX101" fmla="*/ 7631779 w 8636594"/>
              <a:gd name="connsiteY101" fmla="*/ 1078937 h 6502876"/>
              <a:gd name="connsiteX102" fmla="*/ 7661855 w 8636594"/>
              <a:gd name="connsiteY102" fmla="*/ 1038876 h 6502876"/>
              <a:gd name="connsiteX103" fmla="*/ 7692111 w 8636594"/>
              <a:gd name="connsiteY103" fmla="*/ 999035 h 6502876"/>
              <a:gd name="connsiteX104" fmla="*/ 7722554 w 8636594"/>
              <a:gd name="connsiteY104" fmla="*/ 959419 h 6502876"/>
              <a:gd name="connsiteX105" fmla="*/ 7753190 w 8636594"/>
              <a:gd name="connsiteY105" fmla="*/ 920037 h 6502876"/>
              <a:gd name="connsiteX106" fmla="*/ 7784023 w 8636594"/>
              <a:gd name="connsiteY106" fmla="*/ 880894 h 6502876"/>
              <a:gd name="connsiteX107" fmla="*/ 7815061 w 8636594"/>
              <a:gd name="connsiteY107" fmla="*/ 841997 h 6502876"/>
              <a:gd name="connsiteX108" fmla="*/ 7846308 w 8636594"/>
              <a:gd name="connsiteY108" fmla="*/ 803354 h 6502876"/>
              <a:gd name="connsiteX109" fmla="*/ 7877772 w 8636594"/>
              <a:gd name="connsiteY109" fmla="*/ 764970 h 6502876"/>
              <a:gd name="connsiteX110" fmla="*/ 7909458 w 8636594"/>
              <a:gd name="connsiteY110" fmla="*/ 726853 h 6502876"/>
              <a:gd name="connsiteX111" fmla="*/ 7941371 w 8636594"/>
              <a:gd name="connsiteY111" fmla="*/ 689010 h 6502876"/>
              <a:gd name="connsiteX112" fmla="*/ 7973518 w 8636594"/>
              <a:gd name="connsiteY112" fmla="*/ 651447 h 6502876"/>
              <a:gd name="connsiteX113" fmla="*/ 8005905 w 8636594"/>
              <a:gd name="connsiteY113" fmla="*/ 614171 h 6502876"/>
              <a:gd name="connsiteX114" fmla="*/ 8038538 w 8636594"/>
              <a:gd name="connsiteY114" fmla="*/ 577189 h 6502876"/>
              <a:gd name="connsiteX115" fmla="*/ 8071421 w 8636594"/>
              <a:gd name="connsiteY115" fmla="*/ 540507 h 6502876"/>
              <a:gd name="connsiteX116" fmla="*/ 8104563 w 8636594"/>
              <a:gd name="connsiteY116" fmla="*/ 504132 h 6502876"/>
              <a:gd name="connsiteX117" fmla="*/ 8137967 w 8636594"/>
              <a:gd name="connsiteY117" fmla="*/ 468072 h 6502876"/>
              <a:gd name="connsiteX118" fmla="*/ 8171641 w 8636594"/>
              <a:gd name="connsiteY118" fmla="*/ 432332 h 6502876"/>
              <a:gd name="connsiteX119" fmla="*/ 8205590 w 8636594"/>
              <a:gd name="connsiteY119" fmla="*/ 396920 h 6502876"/>
              <a:gd name="connsiteX120" fmla="*/ 8239820 w 8636594"/>
              <a:gd name="connsiteY120" fmla="*/ 361843 h 6502876"/>
              <a:gd name="connsiteX121" fmla="*/ 8274337 w 8636594"/>
              <a:gd name="connsiteY121" fmla="*/ 327107 h 6502876"/>
              <a:gd name="connsiteX122" fmla="*/ 8309147 w 8636594"/>
              <a:gd name="connsiteY122" fmla="*/ 292718 h 6502876"/>
              <a:gd name="connsiteX123" fmla="*/ 8344256 w 8636594"/>
              <a:gd name="connsiteY123" fmla="*/ 258685 h 6502876"/>
              <a:gd name="connsiteX124" fmla="*/ 8379669 w 8636594"/>
              <a:gd name="connsiteY124" fmla="*/ 225013 h 6502876"/>
              <a:gd name="connsiteX125" fmla="*/ 8415394 w 8636594"/>
              <a:gd name="connsiteY125" fmla="*/ 191709 h 6502876"/>
              <a:gd name="connsiteX126" fmla="*/ 8451434 w 8636594"/>
              <a:gd name="connsiteY126" fmla="*/ 158780 h 6502876"/>
              <a:gd name="connsiteX127" fmla="*/ 8487798 w 8636594"/>
              <a:gd name="connsiteY127" fmla="*/ 126233 h 6502876"/>
              <a:gd name="connsiteX128" fmla="*/ 8524489 w 8636594"/>
              <a:gd name="connsiteY128" fmla="*/ 94075 h 6502876"/>
              <a:gd name="connsiteX129" fmla="*/ 8561515 w 8636594"/>
              <a:gd name="connsiteY129" fmla="*/ 62312 h 6502876"/>
              <a:gd name="connsiteX130" fmla="*/ 8598881 w 8636594"/>
              <a:gd name="connsiteY130" fmla="*/ 30951 h 6502876"/>
              <a:gd name="connsiteX131" fmla="*/ 8636594 w 8636594"/>
              <a:gd name="connsiteY131" fmla="*/ 0 h 6502876"/>
              <a:gd name="connsiteX0" fmla="*/ 8636594 w 8636594"/>
              <a:gd name="connsiteY0" fmla="*/ 0 h 6488565"/>
              <a:gd name="connsiteX1" fmla="*/ 5293 w 8636594"/>
              <a:gd name="connsiteY1" fmla="*/ 0 h 6488565"/>
              <a:gd name="connsiteX2" fmla="*/ 0 w 8636594"/>
              <a:gd name="connsiteY2" fmla="*/ 5587843 h 6488565"/>
              <a:gd name="connsiteX3" fmla="*/ 1594033 w 8636594"/>
              <a:gd name="connsiteY3" fmla="*/ 5600057 h 6488565"/>
              <a:gd name="connsiteX4" fmla="*/ 1686068 w 8636594"/>
              <a:gd name="connsiteY4" fmla="*/ 5599745 h 6488565"/>
              <a:gd name="connsiteX5" fmla="*/ 2689804 w 8636594"/>
              <a:gd name="connsiteY5" fmla="*/ 6488565 h 6488565"/>
              <a:gd name="connsiteX6" fmla="*/ 2742629 w 8636594"/>
              <a:gd name="connsiteY6" fmla="*/ 6473849 h 6488565"/>
              <a:gd name="connsiteX7" fmla="*/ 2794848 w 8636594"/>
              <a:gd name="connsiteY7" fmla="*/ 6458731 h 6488565"/>
              <a:gd name="connsiteX8" fmla="*/ 2846466 w 8636594"/>
              <a:gd name="connsiteY8" fmla="*/ 6443216 h 6488565"/>
              <a:gd name="connsiteX9" fmla="*/ 2897488 w 8636594"/>
              <a:gd name="connsiteY9" fmla="*/ 6427305 h 6488565"/>
              <a:gd name="connsiteX10" fmla="*/ 2947923 w 8636594"/>
              <a:gd name="connsiteY10" fmla="*/ 6411004 h 6488565"/>
              <a:gd name="connsiteX11" fmla="*/ 2997775 w 8636594"/>
              <a:gd name="connsiteY11" fmla="*/ 6394316 h 6488565"/>
              <a:gd name="connsiteX12" fmla="*/ 3047052 w 8636594"/>
              <a:gd name="connsiteY12" fmla="*/ 6377243 h 6488565"/>
              <a:gd name="connsiteX13" fmla="*/ 3095759 w 8636594"/>
              <a:gd name="connsiteY13" fmla="*/ 6359791 h 6488565"/>
              <a:gd name="connsiteX14" fmla="*/ 3143903 w 8636594"/>
              <a:gd name="connsiteY14" fmla="*/ 6341961 h 6488565"/>
              <a:gd name="connsiteX15" fmla="*/ 3191491 w 8636594"/>
              <a:gd name="connsiteY15" fmla="*/ 6323757 h 6488565"/>
              <a:gd name="connsiteX16" fmla="*/ 3238528 w 8636594"/>
              <a:gd name="connsiteY16" fmla="*/ 6305184 h 6488565"/>
              <a:gd name="connsiteX17" fmla="*/ 3285021 w 8636594"/>
              <a:gd name="connsiteY17" fmla="*/ 6286245 h 6488565"/>
              <a:gd name="connsiteX18" fmla="*/ 3330977 w 8636594"/>
              <a:gd name="connsiteY18" fmla="*/ 6266942 h 6488565"/>
              <a:gd name="connsiteX19" fmla="*/ 3376401 w 8636594"/>
              <a:gd name="connsiteY19" fmla="*/ 6247281 h 6488565"/>
              <a:gd name="connsiteX20" fmla="*/ 3421300 w 8636594"/>
              <a:gd name="connsiteY20" fmla="*/ 6227263 h 6488565"/>
              <a:gd name="connsiteX21" fmla="*/ 3465680 w 8636594"/>
              <a:gd name="connsiteY21" fmla="*/ 6206893 h 6488565"/>
              <a:gd name="connsiteX22" fmla="*/ 3509548 w 8636594"/>
              <a:gd name="connsiteY22" fmla="*/ 6186174 h 6488565"/>
              <a:gd name="connsiteX23" fmla="*/ 3552910 w 8636594"/>
              <a:gd name="connsiteY23" fmla="*/ 6165110 h 6488565"/>
              <a:gd name="connsiteX24" fmla="*/ 3595773 w 8636594"/>
              <a:gd name="connsiteY24" fmla="*/ 6143704 h 6488565"/>
              <a:gd name="connsiteX25" fmla="*/ 3638142 w 8636594"/>
              <a:gd name="connsiteY25" fmla="*/ 6121960 h 6488565"/>
              <a:gd name="connsiteX26" fmla="*/ 3680024 w 8636594"/>
              <a:gd name="connsiteY26" fmla="*/ 6099881 h 6488565"/>
              <a:gd name="connsiteX27" fmla="*/ 3721426 w 8636594"/>
              <a:gd name="connsiteY27" fmla="*/ 6077471 h 6488565"/>
              <a:gd name="connsiteX28" fmla="*/ 3762353 w 8636594"/>
              <a:gd name="connsiteY28" fmla="*/ 6054733 h 6488565"/>
              <a:gd name="connsiteX29" fmla="*/ 3802812 w 8636594"/>
              <a:gd name="connsiteY29" fmla="*/ 6031671 h 6488565"/>
              <a:gd name="connsiteX30" fmla="*/ 3842810 w 8636594"/>
              <a:gd name="connsiteY30" fmla="*/ 6008288 h 6488565"/>
              <a:gd name="connsiteX31" fmla="*/ 3882352 w 8636594"/>
              <a:gd name="connsiteY31" fmla="*/ 5984588 h 6488565"/>
              <a:gd name="connsiteX32" fmla="*/ 3921445 w 8636594"/>
              <a:gd name="connsiteY32" fmla="*/ 5960574 h 6488565"/>
              <a:gd name="connsiteX33" fmla="*/ 3960096 w 8636594"/>
              <a:gd name="connsiteY33" fmla="*/ 5936250 h 6488565"/>
              <a:gd name="connsiteX34" fmla="*/ 3998311 w 8636594"/>
              <a:gd name="connsiteY34" fmla="*/ 5911619 h 6488565"/>
              <a:gd name="connsiteX35" fmla="*/ 4036095 w 8636594"/>
              <a:gd name="connsiteY35" fmla="*/ 5886685 h 6488565"/>
              <a:gd name="connsiteX36" fmla="*/ 4073456 w 8636594"/>
              <a:gd name="connsiteY36" fmla="*/ 5861452 h 6488565"/>
              <a:gd name="connsiteX37" fmla="*/ 4110400 w 8636594"/>
              <a:gd name="connsiteY37" fmla="*/ 5835922 h 6488565"/>
              <a:gd name="connsiteX38" fmla="*/ 4146933 w 8636594"/>
              <a:gd name="connsiteY38" fmla="*/ 5810100 h 6488565"/>
              <a:gd name="connsiteX39" fmla="*/ 4183061 w 8636594"/>
              <a:gd name="connsiteY39" fmla="*/ 5783988 h 6488565"/>
              <a:gd name="connsiteX40" fmla="*/ 4218791 w 8636594"/>
              <a:gd name="connsiteY40" fmla="*/ 5757591 h 6488565"/>
              <a:gd name="connsiteX41" fmla="*/ 4254129 w 8636594"/>
              <a:gd name="connsiteY41" fmla="*/ 5730912 h 6488565"/>
              <a:gd name="connsiteX42" fmla="*/ 4289081 w 8636594"/>
              <a:gd name="connsiteY42" fmla="*/ 5703955 h 6488565"/>
              <a:gd name="connsiteX43" fmla="*/ 4323654 w 8636594"/>
              <a:gd name="connsiteY43" fmla="*/ 5676722 h 6488565"/>
              <a:gd name="connsiteX44" fmla="*/ 4357854 w 8636594"/>
              <a:gd name="connsiteY44" fmla="*/ 5649218 h 6488565"/>
              <a:gd name="connsiteX45" fmla="*/ 4391688 w 8636594"/>
              <a:gd name="connsiteY45" fmla="*/ 5621446 h 6488565"/>
              <a:gd name="connsiteX46" fmla="*/ 4425162 w 8636594"/>
              <a:gd name="connsiteY46" fmla="*/ 5593409 h 6488565"/>
              <a:gd name="connsiteX47" fmla="*/ 4458281 w 8636594"/>
              <a:gd name="connsiteY47" fmla="*/ 5565111 h 6488565"/>
              <a:gd name="connsiteX48" fmla="*/ 4491053 w 8636594"/>
              <a:gd name="connsiteY48" fmla="*/ 5536556 h 6488565"/>
              <a:gd name="connsiteX49" fmla="*/ 4523484 w 8636594"/>
              <a:gd name="connsiteY49" fmla="*/ 5507747 h 6488565"/>
              <a:gd name="connsiteX50" fmla="*/ 4555580 w 8636594"/>
              <a:gd name="connsiteY50" fmla="*/ 5478687 h 6488565"/>
              <a:gd name="connsiteX51" fmla="*/ 4587347 w 8636594"/>
              <a:gd name="connsiteY51" fmla="*/ 5449380 h 6488565"/>
              <a:gd name="connsiteX52" fmla="*/ 4618793 w 8636594"/>
              <a:gd name="connsiteY52" fmla="*/ 5419830 h 6488565"/>
              <a:gd name="connsiteX53" fmla="*/ 4649922 w 8636594"/>
              <a:gd name="connsiteY53" fmla="*/ 5390040 h 6488565"/>
              <a:gd name="connsiteX54" fmla="*/ 4680742 w 8636594"/>
              <a:gd name="connsiteY54" fmla="*/ 5360014 h 6488565"/>
              <a:gd name="connsiteX55" fmla="*/ 4711259 w 8636594"/>
              <a:gd name="connsiteY55" fmla="*/ 5329755 h 6488565"/>
              <a:gd name="connsiteX56" fmla="*/ 4741478 w 8636594"/>
              <a:gd name="connsiteY56" fmla="*/ 5299266 h 6488565"/>
              <a:gd name="connsiteX57" fmla="*/ 4771408 w 8636594"/>
              <a:gd name="connsiteY57" fmla="*/ 5268551 h 6488565"/>
              <a:gd name="connsiteX58" fmla="*/ 4801053 w 8636594"/>
              <a:gd name="connsiteY58" fmla="*/ 5237614 h 6488565"/>
              <a:gd name="connsiteX59" fmla="*/ 4830420 w 8636594"/>
              <a:gd name="connsiteY59" fmla="*/ 5206458 h 6488565"/>
              <a:gd name="connsiteX60" fmla="*/ 4859516 w 8636594"/>
              <a:gd name="connsiteY60" fmla="*/ 5175087 h 6488565"/>
              <a:gd name="connsiteX61" fmla="*/ 4888347 w 8636594"/>
              <a:gd name="connsiteY61" fmla="*/ 5143504 h 6488565"/>
              <a:gd name="connsiteX62" fmla="*/ 4916919 w 8636594"/>
              <a:gd name="connsiteY62" fmla="*/ 5111713 h 6488565"/>
              <a:gd name="connsiteX63" fmla="*/ 4945238 w 8636594"/>
              <a:gd name="connsiteY63" fmla="*/ 5079717 h 6488565"/>
              <a:gd name="connsiteX64" fmla="*/ 4973311 w 8636594"/>
              <a:gd name="connsiteY64" fmla="*/ 5047519 h 6488565"/>
              <a:gd name="connsiteX65" fmla="*/ 5001145 w 8636594"/>
              <a:gd name="connsiteY65" fmla="*/ 5015124 h 6488565"/>
              <a:gd name="connsiteX66" fmla="*/ 5028745 w 8636594"/>
              <a:gd name="connsiteY66" fmla="*/ 4982535 h 6488565"/>
              <a:gd name="connsiteX67" fmla="*/ 5056117 w 8636594"/>
              <a:gd name="connsiteY67" fmla="*/ 4949755 h 6488565"/>
              <a:gd name="connsiteX68" fmla="*/ 5083269 w 8636594"/>
              <a:gd name="connsiteY68" fmla="*/ 4916787 h 6488565"/>
              <a:gd name="connsiteX69" fmla="*/ 5110207 w 8636594"/>
              <a:gd name="connsiteY69" fmla="*/ 4883636 h 6488565"/>
              <a:gd name="connsiteX70" fmla="*/ 5136937 w 8636594"/>
              <a:gd name="connsiteY70" fmla="*/ 4850305 h 6488565"/>
              <a:gd name="connsiteX71" fmla="*/ 5163464 w 8636594"/>
              <a:gd name="connsiteY71" fmla="*/ 4816797 h 6488565"/>
              <a:gd name="connsiteX72" fmla="*/ 5215940 w 8636594"/>
              <a:gd name="connsiteY72" fmla="*/ 4749265 h 6488565"/>
              <a:gd name="connsiteX73" fmla="*/ 5267684 w 8636594"/>
              <a:gd name="connsiteY73" fmla="*/ 4681068 h 6488565"/>
              <a:gd name="connsiteX74" fmla="*/ 5318748 w 8636594"/>
              <a:gd name="connsiteY74" fmla="*/ 4612234 h 6488565"/>
              <a:gd name="connsiteX75" fmla="*/ 5369182 w 8636594"/>
              <a:gd name="connsiteY75" fmla="*/ 4542793 h 6488565"/>
              <a:gd name="connsiteX76" fmla="*/ 5419038 w 8636594"/>
              <a:gd name="connsiteY76" fmla="*/ 4472771 h 6488565"/>
              <a:gd name="connsiteX77" fmla="*/ 5468365 w 8636594"/>
              <a:gd name="connsiteY77" fmla="*/ 4402196 h 6488565"/>
              <a:gd name="connsiteX78" fmla="*/ 5517215 w 8636594"/>
              <a:gd name="connsiteY78" fmla="*/ 4331098 h 6488565"/>
              <a:gd name="connsiteX79" fmla="*/ 5565637 w 8636594"/>
              <a:gd name="connsiteY79" fmla="*/ 4259503 h 6488565"/>
              <a:gd name="connsiteX80" fmla="*/ 5613684 w 8636594"/>
              <a:gd name="connsiteY80" fmla="*/ 4187441 h 6488565"/>
              <a:gd name="connsiteX81" fmla="*/ 5685160 w 8636594"/>
              <a:gd name="connsiteY81" fmla="*/ 4078531 h 6488565"/>
              <a:gd name="connsiteX82" fmla="*/ 5756074 w 8636594"/>
              <a:gd name="connsiteY82" fmla="*/ 3968727 h 6488565"/>
              <a:gd name="connsiteX83" fmla="*/ 5873483 w 8636594"/>
              <a:gd name="connsiteY83" fmla="*/ 3783989 h 6488565"/>
              <a:gd name="connsiteX84" fmla="*/ 6203209 w 8636594"/>
              <a:gd name="connsiteY84" fmla="*/ 3258640 h 6488565"/>
              <a:gd name="connsiteX85" fmla="*/ 6299430 w 8636594"/>
              <a:gd name="connsiteY85" fmla="*/ 3107321 h 6488565"/>
              <a:gd name="connsiteX86" fmla="*/ 6372650 w 8636594"/>
              <a:gd name="connsiteY86" fmla="*/ 2993735 h 6488565"/>
              <a:gd name="connsiteX87" fmla="*/ 6453197 w 8636594"/>
              <a:gd name="connsiteY87" fmla="*/ 2869788 h 6488565"/>
              <a:gd name="connsiteX88" fmla="*/ 6564167 w 8636594"/>
              <a:gd name="connsiteY88" fmla="*/ 2696807 h 6488565"/>
              <a:gd name="connsiteX89" fmla="*/ 6976233 w 8636594"/>
              <a:gd name="connsiteY89" fmla="*/ 2045274 h 6488565"/>
              <a:gd name="connsiteX90" fmla="*/ 7086755 w 8636594"/>
              <a:gd name="connsiteY90" fmla="*/ 1872743 h 6488565"/>
              <a:gd name="connsiteX91" fmla="*/ 7170279 w 8636594"/>
              <a:gd name="connsiteY91" fmla="*/ 1744202 h 6488565"/>
              <a:gd name="connsiteX92" fmla="*/ 7226351 w 8636594"/>
              <a:gd name="connsiteY92" fmla="*/ 1659017 h 6488565"/>
              <a:gd name="connsiteX93" fmla="*/ 7282789 w 8636594"/>
              <a:gd name="connsiteY93" fmla="*/ 1574303 h 6488565"/>
              <a:gd name="connsiteX94" fmla="*/ 7339643 w 8636594"/>
              <a:gd name="connsiteY94" fmla="*/ 1490113 h 6488565"/>
              <a:gd name="connsiteX95" fmla="*/ 7396957 w 8636594"/>
              <a:gd name="connsiteY95" fmla="*/ 1406503 h 6488565"/>
              <a:gd name="connsiteX96" fmla="*/ 7454781 w 8636594"/>
              <a:gd name="connsiteY96" fmla="*/ 1323526 h 6488565"/>
              <a:gd name="connsiteX97" fmla="*/ 7513161 w 8636594"/>
              <a:gd name="connsiteY97" fmla="*/ 1241237 h 6488565"/>
              <a:gd name="connsiteX98" fmla="*/ 7572144 w 8636594"/>
              <a:gd name="connsiteY98" fmla="*/ 1159689 h 6488565"/>
              <a:gd name="connsiteX99" fmla="*/ 7601877 w 8636594"/>
              <a:gd name="connsiteY99" fmla="*/ 1119210 h 6488565"/>
              <a:gd name="connsiteX100" fmla="*/ 7631779 w 8636594"/>
              <a:gd name="connsiteY100" fmla="*/ 1078937 h 6488565"/>
              <a:gd name="connsiteX101" fmla="*/ 7661855 w 8636594"/>
              <a:gd name="connsiteY101" fmla="*/ 1038876 h 6488565"/>
              <a:gd name="connsiteX102" fmla="*/ 7692111 w 8636594"/>
              <a:gd name="connsiteY102" fmla="*/ 999035 h 6488565"/>
              <a:gd name="connsiteX103" fmla="*/ 7722554 w 8636594"/>
              <a:gd name="connsiteY103" fmla="*/ 959419 h 6488565"/>
              <a:gd name="connsiteX104" fmla="*/ 7753190 w 8636594"/>
              <a:gd name="connsiteY104" fmla="*/ 920037 h 6488565"/>
              <a:gd name="connsiteX105" fmla="*/ 7784023 w 8636594"/>
              <a:gd name="connsiteY105" fmla="*/ 880894 h 6488565"/>
              <a:gd name="connsiteX106" fmla="*/ 7815061 w 8636594"/>
              <a:gd name="connsiteY106" fmla="*/ 841997 h 6488565"/>
              <a:gd name="connsiteX107" fmla="*/ 7846308 w 8636594"/>
              <a:gd name="connsiteY107" fmla="*/ 803354 h 6488565"/>
              <a:gd name="connsiteX108" fmla="*/ 7877772 w 8636594"/>
              <a:gd name="connsiteY108" fmla="*/ 764970 h 6488565"/>
              <a:gd name="connsiteX109" fmla="*/ 7909458 w 8636594"/>
              <a:gd name="connsiteY109" fmla="*/ 726853 h 6488565"/>
              <a:gd name="connsiteX110" fmla="*/ 7941371 w 8636594"/>
              <a:gd name="connsiteY110" fmla="*/ 689010 h 6488565"/>
              <a:gd name="connsiteX111" fmla="*/ 7973518 w 8636594"/>
              <a:gd name="connsiteY111" fmla="*/ 651447 h 6488565"/>
              <a:gd name="connsiteX112" fmla="*/ 8005905 w 8636594"/>
              <a:gd name="connsiteY112" fmla="*/ 614171 h 6488565"/>
              <a:gd name="connsiteX113" fmla="*/ 8038538 w 8636594"/>
              <a:gd name="connsiteY113" fmla="*/ 577189 h 6488565"/>
              <a:gd name="connsiteX114" fmla="*/ 8071421 w 8636594"/>
              <a:gd name="connsiteY114" fmla="*/ 540507 h 6488565"/>
              <a:gd name="connsiteX115" fmla="*/ 8104563 w 8636594"/>
              <a:gd name="connsiteY115" fmla="*/ 504132 h 6488565"/>
              <a:gd name="connsiteX116" fmla="*/ 8137967 w 8636594"/>
              <a:gd name="connsiteY116" fmla="*/ 468072 h 6488565"/>
              <a:gd name="connsiteX117" fmla="*/ 8171641 w 8636594"/>
              <a:gd name="connsiteY117" fmla="*/ 432332 h 6488565"/>
              <a:gd name="connsiteX118" fmla="*/ 8205590 w 8636594"/>
              <a:gd name="connsiteY118" fmla="*/ 396920 h 6488565"/>
              <a:gd name="connsiteX119" fmla="*/ 8239820 w 8636594"/>
              <a:gd name="connsiteY119" fmla="*/ 361843 h 6488565"/>
              <a:gd name="connsiteX120" fmla="*/ 8274337 w 8636594"/>
              <a:gd name="connsiteY120" fmla="*/ 327107 h 6488565"/>
              <a:gd name="connsiteX121" fmla="*/ 8309147 w 8636594"/>
              <a:gd name="connsiteY121" fmla="*/ 292718 h 6488565"/>
              <a:gd name="connsiteX122" fmla="*/ 8344256 w 8636594"/>
              <a:gd name="connsiteY122" fmla="*/ 258685 h 6488565"/>
              <a:gd name="connsiteX123" fmla="*/ 8379669 w 8636594"/>
              <a:gd name="connsiteY123" fmla="*/ 225013 h 6488565"/>
              <a:gd name="connsiteX124" fmla="*/ 8415394 w 8636594"/>
              <a:gd name="connsiteY124" fmla="*/ 191709 h 6488565"/>
              <a:gd name="connsiteX125" fmla="*/ 8451434 w 8636594"/>
              <a:gd name="connsiteY125" fmla="*/ 158780 h 6488565"/>
              <a:gd name="connsiteX126" fmla="*/ 8487798 w 8636594"/>
              <a:gd name="connsiteY126" fmla="*/ 126233 h 6488565"/>
              <a:gd name="connsiteX127" fmla="*/ 8524489 w 8636594"/>
              <a:gd name="connsiteY127" fmla="*/ 94075 h 6488565"/>
              <a:gd name="connsiteX128" fmla="*/ 8561515 w 8636594"/>
              <a:gd name="connsiteY128" fmla="*/ 62312 h 6488565"/>
              <a:gd name="connsiteX129" fmla="*/ 8598881 w 8636594"/>
              <a:gd name="connsiteY129" fmla="*/ 30951 h 6488565"/>
              <a:gd name="connsiteX130" fmla="*/ 8636594 w 8636594"/>
              <a:gd name="connsiteY130" fmla="*/ 0 h 6488565"/>
              <a:gd name="connsiteX0" fmla="*/ 8636594 w 8636594"/>
              <a:gd name="connsiteY0" fmla="*/ 0 h 6473849"/>
              <a:gd name="connsiteX1" fmla="*/ 5293 w 8636594"/>
              <a:gd name="connsiteY1" fmla="*/ 0 h 6473849"/>
              <a:gd name="connsiteX2" fmla="*/ 0 w 8636594"/>
              <a:gd name="connsiteY2" fmla="*/ 5587843 h 6473849"/>
              <a:gd name="connsiteX3" fmla="*/ 1594033 w 8636594"/>
              <a:gd name="connsiteY3" fmla="*/ 5600057 h 6473849"/>
              <a:gd name="connsiteX4" fmla="*/ 1686068 w 8636594"/>
              <a:gd name="connsiteY4" fmla="*/ 5599745 h 6473849"/>
              <a:gd name="connsiteX5" fmla="*/ 2742629 w 8636594"/>
              <a:gd name="connsiteY5" fmla="*/ 6473849 h 6473849"/>
              <a:gd name="connsiteX6" fmla="*/ 2794848 w 8636594"/>
              <a:gd name="connsiteY6" fmla="*/ 6458731 h 6473849"/>
              <a:gd name="connsiteX7" fmla="*/ 2846466 w 8636594"/>
              <a:gd name="connsiteY7" fmla="*/ 6443216 h 6473849"/>
              <a:gd name="connsiteX8" fmla="*/ 2897488 w 8636594"/>
              <a:gd name="connsiteY8" fmla="*/ 6427305 h 6473849"/>
              <a:gd name="connsiteX9" fmla="*/ 2947923 w 8636594"/>
              <a:gd name="connsiteY9" fmla="*/ 6411004 h 6473849"/>
              <a:gd name="connsiteX10" fmla="*/ 2997775 w 8636594"/>
              <a:gd name="connsiteY10" fmla="*/ 6394316 h 6473849"/>
              <a:gd name="connsiteX11" fmla="*/ 3047052 w 8636594"/>
              <a:gd name="connsiteY11" fmla="*/ 6377243 h 6473849"/>
              <a:gd name="connsiteX12" fmla="*/ 3095759 w 8636594"/>
              <a:gd name="connsiteY12" fmla="*/ 6359791 h 6473849"/>
              <a:gd name="connsiteX13" fmla="*/ 3143903 w 8636594"/>
              <a:gd name="connsiteY13" fmla="*/ 6341961 h 6473849"/>
              <a:gd name="connsiteX14" fmla="*/ 3191491 w 8636594"/>
              <a:gd name="connsiteY14" fmla="*/ 6323757 h 6473849"/>
              <a:gd name="connsiteX15" fmla="*/ 3238528 w 8636594"/>
              <a:gd name="connsiteY15" fmla="*/ 6305184 h 6473849"/>
              <a:gd name="connsiteX16" fmla="*/ 3285021 w 8636594"/>
              <a:gd name="connsiteY16" fmla="*/ 6286245 h 6473849"/>
              <a:gd name="connsiteX17" fmla="*/ 3330977 w 8636594"/>
              <a:gd name="connsiteY17" fmla="*/ 6266942 h 6473849"/>
              <a:gd name="connsiteX18" fmla="*/ 3376401 w 8636594"/>
              <a:gd name="connsiteY18" fmla="*/ 6247281 h 6473849"/>
              <a:gd name="connsiteX19" fmla="*/ 3421300 w 8636594"/>
              <a:gd name="connsiteY19" fmla="*/ 6227263 h 6473849"/>
              <a:gd name="connsiteX20" fmla="*/ 3465680 w 8636594"/>
              <a:gd name="connsiteY20" fmla="*/ 6206893 h 6473849"/>
              <a:gd name="connsiteX21" fmla="*/ 3509548 w 8636594"/>
              <a:gd name="connsiteY21" fmla="*/ 6186174 h 6473849"/>
              <a:gd name="connsiteX22" fmla="*/ 3552910 w 8636594"/>
              <a:gd name="connsiteY22" fmla="*/ 6165110 h 6473849"/>
              <a:gd name="connsiteX23" fmla="*/ 3595773 w 8636594"/>
              <a:gd name="connsiteY23" fmla="*/ 6143704 h 6473849"/>
              <a:gd name="connsiteX24" fmla="*/ 3638142 w 8636594"/>
              <a:gd name="connsiteY24" fmla="*/ 6121960 h 6473849"/>
              <a:gd name="connsiteX25" fmla="*/ 3680024 w 8636594"/>
              <a:gd name="connsiteY25" fmla="*/ 6099881 h 6473849"/>
              <a:gd name="connsiteX26" fmla="*/ 3721426 w 8636594"/>
              <a:gd name="connsiteY26" fmla="*/ 6077471 h 6473849"/>
              <a:gd name="connsiteX27" fmla="*/ 3762353 w 8636594"/>
              <a:gd name="connsiteY27" fmla="*/ 6054733 h 6473849"/>
              <a:gd name="connsiteX28" fmla="*/ 3802812 w 8636594"/>
              <a:gd name="connsiteY28" fmla="*/ 6031671 h 6473849"/>
              <a:gd name="connsiteX29" fmla="*/ 3842810 w 8636594"/>
              <a:gd name="connsiteY29" fmla="*/ 6008288 h 6473849"/>
              <a:gd name="connsiteX30" fmla="*/ 3882352 w 8636594"/>
              <a:gd name="connsiteY30" fmla="*/ 5984588 h 6473849"/>
              <a:gd name="connsiteX31" fmla="*/ 3921445 w 8636594"/>
              <a:gd name="connsiteY31" fmla="*/ 5960574 h 6473849"/>
              <a:gd name="connsiteX32" fmla="*/ 3960096 w 8636594"/>
              <a:gd name="connsiteY32" fmla="*/ 5936250 h 6473849"/>
              <a:gd name="connsiteX33" fmla="*/ 3998311 w 8636594"/>
              <a:gd name="connsiteY33" fmla="*/ 5911619 h 6473849"/>
              <a:gd name="connsiteX34" fmla="*/ 4036095 w 8636594"/>
              <a:gd name="connsiteY34" fmla="*/ 5886685 h 6473849"/>
              <a:gd name="connsiteX35" fmla="*/ 4073456 w 8636594"/>
              <a:gd name="connsiteY35" fmla="*/ 5861452 h 6473849"/>
              <a:gd name="connsiteX36" fmla="*/ 4110400 w 8636594"/>
              <a:gd name="connsiteY36" fmla="*/ 5835922 h 6473849"/>
              <a:gd name="connsiteX37" fmla="*/ 4146933 w 8636594"/>
              <a:gd name="connsiteY37" fmla="*/ 5810100 h 6473849"/>
              <a:gd name="connsiteX38" fmla="*/ 4183061 w 8636594"/>
              <a:gd name="connsiteY38" fmla="*/ 5783988 h 6473849"/>
              <a:gd name="connsiteX39" fmla="*/ 4218791 w 8636594"/>
              <a:gd name="connsiteY39" fmla="*/ 5757591 h 6473849"/>
              <a:gd name="connsiteX40" fmla="*/ 4254129 w 8636594"/>
              <a:gd name="connsiteY40" fmla="*/ 5730912 h 6473849"/>
              <a:gd name="connsiteX41" fmla="*/ 4289081 w 8636594"/>
              <a:gd name="connsiteY41" fmla="*/ 5703955 h 6473849"/>
              <a:gd name="connsiteX42" fmla="*/ 4323654 w 8636594"/>
              <a:gd name="connsiteY42" fmla="*/ 5676722 h 6473849"/>
              <a:gd name="connsiteX43" fmla="*/ 4357854 w 8636594"/>
              <a:gd name="connsiteY43" fmla="*/ 5649218 h 6473849"/>
              <a:gd name="connsiteX44" fmla="*/ 4391688 w 8636594"/>
              <a:gd name="connsiteY44" fmla="*/ 5621446 h 6473849"/>
              <a:gd name="connsiteX45" fmla="*/ 4425162 w 8636594"/>
              <a:gd name="connsiteY45" fmla="*/ 5593409 h 6473849"/>
              <a:gd name="connsiteX46" fmla="*/ 4458281 w 8636594"/>
              <a:gd name="connsiteY46" fmla="*/ 5565111 h 6473849"/>
              <a:gd name="connsiteX47" fmla="*/ 4491053 w 8636594"/>
              <a:gd name="connsiteY47" fmla="*/ 5536556 h 6473849"/>
              <a:gd name="connsiteX48" fmla="*/ 4523484 w 8636594"/>
              <a:gd name="connsiteY48" fmla="*/ 5507747 h 6473849"/>
              <a:gd name="connsiteX49" fmla="*/ 4555580 w 8636594"/>
              <a:gd name="connsiteY49" fmla="*/ 5478687 h 6473849"/>
              <a:gd name="connsiteX50" fmla="*/ 4587347 w 8636594"/>
              <a:gd name="connsiteY50" fmla="*/ 5449380 h 6473849"/>
              <a:gd name="connsiteX51" fmla="*/ 4618793 w 8636594"/>
              <a:gd name="connsiteY51" fmla="*/ 5419830 h 6473849"/>
              <a:gd name="connsiteX52" fmla="*/ 4649922 w 8636594"/>
              <a:gd name="connsiteY52" fmla="*/ 5390040 h 6473849"/>
              <a:gd name="connsiteX53" fmla="*/ 4680742 w 8636594"/>
              <a:gd name="connsiteY53" fmla="*/ 5360014 h 6473849"/>
              <a:gd name="connsiteX54" fmla="*/ 4711259 w 8636594"/>
              <a:gd name="connsiteY54" fmla="*/ 5329755 h 6473849"/>
              <a:gd name="connsiteX55" fmla="*/ 4741478 w 8636594"/>
              <a:gd name="connsiteY55" fmla="*/ 5299266 h 6473849"/>
              <a:gd name="connsiteX56" fmla="*/ 4771408 w 8636594"/>
              <a:gd name="connsiteY56" fmla="*/ 5268551 h 6473849"/>
              <a:gd name="connsiteX57" fmla="*/ 4801053 w 8636594"/>
              <a:gd name="connsiteY57" fmla="*/ 5237614 h 6473849"/>
              <a:gd name="connsiteX58" fmla="*/ 4830420 w 8636594"/>
              <a:gd name="connsiteY58" fmla="*/ 5206458 h 6473849"/>
              <a:gd name="connsiteX59" fmla="*/ 4859516 w 8636594"/>
              <a:gd name="connsiteY59" fmla="*/ 5175087 h 6473849"/>
              <a:gd name="connsiteX60" fmla="*/ 4888347 w 8636594"/>
              <a:gd name="connsiteY60" fmla="*/ 5143504 h 6473849"/>
              <a:gd name="connsiteX61" fmla="*/ 4916919 w 8636594"/>
              <a:gd name="connsiteY61" fmla="*/ 5111713 h 6473849"/>
              <a:gd name="connsiteX62" fmla="*/ 4945238 w 8636594"/>
              <a:gd name="connsiteY62" fmla="*/ 5079717 h 6473849"/>
              <a:gd name="connsiteX63" fmla="*/ 4973311 w 8636594"/>
              <a:gd name="connsiteY63" fmla="*/ 5047519 h 6473849"/>
              <a:gd name="connsiteX64" fmla="*/ 5001145 w 8636594"/>
              <a:gd name="connsiteY64" fmla="*/ 5015124 h 6473849"/>
              <a:gd name="connsiteX65" fmla="*/ 5028745 w 8636594"/>
              <a:gd name="connsiteY65" fmla="*/ 4982535 h 6473849"/>
              <a:gd name="connsiteX66" fmla="*/ 5056117 w 8636594"/>
              <a:gd name="connsiteY66" fmla="*/ 4949755 h 6473849"/>
              <a:gd name="connsiteX67" fmla="*/ 5083269 w 8636594"/>
              <a:gd name="connsiteY67" fmla="*/ 4916787 h 6473849"/>
              <a:gd name="connsiteX68" fmla="*/ 5110207 w 8636594"/>
              <a:gd name="connsiteY68" fmla="*/ 4883636 h 6473849"/>
              <a:gd name="connsiteX69" fmla="*/ 5136937 w 8636594"/>
              <a:gd name="connsiteY69" fmla="*/ 4850305 h 6473849"/>
              <a:gd name="connsiteX70" fmla="*/ 5163464 w 8636594"/>
              <a:gd name="connsiteY70" fmla="*/ 4816797 h 6473849"/>
              <a:gd name="connsiteX71" fmla="*/ 5215940 w 8636594"/>
              <a:gd name="connsiteY71" fmla="*/ 4749265 h 6473849"/>
              <a:gd name="connsiteX72" fmla="*/ 5267684 w 8636594"/>
              <a:gd name="connsiteY72" fmla="*/ 4681068 h 6473849"/>
              <a:gd name="connsiteX73" fmla="*/ 5318748 w 8636594"/>
              <a:gd name="connsiteY73" fmla="*/ 4612234 h 6473849"/>
              <a:gd name="connsiteX74" fmla="*/ 5369182 w 8636594"/>
              <a:gd name="connsiteY74" fmla="*/ 4542793 h 6473849"/>
              <a:gd name="connsiteX75" fmla="*/ 5419038 w 8636594"/>
              <a:gd name="connsiteY75" fmla="*/ 4472771 h 6473849"/>
              <a:gd name="connsiteX76" fmla="*/ 5468365 w 8636594"/>
              <a:gd name="connsiteY76" fmla="*/ 4402196 h 6473849"/>
              <a:gd name="connsiteX77" fmla="*/ 5517215 w 8636594"/>
              <a:gd name="connsiteY77" fmla="*/ 4331098 h 6473849"/>
              <a:gd name="connsiteX78" fmla="*/ 5565637 w 8636594"/>
              <a:gd name="connsiteY78" fmla="*/ 4259503 h 6473849"/>
              <a:gd name="connsiteX79" fmla="*/ 5613684 w 8636594"/>
              <a:gd name="connsiteY79" fmla="*/ 4187441 h 6473849"/>
              <a:gd name="connsiteX80" fmla="*/ 5685160 w 8636594"/>
              <a:gd name="connsiteY80" fmla="*/ 4078531 h 6473849"/>
              <a:gd name="connsiteX81" fmla="*/ 5756074 w 8636594"/>
              <a:gd name="connsiteY81" fmla="*/ 3968727 h 6473849"/>
              <a:gd name="connsiteX82" fmla="*/ 5873483 w 8636594"/>
              <a:gd name="connsiteY82" fmla="*/ 3783989 h 6473849"/>
              <a:gd name="connsiteX83" fmla="*/ 6203209 w 8636594"/>
              <a:gd name="connsiteY83" fmla="*/ 3258640 h 6473849"/>
              <a:gd name="connsiteX84" fmla="*/ 6299430 w 8636594"/>
              <a:gd name="connsiteY84" fmla="*/ 3107321 h 6473849"/>
              <a:gd name="connsiteX85" fmla="*/ 6372650 w 8636594"/>
              <a:gd name="connsiteY85" fmla="*/ 2993735 h 6473849"/>
              <a:gd name="connsiteX86" fmla="*/ 6453197 w 8636594"/>
              <a:gd name="connsiteY86" fmla="*/ 2869788 h 6473849"/>
              <a:gd name="connsiteX87" fmla="*/ 6564167 w 8636594"/>
              <a:gd name="connsiteY87" fmla="*/ 2696807 h 6473849"/>
              <a:gd name="connsiteX88" fmla="*/ 6976233 w 8636594"/>
              <a:gd name="connsiteY88" fmla="*/ 2045274 h 6473849"/>
              <a:gd name="connsiteX89" fmla="*/ 7086755 w 8636594"/>
              <a:gd name="connsiteY89" fmla="*/ 1872743 h 6473849"/>
              <a:gd name="connsiteX90" fmla="*/ 7170279 w 8636594"/>
              <a:gd name="connsiteY90" fmla="*/ 1744202 h 6473849"/>
              <a:gd name="connsiteX91" fmla="*/ 7226351 w 8636594"/>
              <a:gd name="connsiteY91" fmla="*/ 1659017 h 6473849"/>
              <a:gd name="connsiteX92" fmla="*/ 7282789 w 8636594"/>
              <a:gd name="connsiteY92" fmla="*/ 1574303 h 6473849"/>
              <a:gd name="connsiteX93" fmla="*/ 7339643 w 8636594"/>
              <a:gd name="connsiteY93" fmla="*/ 1490113 h 6473849"/>
              <a:gd name="connsiteX94" fmla="*/ 7396957 w 8636594"/>
              <a:gd name="connsiteY94" fmla="*/ 1406503 h 6473849"/>
              <a:gd name="connsiteX95" fmla="*/ 7454781 w 8636594"/>
              <a:gd name="connsiteY95" fmla="*/ 1323526 h 6473849"/>
              <a:gd name="connsiteX96" fmla="*/ 7513161 w 8636594"/>
              <a:gd name="connsiteY96" fmla="*/ 1241237 h 6473849"/>
              <a:gd name="connsiteX97" fmla="*/ 7572144 w 8636594"/>
              <a:gd name="connsiteY97" fmla="*/ 1159689 h 6473849"/>
              <a:gd name="connsiteX98" fmla="*/ 7601877 w 8636594"/>
              <a:gd name="connsiteY98" fmla="*/ 1119210 h 6473849"/>
              <a:gd name="connsiteX99" fmla="*/ 7631779 w 8636594"/>
              <a:gd name="connsiteY99" fmla="*/ 1078937 h 6473849"/>
              <a:gd name="connsiteX100" fmla="*/ 7661855 w 8636594"/>
              <a:gd name="connsiteY100" fmla="*/ 1038876 h 6473849"/>
              <a:gd name="connsiteX101" fmla="*/ 7692111 w 8636594"/>
              <a:gd name="connsiteY101" fmla="*/ 999035 h 6473849"/>
              <a:gd name="connsiteX102" fmla="*/ 7722554 w 8636594"/>
              <a:gd name="connsiteY102" fmla="*/ 959419 h 6473849"/>
              <a:gd name="connsiteX103" fmla="*/ 7753190 w 8636594"/>
              <a:gd name="connsiteY103" fmla="*/ 920037 h 6473849"/>
              <a:gd name="connsiteX104" fmla="*/ 7784023 w 8636594"/>
              <a:gd name="connsiteY104" fmla="*/ 880894 h 6473849"/>
              <a:gd name="connsiteX105" fmla="*/ 7815061 w 8636594"/>
              <a:gd name="connsiteY105" fmla="*/ 841997 h 6473849"/>
              <a:gd name="connsiteX106" fmla="*/ 7846308 w 8636594"/>
              <a:gd name="connsiteY106" fmla="*/ 803354 h 6473849"/>
              <a:gd name="connsiteX107" fmla="*/ 7877772 w 8636594"/>
              <a:gd name="connsiteY107" fmla="*/ 764970 h 6473849"/>
              <a:gd name="connsiteX108" fmla="*/ 7909458 w 8636594"/>
              <a:gd name="connsiteY108" fmla="*/ 726853 h 6473849"/>
              <a:gd name="connsiteX109" fmla="*/ 7941371 w 8636594"/>
              <a:gd name="connsiteY109" fmla="*/ 689010 h 6473849"/>
              <a:gd name="connsiteX110" fmla="*/ 7973518 w 8636594"/>
              <a:gd name="connsiteY110" fmla="*/ 651447 h 6473849"/>
              <a:gd name="connsiteX111" fmla="*/ 8005905 w 8636594"/>
              <a:gd name="connsiteY111" fmla="*/ 614171 h 6473849"/>
              <a:gd name="connsiteX112" fmla="*/ 8038538 w 8636594"/>
              <a:gd name="connsiteY112" fmla="*/ 577189 h 6473849"/>
              <a:gd name="connsiteX113" fmla="*/ 8071421 w 8636594"/>
              <a:gd name="connsiteY113" fmla="*/ 540507 h 6473849"/>
              <a:gd name="connsiteX114" fmla="*/ 8104563 w 8636594"/>
              <a:gd name="connsiteY114" fmla="*/ 504132 h 6473849"/>
              <a:gd name="connsiteX115" fmla="*/ 8137967 w 8636594"/>
              <a:gd name="connsiteY115" fmla="*/ 468072 h 6473849"/>
              <a:gd name="connsiteX116" fmla="*/ 8171641 w 8636594"/>
              <a:gd name="connsiteY116" fmla="*/ 432332 h 6473849"/>
              <a:gd name="connsiteX117" fmla="*/ 8205590 w 8636594"/>
              <a:gd name="connsiteY117" fmla="*/ 396920 h 6473849"/>
              <a:gd name="connsiteX118" fmla="*/ 8239820 w 8636594"/>
              <a:gd name="connsiteY118" fmla="*/ 361843 h 6473849"/>
              <a:gd name="connsiteX119" fmla="*/ 8274337 w 8636594"/>
              <a:gd name="connsiteY119" fmla="*/ 327107 h 6473849"/>
              <a:gd name="connsiteX120" fmla="*/ 8309147 w 8636594"/>
              <a:gd name="connsiteY120" fmla="*/ 292718 h 6473849"/>
              <a:gd name="connsiteX121" fmla="*/ 8344256 w 8636594"/>
              <a:gd name="connsiteY121" fmla="*/ 258685 h 6473849"/>
              <a:gd name="connsiteX122" fmla="*/ 8379669 w 8636594"/>
              <a:gd name="connsiteY122" fmla="*/ 225013 h 6473849"/>
              <a:gd name="connsiteX123" fmla="*/ 8415394 w 8636594"/>
              <a:gd name="connsiteY123" fmla="*/ 191709 h 6473849"/>
              <a:gd name="connsiteX124" fmla="*/ 8451434 w 8636594"/>
              <a:gd name="connsiteY124" fmla="*/ 158780 h 6473849"/>
              <a:gd name="connsiteX125" fmla="*/ 8487798 w 8636594"/>
              <a:gd name="connsiteY125" fmla="*/ 126233 h 6473849"/>
              <a:gd name="connsiteX126" fmla="*/ 8524489 w 8636594"/>
              <a:gd name="connsiteY126" fmla="*/ 94075 h 6473849"/>
              <a:gd name="connsiteX127" fmla="*/ 8561515 w 8636594"/>
              <a:gd name="connsiteY127" fmla="*/ 62312 h 6473849"/>
              <a:gd name="connsiteX128" fmla="*/ 8598881 w 8636594"/>
              <a:gd name="connsiteY128" fmla="*/ 30951 h 6473849"/>
              <a:gd name="connsiteX129" fmla="*/ 8636594 w 8636594"/>
              <a:gd name="connsiteY129" fmla="*/ 0 h 6473849"/>
              <a:gd name="connsiteX0" fmla="*/ 8636594 w 8636594"/>
              <a:gd name="connsiteY0" fmla="*/ 0 h 6458731"/>
              <a:gd name="connsiteX1" fmla="*/ 5293 w 8636594"/>
              <a:gd name="connsiteY1" fmla="*/ 0 h 6458731"/>
              <a:gd name="connsiteX2" fmla="*/ 0 w 8636594"/>
              <a:gd name="connsiteY2" fmla="*/ 5587843 h 6458731"/>
              <a:gd name="connsiteX3" fmla="*/ 1594033 w 8636594"/>
              <a:gd name="connsiteY3" fmla="*/ 5600057 h 6458731"/>
              <a:gd name="connsiteX4" fmla="*/ 1686068 w 8636594"/>
              <a:gd name="connsiteY4" fmla="*/ 5599745 h 6458731"/>
              <a:gd name="connsiteX5" fmla="*/ 2794848 w 8636594"/>
              <a:gd name="connsiteY5" fmla="*/ 6458731 h 6458731"/>
              <a:gd name="connsiteX6" fmla="*/ 2846466 w 8636594"/>
              <a:gd name="connsiteY6" fmla="*/ 6443216 h 6458731"/>
              <a:gd name="connsiteX7" fmla="*/ 2897488 w 8636594"/>
              <a:gd name="connsiteY7" fmla="*/ 6427305 h 6458731"/>
              <a:gd name="connsiteX8" fmla="*/ 2947923 w 8636594"/>
              <a:gd name="connsiteY8" fmla="*/ 6411004 h 6458731"/>
              <a:gd name="connsiteX9" fmla="*/ 2997775 w 8636594"/>
              <a:gd name="connsiteY9" fmla="*/ 6394316 h 6458731"/>
              <a:gd name="connsiteX10" fmla="*/ 3047052 w 8636594"/>
              <a:gd name="connsiteY10" fmla="*/ 6377243 h 6458731"/>
              <a:gd name="connsiteX11" fmla="*/ 3095759 w 8636594"/>
              <a:gd name="connsiteY11" fmla="*/ 6359791 h 6458731"/>
              <a:gd name="connsiteX12" fmla="*/ 3143903 w 8636594"/>
              <a:gd name="connsiteY12" fmla="*/ 6341961 h 6458731"/>
              <a:gd name="connsiteX13" fmla="*/ 3191491 w 8636594"/>
              <a:gd name="connsiteY13" fmla="*/ 6323757 h 6458731"/>
              <a:gd name="connsiteX14" fmla="*/ 3238528 w 8636594"/>
              <a:gd name="connsiteY14" fmla="*/ 6305184 h 6458731"/>
              <a:gd name="connsiteX15" fmla="*/ 3285021 w 8636594"/>
              <a:gd name="connsiteY15" fmla="*/ 6286245 h 6458731"/>
              <a:gd name="connsiteX16" fmla="*/ 3330977 w 8636594"/>
              <a:gd name="connsiteY16" fmla="*/ 6266942 h 6458731"/>
              <a:gd name="connsiteX17" fmla="*/ 3376401 w 8636594"/>
              <a:gd name="connsiteY17" fmla="*/ 6247281 h 6458731"/>
              <a:gd name="connsiteX18" fmla="*/ 3421300 w 8636594"/>
              <a:gd name="connsiteY18" fmla="*/ 6227263 h 6458731"/>
              <a:gd name="connsiteX19" fmla="*/ 3465680 w 8636594"/>
              <a:gd name="connsiteY19" fmla="*/ 6206893 h 6458731"/>
              <a:gd name="connsiteX20" fmla="*/ 3509548 w 8636594"/>
              <a:gd name="connsiteY20" fmla="*/ 6186174 h 6458731"/>
              <a:gd name="connsiteX21" fmla="*/ 3552910 w 8636594"/>
              <a:gd name="connsiteY21" fmla="*/ 6165110 h 6458731"/>
              <a:gd name="connsiteX22" fmla="*/ 3595773 w 8636594"/>
              <a:gd name="connsiteY22" fmla="*/ 6143704 h 6458731"/>
              <a:gd name="connsiteX23" fmla="*/ 3638142 w 8636594"/>
              <a:gd name="connsiteY23" fmla="*/ 6121960 h 6458731"/>
              <a:gd name="connsiteX24" fmla="*/ 3680024 w 8636594"/>
              <a:gd name="connsiteY24" fmla="*/ 6099881 h 6458731"/>
              <a:gd name="connsiteX25" fmla="*/ 3721426 w 8636594"/>
              <a:gd name="connsiteY25" fmla="*/ 6077471 h 6458731"/>
              <a:gd name="connsiteX26" fmla="*/ 3762353 w 8636594"/>
              <a:gd name="connsiteY26" fmla="*/ 6054733 h 6458731"/>
              <a:gd name="connsiteX27" fmla="*/ 3802812 w 8636594"/>
              <a:gd name="connsiteY27" fmla="*/ 6031671 h 6458731"/>
              <a:gd name="connsiteX28" fmla="*/ 3842810 w 8636594"/>
              <a:gd name="connsiteY28" fmla="*/ 6008288 h 6458731"/>
              <a:gd name="connsiteX29" fmla="*/ 3882352 w 8636594"/>
              <a:gd name="connsiteY29" fmla="*/ 5984588 h 6458731"/>
              <a:gd name="connsiteX30" fmla="*/ 3921445 w 8636594"/>
              <a:gd name="connsiteY30" fmla="*/ 5960574 h 6458731"/>
              <a:gd name="connsiteX31" fmla="*/ 3960096 w 8636594"/>
              <a:gd name="connsiteY31" fmla="*/ 5936250 h 6458731"/>
              <a:gd name="connsiteX32" fmla="*/ 3998311 w 8636594"/>
              <a:gd name="connsiteY32" fmla="*/ 5911619 h 6458731"/>
              <a:gd name="connsiteX33" fmla="*/ 4036095 w 8636594"/>
              <a:gd name="connsiteY33" fmla="*/ 5886685 h 6458731"/>
              <a:gd name="connsiteX34" fmla="*/ 4073456 w 8636594"/>
              <a:gd name="connsiteY34" fmla="*/ 5861452 h 6458731"/>
              <a:gd name="connsiteX35" fmla="*/ 4110400 w 8636594"/>
              <a:gd name="connsiteY35" fmla="*/ 5835922 h 6458731"/>
              <a:gd name="connsiteX36" fmla="*/ 4146933 w 8636594"/>
              <a:gd name="connsiteY36" fmla="*/ 5810100 h 6458731"/>
              <a:gd name="connsiteX37" fmla="*/ 4183061 w 8636594"/>
              <a:gd name="connsiteY37" fmla="*/ 5783988 h 6458731"/>
              <a:gd name="connsiteX38" fmla="*/ 4218791 w 8636594"/>
              <a:gd name="connsiteY38" fmla="*/ 5757591 h 6458731"/>
              <a:gd name="connsiteX39" fmla="*/ 4254129 w 8636594"/>
              <a:gd name="connsiteY39" fmla="*/ 5730912 h 6458731"/>
              <a:gd name="connsiteX40" fmla="*/ 4289081 w 8636594"/>
              <a:gd name="connsiteY40" fmla="*/ 5703955 h 6458731"/>
              <a:gd name="connsiteX41" fmla="*/ 4323654 w 8636594"/>
              <a:gd name="connsiteY41" fmla="*/ 5676722 h 6458731"/>
              <a:gd name="connsiteX42" fmla="*/ 4357854 w 8636594"/>
              <a:gd name="connsiteY42" fmla="*/ 5649218 h 6458731"/>
              <a:gd name="connsiteX43" fmla="*/ 4391688 w 8636594"/>
              <a:gd name="connsiteY43" fmla="*/ 5621446 h 6458731"/>
              <a:gd name="connsiteX44" fmla="*/ 4425162 w 8636594"/>
              <a:gd name="connsiteY44" fmla="*/ 5593409 h 6458731"/>
              <a:gd name="connsiteX45" fmla="*/ 4458281 w 8636594"/>
              <a:gd name="connsiteY45" fmla="*/ 5565111 h 6458731"/>
              <a:gd name="connsiteX46" fmla="*/ 4491053 w 8636594"/>
              <a:gd name="connsiteY46" fmla="*/ 5536556 h 6458731"/>
              <a:gd name="connsiteX47" fmla="*/ 4523484 w 8636594"/>
              <a:gd name="connsiteY47" fmla="*/ 5507747 h 6458731"/>
              <a:gd name="connsiteX48" fmla="*/ 4555580 w 8636594"/>
              <a:gd name="connsiteY48" fmla="*/ 5478687 h 6458731"/>
              <a:gd name="connsiteX49" fmla="*/ 4587347 w 8636594"/>
              <a:gd name="connsiteY49" fmla="*/ 5449380 h 6458731"/>
              <a:gd name="connsiteX50" fmla="*/ 4618793 w 8636594"/>
              <a:gd name="connsiteY50" fmla="*/ 5419830 h 6458731"/>
              <a:gd name="connsiteX51" fmla="*/ 4649922 w 8636594"/>
              <a:gd name="connsiteY51" fmla="*/ 5390040 h 6458731"/>
              <a:gd name="connsiteX52" fmla="*/ 4680742 w 8636594"/>
              <a:gd name="connsiteY52" fmla="*/ 5360014 h 6458731"/>
              <a:gd name="connsiteX53" fmla="*/ 4711259 w 8636594"/>
              <a:gd name="connsiteY53" fmla="*/ 5329755 h 6458731"/>
              <a:gd name="connsiteX54" fmla="*/ 4741478 w 8636594"/>
              <a:gd name="connsiteY54" fmla="*/ 5299266 h 6458731"/>
              <a:gd name="connsiteX55" fmla="*/ 4771408 w 8636594"/>
              <a:gd name="connsiteY55" fmla="*/ 5268551 h 6458731"/>
              <a:gd name="connsiteX56" fmla="*/ 4801053 w 8636594"/>
              <a:gd name="connsiteY56" fmla="*/ 5237614 h 6458731"/>
              <a:gd name="connsiteX57" fmla="*/ 4830420 w 8636594"/>
              <a:gd name="connsiteY57" fmla="*/ 5206458 h 6458731"/>
              <a:gd name="connsiteX58" fmla="*/ 4859516 w 8636594"/>
              <a:gd name="connsiteY58" fmla="*/ 5175087 h 6458731"/>
              <a:gd name="connsiteX59" fmla="*/ 4888347 w 8636594"/>
              <a:gd name="connsiteY59" fmla="*/ 5143504 h 6458731"/>
              <a:gd name="connsiteX60" fmla="*/ 4916919 w 8636594"/>
              <a:gd name="connsiteY60" fmla="*/ 5111713 h 6458731"/>
              <a:gd name="connsiteX61" fmla="*/ 4945238 w 8636594"/>
              <a:gd name="connsiteY61" fmla="*/ 5079717 h 6458731"/>
              <a:gd name="connsiteX62" fmla="*/ 4973311 w 8636594"/>
              <a:gd name="connsiteY62" fmla="*/ 5047519 h 6458731"/>
              <a:gd name="connsiteX63" fmla="*/ 5001145 w 8636594"/>
              <a:gd name="connsiteY63" fmla="*/ 5015124 h 6458731"/>
              <a:gd name="connsiteX64" fmla="*/ 5028745 w 8636594"/>
              <a:gd name="connsiteY64" fmla="*/ 4982535 h 6458731"/>
              <a:gd name="connsiteX65" fmla="*/ 5056117 w 8636594"/>
              <a:gd name="connsiteY65" fmla="*/ 4949755 h 6458731"/>
              <a:gd name="connsiteX66" fmla="*/ 5083269 w 8636594"/>
              <a:gd name="connsiteY66" fmla="*/ 4916787 h 6458731"/>
              <a:gd name="connsiteX67" fmla="*/ 5110207 w 8636594"/>
              <a:gd name="connsiteY67" fmla="*/ 4883636 h 6458731"/>
              <a:gd name="connsiteX68" fmla="*/ 5136937 w 8636594"/>
              <a:gd name="connsiteY68" fmla="*/ 4850305 h 6458731"/>
              <a:gd name="connsiteX69" fmla="*/ 5163464 w 8636594"/>
              <a:gd name="connsiteY69" fmla="*/ 4816797 h 6458731"/>
              <a:gd name="connsiteX70" fmla="*/ 5215940 w 8636594"/>
              <a:gd name="connsiteY70" fmla="*/ 4749265 h 6458731"/>
              <a:gd name="connsiteX71" fmla="*/ 5267684 w 8636594"/>
              <a:gd name="connsiteY71" fmla="*/ 4681068 h 6458731"/>
              <a:gd name="connsiteX72" fmla="*/ 5318748 w 8636594"/>
              <a:gd name="connsiteY72" fmla="*/ 4612234 h 6458731"/>
              <a:gd name="connsiteX73" fmla="*/ 5369182 w 8636594"/>
              <a:gd name="connsiteY73" fmla="*/ 4542793 h 6458731"/>
              <a:gd name="connsiteX74" fmla="*/ 5419038 w 8636594"/>
              <a:gd name="connsiteY74" fmla="*/ 4472771 h 6458731"/>
              <a:gd name="connsiteX75" fmla="*/ 5468365 w 8636594"/>
              <a:gd name="connsiteY75" fmla="*/ 4402196 h 6458731"/>
              <a:gd name="connsiteX76" fmla="*/ 5517215 w 8636594"/>
              <a:gd name="connsiteY76" fmla="*/ 4331098 h 6458731"/>
              <a:gd name="connsiteX77" fmla="*/ 5565637 w 8636594"/>
              <a:gd name="connsiteY77" fmla="*/ 4259503 h 6458731"/>
              <a:gd name="connsiteX78" fmla="*/ 5613684 w 8636594"/>
              <a:gd name="connsiteY78" fmla="*/ 4187441 h 6458731"/>
              <a:gd name="connsiteX79" fmla="*/ 5685160 w 8636594"/>
              <a:gd name="connsiteY79" fmla="*/ 4078531 h 6458731"/>
              <a:gd name="connsiteX80" fmla="*/ 5756074 w 8636594"/>
              <a:gd name="connsiteY80" fmla="*/ 3968727 h 6458731"/>
              <a:gd name="connsiteX81" fmla="*/ 5873483 w 8636594"/>
              <a:gd name="connsiteY81" fmla="*/ 3783989 h 6458731"/>
              <a:gd name="connsiteX82" fmla="*/ 6203209 w 8636594"/>
              <a:gd name="connsiteY82" fmla="*/ 3258640 h 6458731"/>
              <a:gd name="connsiteX83" fmla="*/ 6299430 w 8636594"/>
              <a:gd name="connsiteY83" fmla="*/ 3107321 h 6458731"/>
              <a:gd name="connsiteX84" fmla="*/ 6372650 w 8636594"/>
              <a:gd name="connsiteY84" fmla="*/ 2993735 h 6458731"/>
              <a:gd name="connsiteX85" fmla="*/ 6453197 w 8636594"/>
              <a:gd name="connsiteY85" fmla="*/ 2869788 h 6458731"/>
              <a:gd name="connsiteX86" fmla="*/ 6564167 w 8636594"/>
              <a:gd name="connsiteY86" fmla="*/ 2696807 h 6458731"/>
              <a:gd name="connsiteX87" fmla="*/ 6976233 w 8636594"/>
              <a:gd name="connsiteY87" fmla="*/ 2045274 h 6458731"/>
              <a:gd name="connsiteX88" fmla="*/ 7086755 w 8636594"/>
              <a:gd name="connsiteY88" fmla="*/ 1872743 h 6458731"/>
              <a:gd name="connsiteX89" fmla="*/ 7170279 w 8636594"/>
              <a:gd name="connsiteY89" fmla="*/ 1744202 h 6458731"/>
              <a:gd name="connsiteX90" fmla="*/ 7226351 w 8636594"/>
              <a:gd name="connsiteY90" fmla="*/ 1659017 h 6458731"/>
              <a:gd name="connsiteX91" fmla="*/ 7282789 w 8636594"/>
              <a:gd name="connsiteY91" fmla="*/ 1574303 h 6458731"/>
              <a:gd name="connsiteX92" fmla="*/ 7339643 w 8636594"/>
              <a:gd name="connsiteY92" fmla="*/ 1490113 h 6458731"/>
              <a:gd name="connsiteX93" fmla="*/ 7396957 w 8636594"/>
              <a:gd name="connsiteY93" fmla="*/ 1406503 h 6458731"/>
              <a:gd name="connsiteX94" fmla="*/ 7454781 w 8636594"/>
              <a:gd name="connsiteY94" fmla="*/ 1323526 h 6458731"/>
              <a:gd name="connsiteX95" fmla="*/ 7513161 w 8636594"/>
              <a:gd name="connsiteY95" fmla="*/ 1241237 h 6458731"/>
              <a:gd name="connsiteX96" fmla="*/ 7572144 w 8636594"/>
              <a:gd name="connsiteY96" fmla="*/ 1159689 h 6458731"/>
              <a:gd name="connsiteX97" fmla="*/ 7601877 w 8636594"/>
              <a:gd name="connsiteY97" fmla="*/ 1119210 h 6458731"/>
              <a:gd name="connsiteX98" fmla="*/ 7631779 w 8636594"/>
              <a:gd name="connsiteY98" fmla="*/ 1078937 h 6458731"/>
              <a:gd name="connsiteX99" fmla="*/ 7661855 w 8636594"/>
              <a:gd name="connsiteY99" fmla="*/ 1038876 h 6458731"/>
              <a:gd name="connsiteX100" fmla="*/ 7692111 w 8636594"/>
              <a:gd name="connsiteY100" fmla="*/ 999035 h 6458731"/>
              <a:gd name="connsiteX101" fmla="*/ 7722554 w 8636594"/>
              <a:gd name="connsiteY101" fmla="*/ 959419 h 6458731"/>
              <a:gd name="connsiteX102" fmla="*/ 7753190 w 8636594"/>
              <a:gd name="connsiteY102" fmla="*/ 920037 h 6458731"/>
              <a:gd name="connsiteX103" fmla="*/ 7784023 w 8636594"/>
              <a:gd name="connsiteY103" fmla="*/ 880894 h 6458731"/>
              <a:gd name="connsiteX104" fmla="*/ 7815061 w 8636594"/>
              <a:gd name="connsiteY104" fmla="*/ 841997 h 6458731"/>
              <a:gd name="connsiteX105" fmla="*/ 7846308 w 8636594"/>
              <a:gd name="connsiteY105" fmla="*/ 803354 h 6458731"/>
              <a:gd name="connsiteX106" fmla="*/ 7877772 w 8636594"/>
              <a:gd name="connsiteY106" fmla="*/ 764970 h 6458731"/>
              <a:gd name="connsiteX107" fmla="*/ 7909458 w 8636594"/>
              <a:gd name="connsiteY107" fmla="*/ 726853 h 6458731"/>
              <a:gd name="connsiteX108" fmla="*/ 7941371 w 8636594"/>
              <a:gd name="connsiteY108" fmla="*/ 689010 h 6458731"/>
              <a:gd name="connsiteX109" fmla="*/ 7973518 w 8636594"/>
              <a:gd name="connsiteY109" fmla="*/ 651447 h 6458731"/>
              <a:gd name="connsiteX110" fmla="*/ 8005905 w 8636594"/>
              <a:gd name="connsiteY110" fmla="*/ 614171 h 6458731"/>
              <a:gd name="connsiteX111" fmla="*/ 8038538 w 8636594"/>
              <a:gd name="connsiteY111" fmla="*/ 577189 h 6458731"/>
              <a:gd name="connsiteX112" fmla="*/ 8071421 w 8636594"/>
              <a:gd name="connsiteY112" fmla="*/ 540507 h 6458731"/>
              <a:gd name="connsiteX113" fmla="*/ 8104563 w 8636594"/>
              <a:gd name="connsiteY113" fmla="*/ 504132 h 6458731"/>
              <a:gd name="connsiteX114" fmla="*/ 8137967 w 8636594"/>
              <a:gd name="connsiteY114" fmla="*/ 468072 h 6458731"/>
              <a:gd name="connsiteX115" fmla="*/ 8171641 w 8636594"/>
              <a:gd name="connsiteY115" fmla="*/ 432332 h 6458731"/>
              <a:gd name="connsiteX116" fmla="*/ 8205590 w 8636594"/>
              <a:gd name="connsiteY116" fmla="*/ 396920 h 6458731"/>
              <a:gd name="connsiteX117" fmla="*/ 8239820 w 8636594"/>
              <a:gd name="connsiteY117" fmla="*/ 361843 h 6458731"/>
              <a:gd name="connsiteX118" fmla="*/ 8274337 w 8636594"/>
              <a:gd name="connsiteY118" fmla="*/ 327107 h 6458731"/>
              <a:gd name="connsiteX119" fmla="*/ 8309147 w 8636594"/>
              <a:gd name="connsiteY119" fmla="*/ 292718 h 6458731"/>
              <a:gd name="connsiteX120" fmla="*/ 8344256 w 8636594"/>
              <a:gd name="connsiteY120" fmla="*/ 258685 h 6458731"/>
              <a:gd name="connsiteX121" fmla="*/ 8379669 w 8636594"/>
              <a:gd name="connsiteY121" fmla="*/ 225013 h 6458731"/>
              <a:gd name="connsiteX122" fmla="*/ 8415394 w 8636594"/>
              <a:gd name="connsiteY122" fmla="*/ 191709 h 6458731"/>
              <a:gd name="connsiteX123" fmla="*/ 8451434 w 8636594"/>
              <a:gd name="connsiteY123" fmla="*/ 158780 h 6458731"/>
              <a:gd name="connsiteX124" fmla="*/ 8487798 w 8636594"/>
              <a:gd name="connsiteY124" fmla="*/ 126233 h 6458731"/>
              <a:gd name="connsiteX125" fmla="*/ 8524489 w 8636594"/>
              <a:gd name="connsiteY125" fmla="*/ 94075 h 6458731"/>
              <a:gd name="connsiteX126" fmla="*/ 8561515 w 8636594"/>
              <a:gd name="connsiteY126" fmla="*/ 62312 h 6458731"/>
              <a:gd name="connsiteX127" fmla="*/ 8598881 w 8636594"/>
              <a:gd name="connsiteY127" fmla="*/ 30951 h 6458731"/>
              <a:gd name="connsiteX128" fmla="*/ 8636594 w 8636594"/>
              <a:gd name="connsiteY128" fmla="*/ 0 h 6458731"/>
              <a:gd name="connsiteX0" fmla="*/ 8636594 w 8636594"/>
              <a:gd name="connsiteY0" fmla="*/ 0 h 6443216"/>
              <a:gd name="connsiteX1" fmla="*/ 5293 w 8636594"/>
              <a:gd name="connsiteY1" fmla="*/ 0 h 6443216"/>
              <a:gd name="connsiteX2" fmla="*/ 0 w 8636594"/>
              <a:gd name="connsiteY2" fmla="*/ 5587843 h 6443216"/>
              <a:gd name="connsiteX3" fmla="*/ 1594033 w 8636594"/>
              <a:gd name="connsiteY3" fmla="*/ 5600057 h 6443216"/>
              <a:gd name="connsiteX4" fmla="*/ 1686068 w 8636594"/>
              <a:gd name="connsiteY4" fmla="*/ 5599745 h 6443216"/>
              <a:gd name="connsiteX5" fmla="*/ 2846466 w 8636594"/>
              <a:gd name="connsiteY5" fmla="*/ 6443216 h 6443216"/>
              <a:gd name="connsiteX6" fmla="*/ 2897488 w 8636594"/>
              <a:gd name="connsiteY6" fmla="*/ 6427305 h 6443216"/>
              <a:gd name="connsiteX7" fmla="*/ 2947923 w 8636594"/>
              <a:gd name="connsiteY7" fmla="*/ 6411004 h 6443216"/>
              <a:gd name="connsiteX8" fmla="*/ 2997775 w 8636594"/>
              <a:gd name="connsiteY8" fmla="*/ 6394316 h 6443216"/>
              <a:gd name="connsiteX9" fmla="*/ 3047052 w 8636594"/>
              <a:gd name="connsiteY9" fmla="*/ 6377243 h 6443216"/>
              <a:gd name="connsiteX10" fmla="*/ 3095759 w 8636594"/>
              <a:gd name="connsiteY10" fmla="*/ 6359791 h 6443216"/>
              <a:gd name="connsiteX11" fmla="*/ 3143903 w 8636594"/>
              <a:gd name="connsiteY11" fmla="*/ 6341961 h 6443216"/>
              <a:gd name="connsiteX12" fmla="*/ 3191491 w 8636594"/>
              <a:gd name="connsiteY12" fmla="*/ 6323757 h 6443216"/>
              <a:gd name="connsiteX13" fmla="*/ 3238528 w 8636594"/>
              <a:gd name="connsiteY13" fmla="*/ 6305184 h 6443216"/>
              <a:gd name="connsiteX14" fmla="*/ 3285021 w 8636594"/>
              <a:gd name="connsiteY14" fmla="*/ 6286245 h 6443216"/>
              <a:gd name="connsiteX15" fmla="*/ 3330977 w 8636594"/>
              <a:gd name="connsiteY15" fmla="*/ 6266942 h 6443216"/>
              <a:gd name="connsiteX16" fmla="*/ 3376401 w 8636594"/>
              <a:gd name="connsiteY16" fmla="*/ 6247281 h 6443216"/>
              <a:gd name="connsiteX17" fmla="*/ 3421300 w 8636594"/>
              <a:gd name="connsiteY17" fmla="*/ 6227263 h 6443216"/>
              <a:gd name="connsiteX18" fmla="*/ 3465680 w 8636594"/>
              <a:gd name="connsiteY18" fmla="*/ 6206893 h 6443216"/>
              <a:gd name="connsiteX19" fmla="*/ 3509548 w 8636594"/>
              <a:gd name="connsiteY19" fmla="*/ 6186174 h 6443216"/>
              <a:gd name="connsiteX20" fmla="*/ 3552910 w 8636594"/>
              <a:gd name="connsiteY20" fmla="*/ 6165110 h 6443216"/>
              <a:gd name="connsiteX21" fmla="*/ 3595773 w 8636594"/>
              <a:gd name="connsiteY21" fmla="*/ 6143704 h 6443216"/>
              <a:gd name="connsiteX22" fmla="*/ 3638142 w 8636594"/>
              <a:gd name="connsiteY22" fmla="*/ 6121960 h 6443216"/>
              <a:gd name="connsiteX23" fmla="*/ 3680024 w 8636594"/>
              <a:gd name="connsiteY23" fmla="*/ 6099881 h 6443216"/>
              <a:gd name="connsiteX24" fmla="*/ 3721426 w 8636594"/>
              <a:gd name="connsiteY24" fmla="*/ 6077471 h 6443216"/>
              <a:gd name="connsiteX25" fmla="*/ 3762353 w 8636594"/>
              <a:gd name="connsiteY25" fmla="*/ 6054733 h 6443216"/>
              <a:gd name="connsiteX26" fmla="*/ 3802812 w 8636594"/>
              <a:gd name="connsiteY26" fmla="*/ 6031671 h 6443216"/>
              <a:gd name="connsiteX27" fmla="*/ 3842810 w 8636594"/>
              <a:gd name="connsiteY27" fmla="*/ 6008288 h 6443216"/>
              <a:gd name="connsiteX28" fmla="*/ 3882352 w 8636594"/>
              <a:gd name="connsiteY28" fmla="*/ 5984588 h 6443216"/>
              <a:gd name="connsiteX29" fmla="*/ 3921445 w 8636594"/>
              <a:gd name="connsiteY29" fmla="*/ 5960574 h 6443216"/>
              <a:gd name="connsiteX30" fmla="*/ 3960096 w 8636594"/>
              <a:gd name="connsiteY30" fmla="*/ 5936250 h 6443216"/>
              <a:gd name="connsiteX31" fmla="*/ 3998311 w 8636594"/>
              <a:gd name="connsiteY31" fmla="*/ 5911619 h 6443216"/>
              <a:gd name="connsiteX32" fmla="*/ 4036095 w 8636594"/>
              <a:gd name="connsiteY32" fmla="*/ 5886685 h 6443216"/>
              <a:gd name="connsiteX33" fmla="*/ 4073456 w 8636594"/>
              <a:gd name="connsiteY33" fmla="*/ 5861452 h 6443216"/>
              <a:gd name="connsiteX34" fmla="*/ 4110400 w 8636594"/>
              <a:gd name="connsiteY34" fmla="*/ 5835922 h 6443216"/>
              <a:gd name="connsiteX35" fmla="*/ 4146933 w 8636594"/>
              <a:gd name="connsiteY35" fmla="*/ 5810100 h 6443216"/>
              <a:gd name="connsiteX36" fmla="*/ 4183061 w 8636594"/>
              <a:gd name="connsiteY36" fmla="*/ 5783988 h 6443216"/>
              <a:gd name="connsiteX37" fmla="*/ 4218791 w 8636594"/>
              <a:gd name="connsiteY37" fmla="*/ 5757591 h 6443216"/>
              <a:gd name="connsiteX38" fmla="*/ 4254129 w 8636594"/>
              <a:gd name="connsiteY38" fmla="*/ 5730912 h 6443216"/>
              <a:gd name="connsiteX39" fmla="*/ 4289081 w 8636594"/>
              <a:gd name="connsiteY39" fmla="*/ 5703955 h 6443216"/>
              <a:gd name="connsiteX40" fmla="*/ 4323654 w 8636594"/>
              <a:gd name="connsiteY40" fmla="*/ 5676722 h 6443216"/>
              <a:gd name="connsiteX41" fmla="*/ 4357854 w 8636594"/>
              <a:gd name="connsiteY41" fmla="*/ 5649218 h 6443216"/>
              <a:gd name="connsiteX42" fmla="*/ 4391688 w 8636594"/>
              <a:gd name="connsiteY42" fmla="*/ 5621446 h 6443216"/>
              <a:gd name="connsiteX43" fmla="*/ 4425162 w 8636594"/>
              <a:gd name="connsiteY43" fmla="*/ 5593409 h 6443216"/>
              <a:gd name="connsiteX44" fmla="*/ 4458281 w 8636594"/>
              <a:gd name="connsiteY44" fmla="*/ 5565111 h 6443216"/>
              <a:gd name="connsiteX45" fmla="*/ 4491053 w 8636594"/>
              <a:gd name="connsiteY45" fmla="*/ 5536556 h 6443216"/>
              <a:gd name="connsiteX46" fmla="*/ 4523484 w 8636594"/>
              <a:gd name="connsiteY46" fmla="*/ 5507747 h 6443216"/>
              <a:gd name="connsiteX47" fmla="*/ 4555580 w 8636594"/>
              <a:gd name="connsiteY47" fmla="*/ 5478687 h 6443216"/>
              <a:gd name="connsiteX48" fmla="*/ 4587347 w 8636594"/>
              <a:gd name="connsiteY48" fmla="*/ 5449380 h 6443216"/>
              <a:gd name="connsiteX49" fmla="*/ 4618793 w 8636594"/>
              <a:gd name="connsiteY49" fmla="*/ 5419830 h 6443216"/>
              <a:gd name="connsiteX50" fmla="*/ 4649922 w 8636594"/>
              <a:gd name="connsiteY50" fmla="*/ 5390040 h 6443216"/>
              <a:gd name="connsiteX51" fmla="*/ 4680742 w 8636594"/>
              <a:gd name="connsiteY51" fmla="*/ 5360014 h 6443216"/>
              <a:gd name="connsiteX52" fmla="*/ 4711259 w 8636594"/>
              <a:gd name="connsiteY52" fmla="*/ 5329755 h 6443216"/>
              <a:gd name="connsiteX53" fmla="*/ 4741478 w 8636594"/>
              <a:gd name="connsiteY53" fmla="*/ 5299266 h 6443216"/>
              <a:gd name="connsiteX54" fmla="*/ 4771408 w 8636594"/>
              <a:gd name="connsiteY54" fmla="*/ 5268551 h 6443216"/>
              <a:gd name="connsiteX55" fmla="*/ 4801053 w 8636594"/>
              <a:gd name="connsiteY55" fmla="*/ 5237614 h 6443216"/>
              <a:gd name="connsiteX56" fmla="*/ 4830420 w 8636594"/>
              <a:gd name="connsiteY56" fmla="*/ 5206458 h 6443216"/>
              <a:gd name="connsiteX57" fmla="*/ 4859516 w 8636594"/>
              <a:gd name="connsiteY57" fmla="*/ 5175087 h 6443216"/>
              <a:gd name="connsiteX58" fmla="*/ 4888347 w 8636594"/>
              <a:gd name="connsiteY58" fmla="*/ 5143504 h 6443216"/>
              <a:gd name="connsiteX59" fmla="*/ 4916919 w 8636594"/>
              <a:gd name="connsiteY59" fmla="*/ 5111713 h 6443216"/>
              <a:gd name="connsiteX60" fmla="*/ 4945238 w 8636594"/>
              <a:gd name="connsiteY60" fmla="*/ 5079717 h 6443216"/>
              <a:gd name="connsiteX61" fmla="*/ 4973311 w 8636594"/>
              <a:gd name="connsiteY61" fmla="*/ 5047519 h 6443216"/>
              <a:gd name="connsiteX62" fmla="*/ 5001145 w 8636594"/>
              <a:gd name="connsiteY62" fmla="*/ 5015124 h 6443216"/>
              <a:gd name="connsiteX63" fmla="*/ 5028745 w 8636594"/>
              <a:gd name="connsiteY63" fmla="*/ 4982535 h 6443216"/>
              <a:gd name="connsiteX64" fmla="*/ 5056117 w 8636594"/>
              <a:gd name="connsiteY64" fmla="*/ 4949755 h 6443216"/>
              <a:gd name="connsiteX65" fmla="*/ 5083269 w 8636594"/>
              <a:gd name="connsiteY65" fmla="*/ 4916787 h 6443216"/>
              <a:gd name="connsiteX66" fmla="*/ 5110207 w 8636594"/>
              <a:gd name="connsiteY66" fmla="*/ 4883636 h 6443216"/>
              <a:gd name="connsiteX67" fmla="*/ 5136937 w 8636594"/>
              <a:gd name="connsiteY67" fmla="*/ 4850305 h 6443216"/>
              <a:gd name="connsiteX68" fmla="*/ 5163464 w 8636594"/>
              <a:gd name="connsiteY68" fmla="*/ 4816797 h 6443216"/>
              <a:gd name="connsiteX69" fmla="*/ 5215940 w 8636594"/>
              <a:gd name="connsiteY69" fmla="*/ 4749265 h 6443216"/>
              <a:gd name="connsiteX70" fmla="*/ 5267684 w 8636594"/>
              <a:gd name="connsiteY70" fmla="*/ 4681068 h 6443216"/>
              <a:gd name="connsiteX71" fmla="*/ 5318748 w 8636594"/>
              <a:gd name="connsiteY71" fmla="*/ 4612234 h 6443216"/>
              <a:gd name="connsiteX72" fmla="*/ 5369182 w 8636594"/>
              <a:gd name="connsiteY72" fmla="*/ 4542793 h 6443216"/>
              <a:gd name="connsiteX73" fmla="*/ 5419038 w 8636594"/>
              <a:gd name="connsiteY73" fmla="*/ 4472771 h 6443216"/>
              <a:gd name="connsiteX74" fmla="*/ 5468365 w 8636594"/>
              <a:gd name="connsiteY74" fmla="*/ 4402196 h 6443216"/>
              <a:gd name="connsiteX75" fmla="*/ 5517215 w 8636594"/>
              <a:gd name="connsiteY75" fmla="*/ 4331098 h 6443216"/>
              <a:gd name="connsiteX76" fmla="*/ 5565637 w 8636594"/>
              <a:gd name="connsiteY76" fmla="*/ 4259503 h 6443216"/>
              <a:gd name="connsiteX77" fmla="*/ 5613684 w 8636594"/>
              <a:gd name="connsiteY77" fmla="*/ 4187441 h 6443216"/>
              <a:gd name="connsiteX78" fmla="*/ 5685160 w 8636594"/>
              <a:gd name="connsiteY78" fmla="*/ 4078531 h 6443216"/>
              <a:gd name="connsiteX79" fmla="*/ 5756074 w 8636594"/>
              <a:gd name="connsiteY79" fmla="*/ 3968727 h 6443216"/>
              <a:gd name="connsiteX80" fmla="*/ 5873483 w 8636594"/>
              <a:gd name="connsiteY80" fmla="*/ 3783989 h 6443216"/>
              <a:gd name="connsiteX81" fmla="*/ 6203209 w 8636594"/>
              <a:gd name="connsiteY81" fmla="*/ 3258640 h 6443216"/>
              <a:gd name="connsiteX82" fmla="*/ 6299430 w 8636594"/>
              <a:gd name="connsiteY82" fmla="*/ 3107321 h 6443216"/>
              <a:gd name="connsiteX83" fmla="*/ 6372650 w 8636594"/>
              <a:gd name="connsiteY83" fmla="*/ 2993735 h 6443216"/>
              <a:gd name="connsiteX84" fmla="*/ 6453197 w 8636594"/>
              <a:gd name="connsiteY84" fmla="*/ 2869788 h 6443216"/>
              <a:gd name="connsiteX85" fmla="*/ 6564167 w 8636594"/>
              <a:gd name="connsiteY85" fmla="*/ 2696807 h 6443216"/>
              <a:gd name="connsiteX86" fmla="*/ 6976233 w 8636594"/>
              <a:gd name="connsiteY86" fmla="*/ 2045274 h 6443216"/>
              <a:gd name="connsiteX87" fmla="*/ 7086755 w 8636594"/>
              <a:gd name="connsiteY87" fmla="*/ 1872743 h 6443216"/>
              <a:gd name="connsiteX88" fmla="*/ 7170279 w 8636594"/>
              <a:gd name="connsiteY88" fmla="*/ 1744202 h 6443216"/>
              <a:gd name="connsiteX89" fmla="*/ 7226351 w 8636594"/>
              <a:gd name="connsiteY89" fmla="*/ 1659017 h 6443216"/>
              <a:gd name="connsiteX90" fmla="*/ 7282789 w 8636594"/>
              <a:gd name="connsiteY90" fmla="*/ 1574303 h 6443216"/>
              <a:gd name="connsiteX91" fmla="*/ 7339643 w 8636594"/>
              <a:gd name="connsiteY91" fmla="*/ 1490113 h 6443216"/>
              <a:gd name="connsiteX92" fmla="*/ 7396957 w 8636594"/>
              <a:gd name="connsiteY92" fmla="*/ 1406503 h 6443216"/>
              <a:gd name="connsiteX93" fmla="*/ 7454781 w 8636594"/>
              <a:gd name="connsiteY93" fmla="*/ 1323526 h 6443216"/>
              <a:gd name="connsiteX94" fmla="*/ 7513161 w 8636594"/>
              <a:gd name="connsiteY94" fmla="*/ 1241237 h 6443216"/>
              <a:gd name="connsiteX95" fmla="*/ 7572144 w 8636594"/>
              <a:gd name="connsiteY95" fmla="*/ 1159689 h 6443216"/>
              <a:gd name="connsiteX96" fmla="*/ 7601877 w 8636594"/>
              <a:gd name="connsiteY96" fmla="*/ 1119210 h 6443216"/>
              <a:gd name="connsiteX97" fmla="*/ 7631779 w 8636594"/>
              <a:gd name="connsiteY97" fmla="*/ 1078937 h 6443216"/>
              <a:gd name="connsiteX98" fmla="*/ 7661855 w 8636594"/>
              <a:gd name="connsiteY98" fmla="*/ 1038876 h 6443216"/>
              <a:gd name="connsiteX99" fmla="*/ 7692111 w 8636594"/>
              <a:gd name="connsiteY99" fmla="*/ 999035 h 6443216"/>
              <a:gd name="connsiteX100" fmla="*/ 7722554 w 8636594"/>
              <a:gd name="connsiteY100" fmla="*/ 959419 h 6443216"/>
              <a:gd name="connsiteX101" fmla="*/ 7753190 w 8636594"/>
              <a:gd name="connsiteY101" fmla="*/ 920037 h 6443216"/>
              <a:gd name="connsiteX102" fmla="*/ 7784023 w 8636594"/>
              <a:gd name="connsiteY102" fmla="*/ 880894 h 6443216"/>
              <a:gd name="connsiteX103" fmla="*/ 7815061 w 8636594"/>
              <a:gd name="connsiteY103" fmla="*/ 841997 h 6443216"/>
              <a:gd name="connsiteX104" fmla="*/ 7846308 w 8636594"/>
              <a:gd name="connsiteY104" fmla="*/ 803354 h 6443216"/>
              <a:gd name="connsiteX105" fmla="*/ 7877772 w 8636594"/>
              <a:gd name="connsiteY105" fmla="*/ 764970 h 6443216"/>
              <a:gd name="connsiteX106" fmla="*/ 7909458 w 8636594"/>
              <a:gd name="connsiteY106" fmla="*/ 726853 h 6443216"/>
              <a:gd name="connsiteX107" fmla="*/ 7941371 w 8636594"/>
              <a:gd name="connsiteY107" fmla="*/ 689010 h 6443216"/>
              <a:gd name="connsiteX108" fmla="*/ 7973518 w 8636594"/>
              <a:gd name="connsiteY108" fmla="*/ 651447 h 6443216"/>
              <a:gd name="connsiteX109" fmla="*/ 8005905 w 8636594"/>
              <a:gd name="connsiteY109" fmla="*/ 614171 h 6443216"/>
              <a:gd name="connsiteX110" fmla="*/ 8038538 w 8636594"/>
              <a:gd name="connsiteY110" fmla="*/ 577189 h 6443216"/>
              <a:gd name="connsiteX111" fmla="*/ 8071421 w 8636594"/>
              <a:gd name="connsiteY111" fmla="*/ 540507 h 6443216"/>
              <a:gd name="connsiteX112" fmla="*/ 8104563 w 8636594"/>
              <a:gd name="connsiteY112" fmla="*/ 504132 h 6443216"/>
              <a:gd name="connsiteX113" fmla="*/ 8137967 w 8636594"/>
              <a:gd name="connsiteY113" fmla="*/ 468072 h 6443216"/>
              <a:gd name="connsiteX114" fmla="*/ 8171641 w 8636594"/>
              <a:gd name="connsiteY114" fmla="*/ 432332 h 6443216"/>
              <a:gd name="connsiteX115" fmla="*/ 8205590 w 8636594"/>
              <a:gd name="connsiteY115" fmla="*/ 396920 h 6443216"/>
              <a:gd name="connsiteX116" fmla="*/ 8239820 w 8636594"/>
              <a:gd name="connsiteY116" fmla="*/ 361843 h 6443216"/>
              <a:gd name="connsiteX117" fmla="*/ 8274337 w 8636594"/>
              <a:gd name="connsiteY117" fmla="*/ 327107 h 6443216"/>
              <a:gd name="connsiteX118" fmla="*/ 8309147 w 8636594"/>
              <a:gd name="connsiteY118" fmla="*/ 292718 h 6443216"/>
              <a:gd name="connsiteX119" fmla="*/ 8344256 w 8636594"/>
              <a:gd name="connsiteY119" fmla="*/ 258685 h 6443216"/>
              <a:gd name="connsiteX120" fmla="*/ 8379669 w 8636594"/>
              <a:gd name="connsiteY120" fmla="*/ 225013 h 6443216"/>
              <a:gd name="connsiteX121" fmla="*/ 8415394 w 8636594"/>
              <a:gd name="connsiteY121" fmla="*/ 191709 h 6443216"/>
              <a:gd name="connsiteX122" fmla="*/ 8451434 w 8636594"/>
              <a:gd name="connsiteY122" fmla="*/ 158780 h 6443216"/>
              <a:gd name="connsiteX123" fmla="*/ 8487798 w 8636594"/>
              <a:gd name="connsiteY123" fmla="*/ 126233 h 6443216"/>
              <a:gd name="connsiteX124" fmla="*/ 8524489 w 8636594"/>
              <a:gd name="connsiteY124" fmla="*/ 94075 h 6443216"/>
              <a:gd name="connsiteX125" fmla="*/ 8561515 w 8636594"/>
              <a:gd name="connsiteY125" fmla="*/ 62312 h 6443216"/>
              <a:gd name="connsiteX126" fmla="*/ 8598881 w 8636594"/>
              <a:gd name="connsiteY126" fmla="*/ 30951 h 6443216"/>
              <a:gd name="connsiteX127" fmla="*/ 8636594 w 8636594"/>
              <a:gd name="connsiteY127" fmla="*/ 0 h 6443216"/>
              <a:gd name="connsiteX0" fmla="*/ 8636594 w 8636594"/>
              <a:gd name="connsiteY0" fmla="*/ 0 h 6427305"/>
              <a:gd name="connsiteX1" fmla="*/ 5293 w 8636594"/>
              <a:gd name="connsiteY1" fmla="*/ 0 h 6427305"/>
              <a:gd name="connsiteX2" fmla="*/ 0 w 8636594"/>
              <a:gd name="connsiteY2" fmla="*/ 5587843 h 6427305"/>
              <a:gd name="connsiteX3" fmla="*/ 1594033 w 8636594"/>
              <a:gd name="connsiteY3" fmla="*/ 5600057 h 6427305"/>
              <a:gd name="connsiteX4" fmla="*/ 1686068 w 8636594"/>
              <a:gd name="connsiteY4" fmla="*/ 5599745 h 6427305"/>
              <a:gd name="connsiteX5" fmla="*/ 2897488 w 8636594"/>
              <a:gd name="connsiteY5" fmla="*/ 6427305 h 6427305"/>
              <a:gd name="connsiteX6" fmla="*/ 2947923 w 8636594"/>
              <a:gd name="connsiteY6" fmla="*/ 6411004 h 6427305"/>
              <a:gd name="connsiteX7" fmla="*/ 2997775 w 8636594"/>
              <a:gd name="connsiteY7" fmla="*/ 6394316 h 6427305"/>
              <a:gd name="connsiteX8" fmla="*/ 3047052 w 8636594"/>
              <a:gd name="connsiteY8" fmla="*/ 6377243 h 6427305"/>
              <a:gd name="connsiteX9" fmla="*/ 3095759 w 8636594"/>
              <a:gd name="connsiteY9" fmla="*/ 6359791 h 6427305"/>
              <a:gd name="connsiteX10" fmla="*/ 3143903 w 8636594"/>
              <a:gd name="connsiteY10" fmla="*/ 6341961 h 6427305"/>
              <a:gd name="connsiteX11" fmla="*/ 3191491 w 8636594"/>
              <a:gd name="connsiteY11" fmla="*/ 6323757 h 6427305"/>
              <a:gd name="connsiteX12" fmla="*/ 3238528 w 8636594"/>
              <a:gd name="connsiteY12" fmla="*/ 6305184 h 6427305"/>
              <a:gd name="connsiteX13" fmla="*/ 3285021 w 8636594"/>
              <a:gd name="connsiteY13" fmla="*/ 6286245 h 6427305"/>
              <a:gd name="connsiteX14" fmla="*/ 3330977 w 8636594"/>
              <a:gd name="connsiteY14" fmla="*/ 6266942 h 6427305"/>
              <a:gd name="connsiteX15" fmla="*/ 3376401 w 8636594"/>
              <a:gd name="connsiteY15" fmla="*/ 6247281 h 6427305"/>
              <a:gd name="connsiteX16" fmla="*/ 3421300 w 8636594"/>
              <a:gd name="connsiteY16" fmla="*/ 6227263 h 6427305"/>
              <a:gd name="connsiteX17" fmla="*/ 3465680 w 8636594"/>
              <a:gd name="connsiteY17" fmla="*/ 6206893 h 6427305"/>
              <a:gd name="connsiteX18" fmla="*/ 3509548 w 8636594"/>
              <a:gd name="connsiteY18" fmla="*/ 6186174 h 6427305"/>
              <a:gd name="connsiteX19" fmla="*/ 3552910 w 8636594"/>
              <a:gd name="connsiteY19" fmla="*/ 6165110 h 6427305"/>
              <a:gd name="connsiteX20" fmla="*/ 3595773 w 8636594"/>
              <a:gd name="connsiteY20" fmla="*/ 6143704 h 6427305"/>
              <a:gd name="connsiteX21" fmla="*/ 3638142 w 8636594"/>
              <a:gd name="connsiteY21" fmla="*/ 6121960 h 6427305"/>
              <a:gd name="connsiteX22" fmla="*/ 3680024 w 8636594"/>
              <a:gd name="connsiteY22" fmla="*/ 6099881 h 6427305"/>
              <a:gd name="connsiteX23" fmla="*/ 3721426 w 8636594"/>
              <a:gd name="connsiteY23" fmla="*/ 6077471 h 6427305"/>
              <a:gd name="connsiteX24" fmla="*/ 3762353 w 8636594"/>
              <a:gd name="connsiteY24" fmla="*/ 6054733 h 6427305"/>
              <a:gd name="connsiteX25" fmla="*/ 3802812 w 8636594"/>
              <a:gd name="connsiteY25" fmla="*/ 6031671 h 6427305"/>
              <a:gd name="connsiteX26" fmla="*/ 3842810 w 8636594"/>
              <a:gd name="connsiteY26" fmla="*/ 6008288 h 6427305"/>
              <a:gd name="connsiteX27" fmla="*/ 3882352 w 8636594"/>
              <a:gd name="connsiteY27" fmla="*/ 5984588 h 6427305"/>
              <a:gd name="connsiteX28" fmla="*/ 3921445 w 8636594"/>
              <a:gd name="connsiteY28" fmla="*/ 5960574 h 6427305"/>
              <a:gd name="connsiteX29" fmla="*/ 3960096 w 8636594"/>
              <a:gd name="connsiteY29" fmla="*/ 5936250 h 6427305"/>
              <a:gd name="connsiteX30" fmla="*/ 3998311 w 8636594"/>
              <a:gd name="connsiteY30" fmla="*/ 5911619 h 6427305"/>
              <a:gd name="connsiteX31" fmla="*/ 4036095 w 8636594"/>
              <a:gd name="connsiteY31" fmla="*/ 5886685 h 6427305"/>
              <a:gd name="connsiteX32" fmla="*/ 4073456 w 8636594"/>
              <a:gd name="connsiteY32" fmla="*/ 5861452 h 6427305"/>
              <a:gd name="connsiteX33" fmla="*/ 4110400 w 8636594"/>
              <a:gd name="connsiteY33" fmla="*/ 5835922 h 6427305"/>
              <a:gd name="connsiteX34" fmla="*/ 4146933 w 8636594"/>
              <a:gd name="connsiteY34" fmla="*/ 5810100 h 6427305"/>
              <a:gd name="connsiteX35" fmla="*/ 4183061 w 8636594"/>
              <a:gd name="connsiteY35" fmla="*/ 5783988 h 6427305"/>
              <a:gd name="connsiteX36" fmla="*/ 4218791 w 8636594"/>
              <a:gd name="connsiteY36" fmla="*/ 5757591 h 6427305"/>
              <a:gd name="connsiteX37" fmla="*/ 4254129 w 8636594"/>
              <a:gd name="connsiteY37" fmla="*/ 5730912 h 6427305"/>
              <a:gd name="connsiteX38" fmla="*/ 4289081 w 8636594"/>
              <a:gd name="connsiteY38" fmla="*/ 5703955 h 6427305"/>
              <a:gd name="connsiteX39" fmla="*/ 4323654 w 8636594"/>
              <a:gd name="connsiteY39" fmla="*/ 5676722 h 6427305"/>
              <a:gd name="connsiteX40" fmla="*/ 4357854 w 8636594"/>
              <a:gd name="connsiteY40" fmla="*/ 5649218 h 6427305"/>
              <a:gd name="connsiteX41" fmla="*/ 4391688 w 8636594"/>
              <a:gd name="connsiteY41" fmla="*/ 5621446 h 6427305"/>
              <a:gd name="connsiteX42" fmla="*/ 4425162 w 8636594"/>
              <a:gd name="connsiteY42" fmla="*/ 5593409 h 6427305"/>
              <a:gd name="connsiteX43" fmla="*/ 4458281 w 8636594"/>
              <a:gd name="connsiteY43" fmla="*/ 5565111 h 6427305"/>
              <a:gd name="connsiteX44" fmla="*/ 4491053 w 8636594"/>
              <a:gd name="connsiteY44" fmla="*/ 5536556 h 6427305"/>
              <a:gd name="connsiteX45" fmla="*/ 4523484 w 8636594"/>
              <a:gd name="connsiteY45" fmla="*/ 5507747 h 6427305"/>
              <a:gd name="connsiteX46" fmla="*/ 4555580 w 8636594"/>
              <a:gd name="connsiteY46" fmla="*/ 5478687 h 6427305"/>
              <a:gd name="connsiteX47" fmla="*/ 4587347 w 8636594"/>
              <a:gd name="connsiteY47" fmla="*/ 5449380 h 6427305"/>
              <a:gd name="connsiteX48" fmla="*/ 4618793 w 8636594"/>
              <a:gd name="connsiteY48" fmla="*/ 5419830 h 6427305"/>
              <a:gd name="connsiteX49" fmla="*/ 4649922 w 8636594"/>
              <a:gd name="connsiteY49" fmla="*/ 5390040 h 6427305"/>
              <a:gd name="connsiteX50" fmla="*/ 4680742 w 8636594"/>
              <a:gd name="connsiteY50" fmla="*/ 5360014 h 6427305"/>
              <a:gd name="connsiteX51" fmla="*/ 4711259 w 8636594"/>
              <a:gd name="connsiteY51" fmla="*/ 5329755 h 6427305"/>
              <a:gd name="connsiteX52" fmla="*/ 4741478 w 8636594"/>
              <a:gd name="connsiteY52" fmla="*/ 5299266 h 6427305"/>
              <a:gd name="connsiteX53" fmla="*/ 4771408 w 8636594"/>
              <a:gd name="connsiteY53" fmla="*/ 5268551 h 6427305"/>
              <a:gd name="connsiteX54" fmla="*/ 4801053 w 8636594"/>
              <a:gd name="connsiteY54" fmla="*/ 5237614 h 6427305"/>
              <a:gd name="connsiteX55" fmla="*/ 4830420 w 8636594"/>
              <a:gd name="connsiteY55" fmla="*/ 5206458 h 6427305"/>
              <a:gd name="connsiteX56" fmla="*/ 4859516 w 8636594"/>
              <a:gd name="connsiteY56" fmla="*/ 5175087 h 6427305"/>
              <a:gd name="connsiteX57" fmla="*/ 4888347 w 8636594"/>
              <a:gd name="connsiteY57" fmla="*/ 5143504 h 6427305"/>
              <a:gd name="connsiteX58" fmla="*/ 4916919 w 8636594"/>
              <a:gd name="connsiteY58" fmla="*/ 5111713 h 6427305"/>
              <a:gd name="connsiteX59" fmla="*/ 4945238 w 8636594"/>
              <a:gd name="connsiteY59" fmla="*/ 5079717 h 6427305"/>
              <a:gd name="connsiteX60" fmla="*/ 4973311 w 8636594"/>
              <a:gd name="connsiteY60" fmla="*/ 5047519 h 6427305"/>
              <a:gd name="connsiteX61" fmla="*/ 5001145 w 8636594"/>
              <a:gd name="connsiteY61" fmla="*/ 5015124 h 6427305"/>
              <a:gd name="connsiteX62" fmla="*/ 5028745 w 8636594"/>
              <a:gd name="connsiteY62" fmla="*/ 4982535 h 6427305"/>
              <a:gd name="connsiteX63" fmla="*/ 5056117 w 8636594"/>
              <a:gd name="connsiteY63" fmla="*/ 4949755 h 6427305"/>
              <a:gd name="connsiteX64" fmla="*/ 5083269 w 8636594"/>
              <a:gd name="connsiteY64" fmla="*/ 4916787 h 6427305"/>
              <a:gd name="connsiteX65" fmla="*/ 5110207 w 8636594"/>
              <a:gd name="connsiteY65" fmla="*/ 4883636 h 6427305"/>
              <a:gd name="connsiteX66" fmla="*/ 5136937 w 8636594"/>
              <a:gd name="connsiteY66" fmla="*/ 4850305 h 6427305"/>
              <a:gd name="connsiteX67" fmla="*/ 5163464 w 8636594"/>
              <a:gd name="connsiteY67" fmla="*/ 4816797 h 6427305"/>
              <a:gd name="connsiteX68" fmla="*/ 5215940 w 8636594"/>
              <a:gd name="connsiteY68" fmla="*/ 4749265 h 6427305"/>
              <a:gd name="connsiteX69" fmla="*/ 5267684 w 8636594"/>
              <a:gd name="connsiteY69" fmla="*/ 4681068 h 6427305"/>
              <a:gd name="connsiteX70" fmla="*/ 5318748 w 8636594"/>
              <a:gd name="connsiteY70" fmla="*/ 4612234 h 6427305"/>
              <a:gd name="connsiteX71" fmla="*/ 5369182 w 8636594"/>
              <a:gd name="connsiteY71" fmla="*/ 4542793 h 6427305"/>
              <a:gd name="connsiteX72" fmla="*/ 5419038 w 8636594"/>
              <a:gd name="connsiteY72" fmla="*/ 4472771 h 6427305"/>
              <a:gd name="connsiteX73" fmla="*/ 5468365 w 8636594"/>
              <a:gd name="connsiteY73" fmla="*/ 4402196 h 6427305"/>
              <a:gd name="connsiteX74" fmla="*/ 5517215 w 8636594"/>
              <a:gd name="connsiteY74" fmla="*/ 4331098 h 6427305"/>
              <a:gd name="connsiteX75" fmla="*/ 5565637 w 8636594"/>
              <a:gd name="connsiteY75" fmla="*/ 4259503 h 6427305"/>
              <a:gd name="connsiteX76" fmla="*/ 5613684 w 8636594"/>
              <a:gd name="connsiteY76" fmla="*/ 4187441 h 6427305"/>
              <a:gd name="connsiteX77" fmla="*/ 5685160 w 8636594"/>
              <a:gd name="connsiteY77" fmla="*/ 4078531 h 6427305"/>
              <a:gd name="connsiteX78" fmla="*/ 5756074 w 8636594"/>
              <a:gd name="connsiteY78" fmla="*/ 3968727 h 6427305"/>
              <a:gd name="connsiteX79" fmla="*/ 5873483 w 8636594"/>
              <a:gd name="connsiteY79" fmla="*/ 3783989 h 6427305"/>
              <a:gd name="connsiteX80" fmla="*/ 6203209 w 8636594"/>
              <a:gd name="connsiteY80" fmla="*/ 3258640 h 6427305"/>
              <a:gd name="connsiteX81" fmla="*/ 6299430 w 8636594"/>
              <a:gd name="connsiteY81" fmla="*/ 3107321 h 6427305"/>
              <a:gd name="connsiteX82" fmla="*/ 6372650 w 8636594"/>
              <a:gd name="connsiteY82" fmla="*/ 2993735 h 6427305"/>
              <a:gd name="connsiteX83" fmla="*/ 6453197 w 8636594"/>
              <a:gd name="connsiteY83" fmla="*/ 2869788 h 6427305"/>
              <a:gd name="connsiteX84" fmla="*/ 6564167 w 8636594"/>
              <a:gd name="connsiteY84" fmla="*/ 2696807 h 6427305"/>
              <a:gd name="connsiteX85" fmla="*/ 6976233 w 8636594"/>
              <a:gd name="connsiteY85" fmla="*/ 2045274 h 6427305"/>
              <a:gd name="connsiteX86" fmla="*/ 7086755 w 8636594"/>
              <a:gd name="connsiteY86" fmla="*/ 1872743 h 6427305"/>
              <a:gd name="connsiteX87" fmla="*/ 7170279 w 8636594"/>
              <a:gd name="connsiteY87" fmla="*/ 1744202 h 6427305"/>
              <a:gd name="connsiteX88" fmla="*/ 7226351 w 8636594"/>
              <a:gd name="connsiteY88" fmla="*/ 1659017 h 6427305"/>
              <a:gd name="connsiteX89" fmla="*/ 7282789 w 8636594"/>
              <a:gd name="connsiteY89" fmla="*/ 1574303 h 6427305"/>
              <a:gd name="connsiteX90" fmla="*/ 7339643 w 8636594"/>
              <a:gd name="connsiteY90" fmla="*/ 1490113 h 6427305"/>
              <a:gd name="connsiteX91" fmla="*/ 7396957 w 8636594"/>
              <a:gd name="connsiteY91" fmla="*/ 1406503 h 6427305"/>
              <a:gd name="connsiteX92" fmla="*/ 7454781 w 8636594"/>
              <a:gd name="connsiteY92" fmla="*/ 1323526 h 6427305"/>
              <a:gd name="connsiteX93" fmla="*/ 7513161 w 8636594"/>
              <a:gd name="connsiteY93" fmla="*/ 1241237 h 6427305"/>
              <a:gd name="connsiteX94" fmla="*/ 7572144 w 8636594"/>
              <a:gd name="connsiteY94" fmla="*/ 1159689 h 6427305"/>
              <a:gd name="connsiteX95" fmla="*/ 7601877 w 8636594"/>
              <a:gd name="connsiteY95" fmla="*/ 1119210 h 6427305"/>
              <a:gd name="connsiteX96" fmla="*/ 7631779 w 8636594"/>
              <a:gd name="connsiteY96" fmla="*/ 1078937 h 6427305"/>
              <a:gd name="connsiteX97" fmla="*/ 7661855 w 8636594"/>
              <a:gd name="connsiteY97" fmla="*/ 1038876 h 6427305"/>
              <a:gd name="connsiteX98" fmla="*/ 7692111 w 8636594"/>
              <a:gd name="connsiteY98" fmla="*/ 999035 h 6427305"/>
              <a:gd name="connsiteX99" fmla="*/ 7722554 w 8636594"/>
              <a:gd name="connsiteY99" fmla="*/ 959419 h 6427305"/>
              <a:gd name="connsiteX100" fmla="*/ 7753190 w 8636594"/>
              <a:gd name="connsiteY100" fmla="*/ 920037 h 6427305"/>
              <a:gd name="connsiteX101" fmla="*/ 7784023 w 8636594"/>
              <a:gd name="connsiteY101" fmla="*/ 880894 h 6427305"/>
              <a:gd name="connsiteX102" fmla="*/ 7815061 w 8636594"/>
              <a:gd name="connsiteY102" fmla="*/ 841997 h 6427305"/>
              <a:gd name="connsiteX103" fmla="*/ 7846308 w 8636594"/>
              <a:gd name="connsiteY103" fmla="*/ 803354 h 6427305"/>
              <a:gd name="connsiteX104" fmla="*/ 7877772 w 8636594"/>
              <a:gd name="connsiteY104" fmla="*/ 764970 h 6427305"/>
              <a:gd name="connsiteX105" fmla="*/ 7909458 w 8636594"/>
              <a:gd name="connsiteY105" fmla="*/ 726853 h 6427305"/>
              <a:gd name="connsiteX106" fmla="*/ 7941371 w 8636594"/>
              <a:gd name="connsiteY106" fmla="*/ 689010 h 6427305"/>
              <a:gd name="connsiteX107" fmla="*/ 7973518 w 8636594"/>
              <a:gd name="connsiteY107" fmla="*/ 651447 h 6427305"/>
              <a:gd name="connsiteX108" fmla="*/ 8005905 w 8636594"/>
              <a:gd name="connsiteY108" fmla="*/ 614171 h 6427305"/>
              <a:gd name="connsiteX109" fmla="*/ 8038538 w 8636594"/>
              <a:gd name="connsiteY109" fmla="*/ 577189 h 6427305"/>
              <a:gd name="connsiteX110" fmla="*/ 8071421 w 8636594"/>
              <a:gd name="connsiteY110" fmla="*/ 540507 h 6427305"/>
              <a:gd name="connsiteX111" fmla="*/ 8104563 w 8636594"/>
              <a:gd name="connsiteY111" fmla="*/ 504132 h 6427305"/>
              <a:gd name="connsiteX112" fmla="*/ 8137967 w 8636594"/>
              <a:gd name="connsiteY112" fmla="*/ 468072 h 6427305"/>
              <a:gd name="connsiteX113" fmla="*/ 8171641 w 8636594"/>
              <a:gd name="connsiteY113" fmla="*/ 432332 h 6427305"/>
              <a:gd name="connsiteX114" fmla="*/ 8205590 w 8636594"/>
              <a:gd name="connsiteY114" fmla="*/ 396920 h 6427305"/>
              <a:gd name="connsiteX115" fmla="*/ 8239820 w 8636594"/>
              <a:gd name="connsiteY115" fmla="*/ 361843 h 6427305"/>
              <a:gd name="connsiteX116" fmla="*/ 8274337 w 8636594"/>
              <a:gd name="connsiteY116" fmla="*/ 327107 h 6427305"/>
              <a:gd name="connsiteX117" fmla="*/ 8309147 w 8636594"/>
              <a:gd name="connsiteY117" fmla="*/ 292718 h 6427305"/>
              <a:gd name="connsiteX118" fmla="*/ 8344256 w 8636594"/>
              <a:gd name="connsiteY118" fmla="*/ 258685 h 6427305"/>
              <a:gd name="connsiteX119" fmla="*/ 8379669 w 8636594"/>
              <a:gd name="connsiteY119" fmla="*/ 225013 h 6427305"/>
              <a:gd name="connsiteX120" fmla="*/ 8415394 w 8636594"/>
              <a:gd name="connsiteY120" fmla="*/ 191709 h 6427305"/>
              <a:gd name="connsiteX121" fmla="*/ 8451434 w 8636594"/>
              <a:gd name="connsiteY121" fmla="*/ 158780 h 6427305"/>
              <a:gd name="connsiteX122" fmla="*/ 8487798 w 8636594"/>
              <a:gd name="connsiteY122" fmla="*/ 126233 h 6427305"/>
              <a:gd name="connsiteX123" fmla="*/ 8524489 w 8636594"/>
              <a:gd name="connsiteY123" fmla="*/ 94075 h 6427305"/>
              <a:gd name="connsiteX124" fmla="*/ 8561515 w 8636594"/>
              <a:gd name="connsiteY124" fmla="*/ 62312 h 6427305"/>
              <a:gd name="connsiteX125" fmla="*/ 8598881 w 8636594"/>
              <a:gd name="connsiteY125" fmla="*/ 30951 h 6427305"/>
              <a:gd name="connsiteX126" fmla="*/ 8636594 w 8636594"/>
              <a:gd name="connsiteY126" fmla="*/ 0 h 6427305"/>
              <a:gd name="connsiteX0" fmla="*/ 8636594 w 8636594"/>
              <a:gd name="connsiteY0" fmla="*/ 0 h 6411004"/>
              <a:gd name="connsiteX1" fmla="*/ 5293 w 8636594"/>
              <a:gd name="connsiteY1" fmla="*/ 0 h 6411004"/>
              <a:gd name="connsiteX2" fmla="*/ 0 w 8636594"/>
              <a:gd name="connsiteY2" fmla="*/ 5587843 h 6411004"/>
              <a:gd name="connsiteX3" fmla="*/ 1594033 w 8636594"/>
              <a:gd name="connsiteY3" fmla="*/ 5600057 h 6411004"/>
              <a:gd name="connsiteX4" fmla="*/ 1686068 w 8636594"/>
              <a:gd name="connsiteY4" fmla="*/ 5599745 h 6411004"/>
              <a:gd name="connsiteX5" fmla="*/ 2947923 w 8636594"/>
              <a:gd name="connsiteY5" fmla="*/ 6411004 h 6411004"/>
              <a:gd name="connsiteX6" fmla="*/ 2997775 w 8636594"/>
              <a:gd name="connsiteY6" fmla="*/ 6394316 h 6411004"/>
              <a:gd name="connsiteX7" fmla="*/ 3047052 w 8636594"/>
              <a:gd name="connsiteY7" fmla="*/ 6377243 h 6411004"/>
              <a:gd name="connsiteX8" fmla="*/ 3095759 w 8636594"/>
              <a:gd name="connsiteY8" fmla="*/ 6359791 h 6411004"/>
              <a:gd name="connsiteX9" fmla="*/ 3143903 w 8636594"/>
              <a:gd name="connsiteY9" fmla="*/ 6341961 h 6411004"/>
              <a:gd name="connsiteX10" fmla="*/ 3191491 w 8636594"/>
              <a:gd name="connsiteY10" fmla="*/ 6323757 h 6411004"/>
              <a:gd name="connsiteX11" fmla="*/ 3238528 w 8636594"/>
              <a:gd name="connsiteY11" fmla="*/ 6305184 h 6411004"/>
              <a:gd name="connsiteX12" fmla="*/ 3285021 w 8636594"/>
              <a:gd name="connsiteY12" fmla="*/ 6286245 h 6411004"/>
              <a:gd name="connsiteX13" fmla="*/ 3330977 w 8636594"/>
              <a:gd name="connsiteY13" fmla="*/ 6266942 h 6411004"/>
              <a:gd name="connsiteX14" fmla="*/ 3376401 w 8636594"/>
              <a:gd name="connsiteY14" fmla="*/ 6247281 h 6411004"/>
              <a:gd name="connsiteX15" fmla="*/ 3421300 w 8636594"/>
              <a:gd name="connsiteY15" fmla="*/ 6227263 h 6411004"/>
              <a:gd name="connsiteX16" fmla="*/ 3465680 w 8636594"/>
              <a:gd name="connsiteY16" fmla="*/ 6206893 h 6411004"/>
              <a:gd name="connsiteX17" fmla="*/ 3509548 w 8636594"/>
              <a:gd name="connsiteY17" fmla="*/ 6186174 h 6411004"/>
              <a:gd name="connsiteX18" fmla="*/ 3552910 w 8636594"/>
              <a:gd name="connsiteY18" fmla="*/ 6165110 h 6411004"/>
              <a:gd name="connsiteX19" fmla="*/ 3595773 w 8636594"/>
              <a:gd name="connsiteY19" fmla="*/ 6143704 h 6411004"/>
              <a:gd name="connsiteX20" fmla="*/ 3638142 w 8636594"/>
              <a:gd name="connsiteY20" fmla="*/ 6121960 h 6411004"/>
              <a:gd name="connsiteX21" fmla="*/ 3680024 w 8636594"/>
              <a:gd name="connsiteY21" fmla="*/ 6099881 h 6411004"/>
              <a:gd name="connsiteX22" fmla="*/ 3721426 w 8636594"/>
              <a:gd name="connsiteY22" fmla="*/ 6077471 h 6411004"/>
              <a:gd name="connsiteX23" fmla="*/ 3762353 w 8636594"/>
              <a:gd name="connsiteY23" fmla="*/ 6054733 h 6411004"/>
              <a:gd name="connsiteX24" fmla="*/ 3802812 w 8636594"/>
              <a:gd name="connsiteY24" fmla="*/ 6031671 h 6411004"/>
              <a:gd name="connsiteX25" fmla="*/ 3842810 w 8636594"/>
              <a:gd name="connsiteY25" fmla="*/ 6008288 h 6411004"/>
              <a:gd name="connsiteX26" fmla="*/ 3882352 w 8636594"/>
              <a:gd name="connsiteY26" fmla="*/ 5984588 h 6411004"/>
              <a:gd name="connsiteX27" fmla="*/ 3921445 w 8636594"/>
              <a:gd name="connsiteY27" fmla="*/ 5960574 h 6411004"/>
              <a:gd name="connsiteX28" fmla="*/ 3960096 w 8636594"/>
              <a:gd name="connsiteY28" fmla="*/ 5936250 h 6411004"/>
              <a:gd name="connsiteX29" fmla="*/ 3998311 w 8636594"/>
              <a:gd name="connsiteY29" fmla="*/ 5911619 h 6411004"/>
              <a:gd name="connsiteX30" fmla="*/ 4036095 w 8636594"/>
              <a:gd name="connsiteY30" fmla="*/ 5886685 h 6411004"/>
              <a:gd name="connsiteX31" fmla="*/ 4073456 w 8636594"/>
              <a:gd name="connsiteY31" fmla="*/ 5861452 h 6411004"/>
              <a:gd name="connsiteX32" fmla="*/ 4110400 w 8636594"/>
              <a:gd name="connsiteY32" fmla="*/ 5835922 h 6411004"/>
              <a:gd name="connsiteX33" fmla="*/ 4146933 w 8636594"/>
              <a:gd name="connsiteY33" fmla="*/ 5810100 h 6411004"/>
              <a:gd name="connsiteX34" fmla="*/ 4183061 w 8636594"/>
              <a:gd name="connsiteY34" fmla="*/ 5783988 h 6411004"/>
              <a:gd name="connsiteX35" fmla="*/ 4218791 w 8636594"/>
              <a:gd name="connsiteY35" fmla="*/ 5757591 h 6411004"/>
              <a:gd name="connsiteX36" fmla="*/ 4254129 w 8636594"/>
              <a:gd name="connsiteY36" fmla="*/ 5730912 h 6411004"/>
              <a:gd name="connsiteX37" fmla="*/ 4289081 w 8636594"/>
              <a:gd name="connsiteY37" fmla="*/ 5703955 h 6411004"/>
              <a:gd name="connsiteX38" fmla="*/ 4323654 w 8636594"/>
              <a:gd name="connsiteY38" fmla="*/ 5676722 h 6411004"/>
              <a:gd name="connsiteX39" fmla="*/ 4357854 w 8636594"/>
              <a:gd name="connsiteY39" fmla="*/ 5649218 h 6411004"/>
              <a:gd name="connsiteX40" fmla="*/ 4391688 w 8636594"/>
              <a:gd name="connsiteY40" fmla="*/ 5621446 h 6411004"/>
              <a:gd name="connsiteX41" fmla="*/ 4425162 w 8636594"/>
              <a:gd name="connsiteY41" fmla="*/ 5593409 h 6411004"/>
              <a:gd name="connsiteX42" fmla="*/ 4458281 w 8636594"/>
              <a:gd name="connsiteY42" fmla="*/ 5565111 h 6411004"/>
              <a:gd name="connsiteX43" fmla="*/ 4491053 w 8636594"/>
              <a:gd name="connsiteY43" fmla="*/ 5536556 h 6411004"/>
              <a:gd name="connsiteX44" fmla="*/ 4523484 w 8636594"/>
              <a:gd name="connsiteY44" fmla="*/ 5507747 h 6411004"/>
              <a:gd name="connsiteX45" fmla="*/ 4555580 w 8636594"/>
              <a:gd name="connsiteY45" fmla="*/ 5478687 h 6411004"/>
              <a:gd name="connsiteX46" fmla="*/ 4587347 w 8636594"/>
              <a:gd name="connsiteY46" fmla="*/ 5449380 h 6411004"/>
              <a:gd name="connsiteX47" fmla="*/ 4618793 w 8636594"/>
              <a:gd name="connsiteY47" fmla="*/ 5419830 h 6411004"/>
              <a:gd name="connsiteX48" fmla="*/ 4649922 w 8636594"/>
              <a:gd name="connsiteY48" fmla="*/ 5390040 h 6411004"/>
              <a:gd name="connsiteX49" fmla="*/ 4680742 w 8636594"/>
              <a:gd name="connsiteY49" fmla="*/ 5360014 h 6411004"/>
              <a:gd name="connsiteX50" fmla="*/ 4711259 w 8636594"/>
              <a:gd name="connsiteY50" fmla="*/ 5329755 h 6411004"/>
              <a:gd name="connsiteX51" fmla="*/ 4741478 w 8636594"/>
              <a:gd name="connsiteY51" fmla="*/ 5299266 h 6411004"/>
              <a:gd name="connsiteX52" fmla="*/ 4771408 w 8636594"/>
              <a:gd name="connsiteY52" fmla="*/ 5268551 h 6411004"/>
              <a:gd name="connsiteX53" fmla="*/ 4801053 w 8636594"/>
              <a:gd name="connsiteY53" fmla="*/ 5237614 h 6411004"/>
              <a:gd name="connsiteX54" fmla="*/ 4830420 w 8636594"/>
              <a:gd name="connsiteY54" fmla="*/ 5206458 h 6411004"/>
              <a:gd name="connsiteX55" fmla="*/ 4859516 w 8636594"/>
              <a:gd name="connsiteY55" fmla="*/ 5175087 h 6411004"/>
              <a:gd name="connsiteX56" fmla="*/ 4888347 w 8636594"/>
              <a:gd name="connsiteY56" fmla="*/ 5143504 h 6411004"/>
              <a:gd name="connsiteX57" fmla="*/ 4916919 w 8636594"/>
              <a:gd name="connsiteY57" fmla="*/ 5111713 h 6411004"/>
              <a:gd name="connsiteX58" fmla="*/ 4945238 w 8636594"/>
              <a:gd name="connsiteY58" fmla="*/ 5079717 h 6411004"/>
              <a:gd name="connsiteX59" fmla="*/ 4973311 w 8636594"/>
              <a:gd name="connsiteY59" fmla="*/ 5047519 h 6411004"/>
              <a:gd name="connsiteX60" fmla="*/ 5001145 w 8636594"/>
              <a:gd name="connsiteY60" fmla="*/ 5015124 h 6411004"/>
              <a:gd name="connsiteX61" fmla="*/ 5028745 w 8636594"/>
              <a:gd name="connsiteY61" fmla="*/ 4982535 h 6411004"/>
              <a:gd name="connsiteX62" fmla="*/ 5056117 w 8636594"/>
              <a:gd name="connsiteY62" fmla="*/ 4949755 h 6411004"/>
              <a:gd name="connsiteX63" fmla="*/ 5083269 w 8636594"/>
              <a:gd name="connsiteY63" fmla="*/ 4916787 h 6411004"/>
              <a:gd name="connsiteX64" fmla="*/ 5110207 w 8636594"/>
              <a:gd name="connsiteY64" fmla="*/ 4883636 h 6411004"/>
              <a:gd name="connsiteX65" fmla="*/ 5136937 w 8636594"/>
              <a:gd name="connsiteY65" fmla="*/ 4850305 h 6411004"/>
              <a:gd name="connsiteX66" fmla="*/ 5163464 w 8636594"/>
              <a:gd name="connsiteY66" fmla="*/ 4816797 h 6411004"/>
              <a:gd name="connsiteX67" fmla="*/ 5215940 w 8636594"/>
              <a:gd name="connsiteY67" fmla="*/ 4749265 h 6411004"/>
              <a:gd name="connsiteX68" fmla="*/ 5267684 w 8636594"/>
              <a:gd name="connsiteY68" fmla="*/ 4681068 h 6411004"/>
              <a:gd name="connsiteX69" fmla="*/ 5318748 w 8636594"/>
              <a:gd name="connsiteY69" fmla="*/ 4612234 h 6411004"/>
              <a:gd name="connsiteX70" fmla="*/ 5369182 w 8636594"/>
              <a:gd name="connsiteY70" fmla="*/ 4542793 h 6411004"/>
              <a:gd name="connsiteX71" fmla="*/ 5419038 w 8636594"/>
              <a:gd name="connsiteY71" fmla="*/ 4472771 h 6411004"/>
              <a:gd name="connsiteX72" fmla="*/ 5468365 w 8636594"/>
              <a:gd name="connsiteY72" fmla="*/ 4402196 h 6411004"/>
              <a:gd name="connsiteX73" fmla="*/ 5517215 w 8636594"/>
              <a:gd name="connsiteY73" fmla="*/ 4331098 h 6411004"/>
              <a:gd name="connsiteX74" fmla="*/ 5565637 w 8636594"/>
              <a:gd name="connsiteY74" fmla="*/ 4259503 h 6411004"/>
              <a:gd name="connsiteX75" fmla="*/ 5613684 w 8636594"/>
              <a:gd name="connsiteY75" fmla="*/ 4187441 h 6411004"/>
              <a:gd name="connsiteX76" fmla="*/ 5685160 w 8636594"/>
              <a:gd name="connsiteY76" fmla="*/ 4078531 h 6411004"/>
              <a:gd name="connsiteX77" fmla="*/ 5756074 w 8636594"/>
              <a:gd name="connsiteY77" fmla="*/ 3968727 h 6411004"/>
              <a:gd name="connsiteX78" fmla="*/ 5873483 w 8636594"/>
              <a:gd name="connsiteY78" fmla="*/ 3783989 h 6411004"/>
              <a:gd name="connsiteX79" fmla="*/ 6203209 w 8636594"/>
              <a:gd name="connsiteY79" fmla="*/ 3258640 h 6411004"/>
              <a:gd name="connsiteX80" fmla="*/ 6299430 w 8636594"/>
              <a:gd name="connsiteY80" fmla="*/ 3107321 h 6411004"/>
              <a:gd name="connsiteX81" fmla="*/ 6372650 w 8636594"/>
              <a:gd name="connsiteY81" fmla="*/ 2993735 h 6411004"/>
              <a:gd name="connsiteX82" fmla="*/ 6453197 w 8636594"/>
              <a:gd name="connsiteY82" fmla="*/ 2869788 h 6411004"/>
              <a:gd name="connsiteX83" fmla="*/ 6564167 w 8636594"/>
              <a:gd name="connsiteY83" fmla="*/ 2696807 h 6411004"/>
              <a:gd name="connsiteX84" fmla="*/ 6976233 w 8636594"/>
              <a:gd name="connsiteY84" fmla="*/ 2045274 h 6411004"/>
              <a:gd name="connsiteX85" fmla="*/ 7086755 w 8636594"/>
              <a:gd name="connsiteY85" fmla="*/ 1872743 h 6411004"/>
              <a:gd name="connsiteX86" fmla="*/ 7170279 w 8636594"/>
              <a:gd name="connsiteY86" fmla="*/ 1744202 h 6411004"/>
              <a:gd name="connsiteX87" fmla="*/ 7226351 w 8636594"/>
              <a:gd name="connsiteY87" fmla="*/ 1659017 h 6411004"/>
              <a:gd name="connsiteX88" fmla="*/ 7282789 w 8636594"/>
              <a:gd name="connsiteY88" fmla="*/ 1574303 h 6411004"/>
              <a:gd name="connsiteX89" fmla="*/ 7339643 w 8636594"/>
              <a:gd name="connsiteY89" fmla="*/ 1490113 h 6411004"/>
              <a:gd name="connsiteX90" fmla="*/ 7396957 w 8636594"/>
              <a:gd name="connsiteY90" fmla="*/ 1406503 h 6411004"/>
              <a:gd name="connsiteX91" fmla="*/ 7454781 w 8636594"/>
              <a:gd name="connsiteY91" fmla="*/ 1323526 h 6411004"/>
              <a:gd name="connsiteX92" fmla="*/ 7513161 w 8636594"/>
              <a:gd name="connsiteY92" fmla="*/ 1241237 h 6411004"/>
              <a:gd name="connsiteX93" fmla="*/ 7572144 w 8636594"/>
              <a:gd name="connsiteY93" fmla="*/ 1159689 h 6411004"/>
              <a:gd name="connsiteX94" fmla="*/ 7601877 w 8636594"/>
              <a:gd name="connsiteY94" fmla="*/ 1119210 h 6411004"/>
              <a:gd name="connsiteX95" fmla="*/ 7631779 w 8636594"/>
              <a:gd name="connsiteY95" fmla="*/ 1078937 h 6411004"/>
              <a:gd name="connsiteX96" fmla="*/ 7661855 w 8636594"/>
              <a:gd name="connsiteY96" fmla="*/ 1038876 h 6411004"/>
              <a:gd name="connsiteX97" fmla="*/ 7692111 w 8636594"/>
              <a:gd name="connsiteY97" fmla="*/ 999035 h 6411004"/>
              <a:gd name="connsiteX98" fmla="*/ 7722554 w 8636594"/>
              <a:gd name="connsiteY98" fmla="*/ 959419 h 6411004"/>
              <a:gd name="connsiteX99" fmla="*/ 7753190 w 8636594"/>
              <a:gd name="connsiteY99" fmla="*/ 920037 h 6411004"/>
              <a:gd name="connsiteX100" fmla="*/ 7784023 w 8636594"/>
              <a:gd name="connsiteY100" fmla="*/ 880894 h 6411004"/>
              <a:gd name="connsiteX101" fmla="*/ 7815061 w 8636594"/>
              <a:gd name="connsiteY101" fmla="*/ 841997 h 6411004"/>
              <a:gd name="connsiteX102" fmla="*/ 7846308 w 8636594"/>
              <a:gd name="connsiteY102" fmla="*/ 803354 h 6411004"/>
              <a:gd name="connsiteX103" fmla="*/ 7877772 w 8636594"/>
              <a:gd name="connsiteY103" fmla="*/ 764970 h 6411004"/>
              <a:gd name="connsiteX104" fmla="*/ 7909458 w 8636594"/>
              <a:gd name="connsiteY104" fmla="*/ 726853 h 6411004"/>
              <a:gd name="connsiteX105" fmla="*/ 7941371 w 8636594"/>
              <a:gd name="connsiteY105" fmla="*/ 689010 h 6411004"/>
              <a:gd name="connsiteX106" fmla="*/ 7973518 w 8636594"/>
              <a:gd name="connsiteY106" fmla="*/ 651447 h 6411004"/>
              <a:gd name="connsiteX107" fmla="*/ 8005905 w 8636594"/>
              <a:gd name="connsiteY107" fmla="*/ 614171 h 6411004"/>
              <a:gd name="connsiteX108" fmla="*/ 8038538 w 8636594"/>
              <a:gd name="connsiteY108" fmla="*/ 577189 h 6411004"/>
              <a:gd name="connsiteX109" fmla="*/ 8071421 w 8636594"/>
              <a:gd name="connsiteY109" fmla="*/ 540507 h 6411004"/>
              <a:gd name="connsiteX110" fmla="*/ 8104563 w 8636594"/>
              <a:gd name="connsiteY110" fmla="*/ 504132 h 6411004"/>
              <a:gd name="connsiteX111" fmla="*/ 8137967 w 8636594"/>
              <a:gd name="connsiteY111" fmla="*/ 468072 h 6411004"/>
              <a:gd name="connsiteX112" fmla="*/ 8171641 w 8636594"/>
              <a:gd name="connsiteY112" fmla="*/ 432332 h 6411004"/>
              <a:gd name="connsiteX113" fmla="*/ 8205590 w 8636594"/>
              <a:gd name="connsiteY113" fmla="*/ 396920 h 6411004"/>
              <a:gd name="connsiteX114" fmla="*/ 8239820 w 8636594"/>
              <a:gd name="connsiteY114" fmla="*/ 361843 h 6411004"/>
              <a:gd name="connsiteX115" fmla="*/ 8274337 w 8636594"/>
              <a:gd name="connsiteY115" fmla="*/ 327107 h 6411004"/>
              <a:gd name="connsiteX116" fmla="*/ 8309147 w 8636594"/>
              <a:gd name="connsiteY116" fmla="*/ 292718 h 6411004"/>
              <a:gd name="connsiteX117" fmla="*/ 8344256 w 8636594"/>
              <a:gd name="connsiteY117" fmla="*/ 258685 h 6411004"/>
              <a:gd name="connsiteX118" fmla="*/ 8379669 w 8636594"/>
              <a:gd name="connsiteY118" fmla="*/ 225013 h 6411004"/>
              <a:gd name="connsiteX119" fmla="*/ 8415394 w 8636594"/>
              <a:gd name="connsiteY119" fmla="*/ 191709 h 6411004"/>
              <a:gd name="connsiteX120" fmla="*/ 8451434 w 8636594"/>
              <a:gd name="connsiteY120" fmla="*/ 158780 h 6411004"/>
              <a:gd name="connsiteX121" fmla="*/ 8487798 w 8636594"/>
              <a:gd name="connsiteY121" fmla="*/ 126233 h 6411004"/>
              <a:gd name="connsiteX122" fmla="*/ 8524489 w 8636594"/>
              <a:gd name="connsiteY122" fmla="*/ 94075 h 6411004"/>
              <a:gd name="connsiteX123" fmla="*/ 8561515 w 8636594"/>
              <a:gd name="connsiteY123" fmla="*/ 62312 h 6411004"/>
              <a:gd name="connsiteX124" fmla="*/ 8598881 w 8636594"/>
              <a:gd name="connsiteY124" fmla="*/ 30951 h 6411004"/>
              <a:gd name="connsiteX125" fmla="*/ 8636594 w 8636594"/>
              <a:gd name="connsiteY125" fmla="*/ 0 h 6411004"/>
              <a:gd name="connsiteX0" fmla="*/ 8636594 w 8636594"/>
              <a:gd name="connsiteY0" fmla="*/ 0 h 6394316"/>
              <a:gd name="connsiteX1" fmla="*/ 5293 w 8636594"/>
              <a:gd name="connsiteY1" fmla="*/ 0 h 6394316"/>
              <a:gd name="connsiteX2" fmla="*/ 0 w 8636594"/>
              <a:gd name="connsiteY2" fmla="*/ 5587843 h 6394316"/>
              <a:gd name="connsiteX3" fmla="*/ 1594033 w 8636594"/>
              <a:gd name="connsiteY3" fmla="*/ 5600057 h 6394316"/>
              <a:gd name="connsiteX4" fmla="*/ 1686068 w 8636594"/>
              <a:gd name="connsiteY4" fmla="*/ 5599745 h 6394316"/>
              <a:gd name="connsiteX5" fmla="*/ 2997775 w 8636594"/>
              <a:gd name="connsiteY5" fmla="*/ 6394316 h 6394316"/>
              <a:gd name="connsiteX6" fmla="*/ 3047052 w 8636594"/>
              <a:gd name="connsiteY6" fmla="*/ 6377243 h 6394316"/>
              <a:gd name="connsiteX7" fmla="*/ 3095759 w 8636594"/>
              <a:gd name="connsiteY7" fmla="*/ 6359791 h 6394316"/>
              <a:gd name="connsiteX8" fmla="*/ 3143903 w 8636594"/>
              <a:gd name="connsiteY8" fmla="*/ 6341961 h 6394316"/>
              <a:gd name="connsiteX9" fmla="*/ 3191491 w 8636594"/>
              <a:gd name="connsiteY9" fmla="*/ 6323757 h 6394316"/>
              <a:gd name="connsiteX10" fmla="*/ 3238528 w 8636594"/>
              <a:gd name="connsiteY10" fmla="*/ 6305184 h 6394316"/>
              <a:gd name="connsiteX11" fmla="*/ 3285021 w 8636594"/>
              <a:gd name="connsiteY11" fmla="*/ 6286245 h 6394316"/>
              <a:gd name="connsiteX12" fmla="*/ 3330977 w 8636594"/>
              <a:gd name="connsiteY12" fmla="*/ 6266942 h 6394316"/>
              <a:gd name="connsiteX13" fmla="*/ 3376401 w 8636594"/>
              <a:gd name="connsiteY13" fmla="*/ 6247281 h 6394316"/>
              <a:gd name="connsiteX14" fmla="*/ 3421300 w 8636594"/>
              <a:gd name="connsiteY14" fmla="*/ 6227263 h 6394316"/>
              <a:gd name="connsiteX15" fmla="*/ 3465680 w 8636594"/>
              <a:gd name="connsiteY15" fmla="*/ 6206893 h 6394316"/>
              <a:gd name="connsiteX16" fmla="*/ 3509548 w 8636594"/>
              <a:gd name="connsiteY16" fmla="*/ 6186174 h 6394316"/>
              <a:gd name="connsiteX17" fmla="*/ 3552910 w 8636594"/>
              <a:gd name="connsiteY17" fmla="*/ 6165110 h 6394316"/>
              <a:gd name="connsiteX18" fmla="*/ 3595773 w 8636594"/>
              <a:gd name="connsiteY18" fmla="*/ 6143704 h 6394316"/>
              <a:gd name="connsiteX19" fmla="*/ 3638142 w 8636594"/>
              <a:gd name="connsiteY19" fmla="*/ 6121960 h 6394316"/>
              <a:gd name="connsiteX20" fmla="*/ 3680024 w 8636594"/>
              <a:gd name="connsiteY20" fmla="*/ 6099881 h 6394316"/>
              <a:gd name="connsiteX21" fmla="*/ 3721426 w 8636594"/>
              <a:gd name="connsiteY21" fmla="*/ 6077471 h 6394316"/>
              <a:gd name="connsiteX22" fmla="*/ 3762353 w 8636594"/>
              <a:gd name="connsiteY22" fmla="*/ 6054733 h 6394316"/>
              <a:gd name="connsiteX23" fmla="*/ 3802812 w 8636594"/>
              <a:gd name="connsiteY23" fmla="*/ 6031671 h 6394316"/>
              <a:gd name="connsiteX24" fmla="*/ 3842810 w 8636594"/>
              <a:gd name="connsiteY24" fmla="*/ 6008288 h 6394316"/>
              <a:gd name="connsiteX25" fmla="*/ 3882352 w 8636594"/>
              <a:gd name="connsiteY25" fmla="*/ 5984588 h 6394316"/>
              <a:gd name="connsiteX26" fmla="*/ 3921445 w 8636594"/>
              <a:gd name="connsiteY26" fmla="*/ 5960574 h 6394316"/>
              <a:gd name="connsiteX27" fmla="*/ 3960096 w 8636594"/>
              <a:gd name="connsiteY27" fmla="*/ 5936250 h 6394316"/>
              <a:gd name="connsiteX28" fmla="*/ 3998311 w 8636594"/>
              <a:gd name="connsiteY28" fmla="*/ 5911619 h 6394316"/>
              <a:gd name="connsiteX29" fmla="*/ 4036095 w 8636594"/>
              <a:gd name="connsiteY29" fmla="*/ 5886685 h 6394316"/>
              <a:gd name="connsiteX30" fmla="*/ 4073456 w 8636594"/>
              <a:gd name="connsiteY30" fmla="*/ 5861452 h 6394316"/>
              <a:gd name="connsiteX31" fmla="*/ 4110400 w 8636594"/>
              <a:gd name="connsiteY31" fmla="*/ 5835922 h 6394316"/>
              <a:gd name="connsiteX32" fmla="*/ 4146933 w 8636594"/>
              <a:gd name="connsiteY32" fmla="*/ 5810100 h 6394316"/>
              <a:gd name="connsiteX33" fmla="*/ 4183061 w 8636594"/>
              <a:gd name="connsiteY33" fmla="*/ 5783988 h 6394316"/>
              <a:gd name="connsiteX34" fmla="*/ 4218791 w 8636594"/>
              <a:gd name="connsiteY34" fmla="*/ 5757591 h 6394316"/>
              <a:gd name="connsiteX35" fmla="*/ 4254129 w 8636594"/>
              <a:gd name="connsiteY35" fmla="*/ 5730912 h 6394316"/>
              <a:gd name="connsiteX36" fmla="*/ 4289081 w 8636594"/>
              <a:gd name="connsiteY36" fmla="*/ 5703955 h 6394316"/>
              <a:gd name="connsiteX37" fmla="*/ 4323654 w 8636594"/>
              <a:gd name="connsiteY37" fmla="*/ 5676722 h 6394316"/>
              <a:gd name="connsiteX38" fmla="*/ 4357854 w 8636594"/>
              <a:gd name="connsiteY38" fmla="*/ 5649218 h 6394316"/>
              <a:gd name="connsiteX39" fmla="*/ 4391688 w 8636594"/>
              <a:gd name="connsiteY39" fmla="*/ 5621446 h 6394316"/>
              <a:gd name="connsiteX40" fmla="*/ 4425162 w 8636594"/>
              <a:gd name="connsiteY40" fmla="*/ 5593409 h 6394316"/>
              <a:gd name="connsiteX41" fmla="*/ 4458281 w 8636594"/>
              <a:gd name="connsiteY41" fmla="*/ 5565111 h 6394316"/>
              <a:gd name="connsiteX42" fmla="*/ 4491053 w 8636594"/>
              <a:gd name="connsiteY42" fmla="*/ 5536556 h 6394316"/>
              <a:gd name="connsiteX43" fmla="*/ 4523484 w 8636594"/>
              <a:gd name="connsiteY43" fmla="*/ 5507747 h 6394316"/>
              <a:gd name="connsiteX44" fmla="*/ 4555580 w 8636594"/>
              <a:gd name="connsiteY44" fmla="*/ 5478687 h 6394316"/>
              <a:gd name="connsiteX45" fmla="*/ 4587347 w 8636594"/>
              <a:gd name="connsiteY45" fmla="*/ 5449380 h 6394316"/>
              <a:gd name="connsiteX46" fmla="*/ 4618793 w 8636594"/>
              <a:gd name="connsiteY46" fmla="*/ 5419830 h 6394316"/>
              <a:gd name="connsiteX47" fmla="*/ 4649922 w 8636594"/>
              <a:gd name="connsiteY47" fmla="*/ 5390040 h 6394316"/>
              <a:gd name="connsiteX48" fmla="*/ 4680742 w 8636594"/>
              <a:gd name="connsiteY48" fmla="*/ 5360014 h 6394316"/>
              <a:gd name="connsiteX49" fmla="*/ 4711259 w 8636594"/>
              <a:gd name="connsiteY49" fmla="*/ 5329755 h 6394316"/>
              <a:gd name="connsiteX50" fmla="*/ 4741478 w 8636594"/>
              <a:gd name="connsiteY50" fmla="*/ 5299266 h 6394316"/>
              <a:gd name="connsiteX51" fmla="*/ 4771408 w 8636594"/>
              <a:gd name="connsiteY51" fmla="*/ 5268551 h 6394316"/>
              <a:gd name="connsiteX52" fmla="*/ 4801053 w 8636594"/>
              <a:gd name="connsiteY52" fmla="*/ 5237614 h 6394316"/>
              <a:gd name="connsiteX53" fmla="*/ 4830420 w 8636594"/>
              <a:gd name="connsiteY53" fmla="*/ 5206458 h 6394316"/>
              <a:gd name="connsiteX54" fmla="*/ 4859516 w 8636594"/>
              <a:gd name="connsiteY54" fmla="*/ 5175087 h 6394316"/>
              <a:gd name="connsiteX55" fmla="*/ 4888347 w 8636594"/>
              <a:gd name="connsiteY55" fmla="*/ 5143504 h 6394316"/>
              <a:gd name="connsiteX56" fmla="*/ 4916919 w 8636594"/>
              <a:gd name="connsiteY56" fmla="*/ 5111713 h 6394316"/>
              <a:gd name="connsiteX57" fmla="*/ 4945238 w 8636594"/>
              <a:gd name="connsiteY57" fmla="*/ 5079717 h 6394316"/>
              <a:gd name="connsiteX58" fmla="*/ 4973311 w 8636594"/>
              <a:gd name="connsiteY58" fmla="*/ 5047519 h 6394316"/>
              <a:gd name="connsiteX59" fmla="*/ 5001145 w 8636594"/>
              <a:gd name="connsiteY59" fmla="*/ 5015124 h 6394316"/>
              <a:gd name="connsiteX60" fmla="*/ 5028745 w 8636594"/>
              <a:gd name="connsiteY60" fmla="*/ 4982535 h 6394316"/>
              <a:gd name="connsiteX61" fmla="*/ 5056117 w 8636594"/>
              <a:gd name="connsiteY61" fmla="*/ 4949755 h 6394316"/>
              <a:gd name="connsiteX62" fmla="*/ 5083269 w 8636594"/>
              <a:gd name="connsiteY62" fmla="*/ 4916787 h 6394316"/>
              <a:gd name="connsiteX63" fmla="*/ 5110207 w 8636594"/>
              <a:gd name="connsiteY63" fmla="*/ 4883636 h 6394316"/>
              <a:gd name="connsiteX64" fmla="*/ 5136937 w 8636594"/>
              <a:gd name="connsiteY64" fmla="*/ 4850305 h 6394316"/>
              <a:gd name="connsiteX65" fmla="*/ 5163464 w 8636594"/>
              <a:gd name="connsiteY65" fmla="*/ 4816797 h 6394316"/>
              <a:gd name="connsiteX66" fmla="*/ 5215940 w 8636594"/>
              <a:gd name="connsiteY66" fmla="*/ 4749265 h 6394316"/>
              <a:gd name="connsiteX67" fmla="*/ 5267684 w 8636594"/>
              <a:gd name="connsiteY67" fmla="*/ 4681068 h 6394316"/>
              <a:gd name="connsiteX68" fmla="*/ 5318748 w 8636594"/>
              <a:gd name="connsiteY68" fmla="*/ 4612234 h 6394316"/>
              <a:gd name="connsiteX69" fmla="*/ 5369182 w 8636594"/>
              <a:gd name="connsiteY69" fmla="*/ 4542793 h 6394316"/>
              <a:gd name="connsiteX70" fmla="*/ 5419038 w 8636594"/>
              <a:gd name="connsiteY70" fmla="*/ 4472771 h 6394316"/>
              <a:gd name="connsiteX71" fmla="*/ 5468365 w 8636594"/>
              <a:gd name="connsiteY71" fmla="*/ 4402196 h 6394316"/>
              <a:gd name="connsiteX72" fmla="*/ 5517215 w 8636594"/>
              <a:gd name="connsiteY72" fmla="*/ 4331098 h 6394316"/>
              <a:gd name="connsiteX73" fmla="*/ 5565637 w 8636594"/>
              <a:gd name="connsiteY73" fmla="*/ 4259503 h 6394316"/>
              <a:gd name="connsiteX74" fmla="*/ 5613684 w 8636594"/>
              <a:gd name="connsiteY74" fmla="*/ 4187441 h 6394316"/>
              <a:gd name="connsiteX75" fmla="*/ 5685160 w 8636594"/>
              <a:gd name="connsiteY75" fmla="*/ 4078531 h 6394316"/>
              <a:gd name="connsiteX76" fmla="*/ 5756074 w 8636594"/>
              <a:gd name="connsiteY76" fmla="*/ 3968727 h 6394316"/>
              <a:gd name="connsiteX77" fmla="*/ 5873483 w 8636594"/>
              <a:gd name="connsiteY77" fmla="*/ 3783989 h 6394316"/>
              <a:gd name="connsiteX78" fmla="*/ 6203209 w 8636594"/>
              <a:gd name="connsiteY78" fmla="*/ 3258640 h 6394316"/>
              <a:gd name="connsiteX79" fmla="*/ 6299430 w 8636594"/>
              <a:gd name="connsiteY79" fmla="*/ 3107321 h 6394316"/>
              <a:gd name="connsiteX80" fmla="*/ 6372650 w 8636594"/>
              <a:gd name="connsiteY80" fmla="*/ 2993735 h 6394316"/>
              <a:gd name="connsiteX81" fmla="*/ 6453197 w 8636594"/>
              <a:gd name="connsiteY81" fmla="*/ 2869788 h 6394316"/>
              <a:gd name="connsiteX82" fmla="*/ 6564167 w 8636594"/>
              <a:gd name="connsiteY82" fmla="*/ 2696807 h 6394316"/>
              <a:gd name="connsiteX83" fmla="*/ 6976233 w 8636594"/>
              <a:gd name="connsiteY83" fmla="*/ 2045274 h 6394316"/>
              <a:gd name="connsiteX84" fmla="*/ 7086755 w 8636594"/>
              <a:gd name="connsiteY84" fmla="*/ 1872743 h 6394316"/>
              <a:gd name="connsiteX85" fmla="*/ 7170279 w 8636594"/>
              <a:gd name="connsiteY85" fmla="*/ 1744202 h 6394316"/>
              <a:gd name="connsiteX86" fmla="*/ 7226351 w 8636594"/>
              <a:gd name="connsiteY86" fmla="*/ 1659017 h 6394316"/>
              <a:gd name="connsiteX87" fmla="*/ 7282789 w 8636594"/>
              <a:gd name="connsiteY87" fmla="*/ 1574303 h 6394316"/>
              <a:gd name="connsiteX88" fmla="*/ 7339643 w 8636594"/>
              <a:gd name="connsiteY88" fmla="*/ 1490113 h 6394316"/>
              <a:gd name="connsiteX89" fmla="*/ 7396957 w 8636594"/>
              <a:gd name="connsiteY89" fmla="*/ 1406503 h 6394316"/>
              <a:gd name="connsiteX90" fmla="*/ 7454781 w 8636594"/>
              <a:gd name="connsiteY90" fmla="*/ 1323526 h 6394316"/>
              <a:gd name="connsiteX91" fmla="*/ 7513161 w 8636594"/>
              <a:gd name="connsiteY91" fmla="*/ 1241237 h 6394316"/>
              <a:gd name="connsiteX92" fmla="*/ 7572144 w 8636594"/>
              <a:gd name="connsiteY92" fmla="*/ 1159689 h 6394316"/>
              <a:gd name="connsiteX93" fmla="*/ 7601877 w 8636594"/>
              <a:gd name="connsiteY93" fmla="*/ 1119210 h 6394316"/>
              <a:gd name="connsiteX94" fmla="*/ 7631779 w 8636594"/>
              <a:gd name="connsiteY94" fmla="*/ 1078937 h 6394316"/>
              <a:gd name="connsiteX95" fmla="*/ 7661855 w 8636594"/>
              <a:gd name="connsiteY95" fmla="*/ 1038876 h 6394316"/>
              <a:gd name="connsiteX96" fmla="*/ 7692111 w 8636594"/>
              <a:gd name="connsiteY96" fmla="*/ 999035 h 6394316"/>
              <a:gd name="connsiteX97" fmla="*/ 7722554 w 8636594"/>
              <a:gd name="connsiteY97" fmla="*/ 959419 h 6394316"/>
              <a:gd name="connsiteX98" fmla="*/ 7753190 w 8636594"/>
              <a:gd name="connsiteY98" fmla="*/ 920037 h 6394316"/>
              <a:gd name="connsiteX99" fmla="*/ 7784023 w 8636594"/>
              <a:gd name="connsiteY99" fmla="*/ 880894 h 6394316"/>
              <a:gd name="connsiteX100" fmla="*/ 7815061 w 8636594"/>
              <a:gd name="connsiteY100" fmla="*/ 841997 h 6394316"/>
              <a:gd name="connsiteX101" fmla="*/ 7846308 w 8636594"/>
              <a:gd name="connsiteY101" fmla="*/ 803354 h 6394316"/>
              <a:gd name="connsiteX102" fmla="*/ 7877772 w 8636594"/>
              <a:gd name="connsiteY102" fmla="*/ 764970 h 6394316"/>
              <a:gd name="connsiteX103" fmla="*/ 7909458 w 8636594"/>
              <a:gd name="connsiteY103" fmla="*/ 726853 h 6394316"/>
              <a:gd name="connsiteX104" fmla="*/ 7941371 w 8636594"/>
              <a:gd name="connsiteY104" fmla="*/ 689010 h 6394316"/>
              <a:gd name="connsiteX105" fmla="*/ 7973518 w 8636594"/>
              <a:gd name="connsiteY105" fmla="*/ 651447 h 6394316"/>
              <a:gd name="connsiteX106" fmla="*/ 8005905 w 8636594"/>
              <a:gd name="connsiteY106" fmla="*/ 614171 h 6394316"/>
              <a:gd name="connsiteX107" fmla="*/ 8038538 w 8636594"/>
              <a:gd name="connsiteY107" fmla="*/ 577189 h 6394316"/>
              <a:gd name="connsiteX108" fmla="*/ 8071421 w 8636594"/>
              <a:gd name="connsiteY108" fmla="*/ 540507 h 6394316"/>
              <a:gd name="connsiteX109" fmla="*/ 8104563 w 8636594"/>
              <a:gd name="connsiteY109" fmla="*/ 504132 h 6394316"/>
              <a:gd name="connsiteX110" fmla="*/ 8137967 w 8636594"/>
              <a:gd name="connsiteY110" fmla="*/ 468072 h 6394316"/>
              <a:gd name="connsiteX111" fmla="*/ 8171641 w 8636594"/>
              <a:gd name="connsiteY111" fmla="*/ 432332 h 6394316"/>
              <a:gd name="connsiteX112" fmla="*/ 8205590 w 8636594"/>
              <a:gd name="connsiteY112" fmla="*/ 396920 h 6394316"/>
              <a:gd name="connsiteX113" fmla="*/ 8239820 w 8636594"/>
              <a:gd name="connsiteY113" fmla="*/ 361843 h 6394316"/>
              <a:gd name="connsiteX114" fmla="*/ 8274337 w 8636594"/>
              <a:gd name="connsiteY114" fmla="*/ 327107 h 6394316"/>
              <a:gd name="connsiteX115" fmla="*/ 8309147 w 8636594"/>
              <a:gd name="connsiteY115" fmla="*/ 292718 h 6394316"/>
              <a:gd name="connsiteX116" fmla="*/ 8344256 w 8636594"/>
              <a:gd name="connsiteY116" fmla="*/ 258685 h 6394316"/>
              <a:gd name="connsiteX117" fmla="*/ 8379669 w 8636594"/>
              <a:gd name="connsiteY117" fmla="*/ 225013 h 6394316"/>
              <a:gd name="connsiteX118" fmla="*/ 8415394 w 8636594"/>
              <a:gd name="connsiteY118" fmla="*/ 191709 h 6394316"/>
              <a:gd name="connsiteX119" fmla="*/ 8451434 w 8636594"/>
              <a:gd name="connsiteY119" fmla="*/ 158780 h 6394316"/>
              <a:gd name="connsiteX120" fmla="*/ 8487798 w 8636594"/>
              <a:gd name="connsiteY120" fmla="*/ 126233 h 6394316"/>
              <a:gd name="connsiteX121" fmla="*/ 8524489 w 8636594"/>
              <a:gd name="connsiteY121" fmla="*/ 94075 h 6394316"/>
              <a:gd name="connsiteX122" fmla="*/ 8561515 w 8636594"/>
              <a:gd name="connsiteY122" fmla="*/ 62312 h 6394316"/>
              <a:gd name="connsiteX123" fmla="*/ 8598881 w 8636594"/>
              <a:gd name="connsiteY123" fmla="*/ 30951 h 6394316"/>
              <a:gd name="connsiteX124" fmla="*/ 8636594 w 8636594"/>
              <a:gd name="connsiteY124" fmla="*/ 0 h 6394316"/>
              <a:gd name="connsiteX0" fmla="*/ 8636594 w 8636594"/>
              <a:gd name="connsiteY0" fmla="*/ 0 h 6377243"/>
              <a:gd name="connsiteX1" fmla="*/ 5293 w 8636594"/>
              <a:gd name="connsiteY1" fmla="*/ 0 h 6377243"/>
              <a:gd name="connsiteX2" fmla="*/ 0 w 8636594"/>
              <a:gd name="connsiteY2" fmla="*/ 5587843 h 6377243"/>
              <a:gd name="connsiteX3" fmla="*/ 1594033 w 8636594"/>
              <a:gd name="connsiteY3" fmla="*/ 5600057 h 6377243"/>
              <a:gd name="connsiteX4" fmla="*/ 1686068 w 8636594"/>
              <a:gd name="connsiteY4" fmla="*/ 5599745 h 6377243"/>
              <a:gd name="connsiteX5" fmla="*/ 3047052 w 8636594"/>
              <a:gd name="connsiteY5" fmla="*/ 6377243 h 6377243"/>
              <a:gd name="connsiteX6" fmla="*/ 3095759 w 8636594"/>
              <a:gd name="connsiteY6" fmla="*/ 6359791 h 6377243"/>
              <a:gd name="connsiteX7" fmla="*/ 3143903 w 8636594"/>
              <a:gd name="connsiteY7" fmla="*/ 6341961 h 6377243"/>
              <a:gd name="connsiteX8" fmla="*/ 3191491 w 8636594"/>
              <a:gd name="connsiteY8" fmla="*/ 6323757 h 6377243"/>
              <a:gd name="connsiteX9" fmla="*/ 3238528 w 8636594"/>
              <a:gd name="connsiteY9" fmla="*/ 6305184 h 6377243"/>
              <a:gd name="connsiteX10" fmla="*/ 3285021 w 8636594"/>
              <a:gd name="connsiteY10" fmla="*/ 6286245 h 6377243"/>
              <a:gd name="connsiteX11" fmla="*/ 3330977 w 8636594"/>
              <a:gd name="connsiteY11" fmla="*/ 6266942 h 6377243"/>
              <a:gd name="connsiteX12" fmla="*/ 3376401 w 8636594"/>
              <a:gd name="connsiteY12" fmla="*/ 6247281 h 6377243"/>
              <a:gd name="connsiteX13" fmla="*/ 3421300 w 8636594"/>
              <a:gd name="connsiteY13" fmla="*/ 6227263 h 6377243"/>
              <a:gd name="connsiteX14" fmla="*/ 3465680 w 8636594"/>
              <a:gd name="connsiteY14" fmla="*/ 6206893 h 6377243"/>
              <a:gd name="connsiteX15" fmla="*/ 3509548 w 8636594"/>
              <a:gd name="connsiteY15" fmla="*/ 6186174 h 6377243"/>
              <a:gd name="connsiteX16" fmla="*/ 3552910 w 8636594"/>
              <a:gd name="connsiteY16" fmla="*/ 6165110 h 6377243"/>
              <a:gd name="connsiteX17" fmla="*/ 3595773 w 8636594"/>
              <a:gd name="connsiteY17" fmla="*/ 6143704 h 6377243"/>
              <a:gd name="connsiteX18" fmla="*/ 3638142 w 8636594"/>
              <a:gd name="connsiteY18" fmla="*/ 6121960 h 6377243"/>
              <a:gd name="connsiteX19" fmla="*/ 3680024 w 8636594"/>
              <a:gd name="connsiteY19" fmla="*/ 6099881 h 6377243"/>
              <a:gd name="connsiteX20" fmla="*/ 3721426 w 8636594"/>
              <a:gd name="connsiteY20" fmla="*/ 6077471 h 6377243"/>
              <a:gd name="connsiteX21" fmla="*/ 3762353 w 8636594"/>
              <a:gd name="connsiteY21" fmla="*/ 6054733 h 6377243"/>
              <a:gd name="connsiteX22" fmla="*/ 3802812 w 8636594"/>
              <a:gd name="connsiteY22" fmla="*/ 6031671 h 6377243"/>
              <a:gd name="connsiteX23" fmla="*/ 3842810 w 8636594"/>
              <a:gd name="connsiteY23" fmla="*/ 6008288 h 6377243"/>
              <a:gd name="connsiteX24" fmla="*/ 3882352 w 8636594"/>
              <a:gd name="connsiteY24" fmla="*/ 5984588 h 6377243"/>
              <a:gd name="connsiteX25" fmla="*/ 3921445 w 8636594"/>
              <a:gd name="connsiteY25" fmla="*/ 5960574 h 6377243"/>
              <a:gd name="connsiteX26" fmla="*/ 3960096 w 8636594"/>
              <a:gd name="connsiteY26" fmla="*/ 5936250 h 6377243"/>
              <a:gd name="connsiteX27" fmla="*/ 3998311 w 8636594"/>
              <a:gd name="connsiteY27" fmla="*/ 5911619 h 6377243"/>
              <a:gd name="connsiteX28" fmla="*/ 4036095 w 8636594"/>
              <a:gd name="connsiteY28" fmla="*/ 5886685 h 6377243"/>
              <a:gd name="connsiteX29" fmla="*/ 4073456 w 8636594"/>
              <a:gd name="connsiteY29" fmla="*/ 5861452 h 6377243"/>
              <a:gd name="connsiteX30" fmla="*/ 4110400 w 8636594"/>
              <a:gd name="connsiteY30" fmla="*/ 5835922 h 6377243"/>
              <a:gd name="connsiteX31" fmla="*/ 4146933 w 8636594"/>
              <a:gd name="connsiteY31" fmla="*/ 5810100 h 6377243"/>
              <a:gd name="connsiteX32" fmla="*/ 4183061 w 8636594"/>
              <a:gd name="connsiteY32" fmla="*/ 5783988 h 6377243"/>
              <a:gd name="connsiteX33" fmla="*/ 4218791 w 8636594"/>
              <a:gd name="connsiteY33" fmla="*/ 5757591 h 6377243"/>
              <a:gd name="connsiteX34" fmla="*/ 4254129 w 8636594"/>
              <a:gd name="connsiteY34" fmla="*/ 5730912 h 6377243"/>
              <a:gd name="connsiteX35" fmla="*/ 4289081 w 8636594"/>
              <a:gd name="connsiteY35" fmla="*/ 5703955 h 6377243"/>
              <a:gd name="connsiteX36" fmla="*/ 4323654 w 8636594"/>
              <a:gd name="connsiteY36" fmla="*/ 5676722 h 6377243"/>
              <a:gd name="connsiteX37" fmla="*/ 4357854 w 8636594"/>
              <a:gd name="connsiteY37" fmla="*/ 5649218 h 6377243"/>
              <a:gd name="connsiteX38" fmla="*/ 4391688 w 8636594"/>
              <a:gd name="connsiteY38" fmla="*/ 5621446 h 6377243"/>
              <a:gd name="connsiteX39" fmla="*/ 4425162 w 8636594"/>
              <a:gd name="connsiteY39" fmla="*/ 5593409 h 6377243"/>
              <a:gd name="connsiteX40" fmla="*/ 4458281 w 8636594"/>
              <a:gd name="connsiteY40" fmla="*/ 5565111 h 6377243"/>
              <a:gd name="connsiteX41" fmla="*/ 4491053 w 8636594"/>
              <a:gd name="connsiteY41" fmla="*/ 5536556 h 6377243"/>
              <a:gd name="connsiteX42" fmla="*/ 4523484 w 8636594"/>
              <a:gd name="connsiteY42" fmla="*/ 5507747 h 6377243"/>
              <a:gd name="connsiteX43" fmla="*/ 4555580 w 8636594"/>
              <a:gd name="connsiteY43" fmla="*/ 5478687 h 6377243"/>
              <a:gd name="connsiteX44" fmla="*/ 4587347 w 8636594"/>
              <a:gd name="connsiteY44" fmla="*/ 5449380 h 6377243"/>
              <a:gd name="connsiteX45" fmla="*/ 4618793 w 8636594"/>
              <a:gd name="connsiteY45" fmla="*/ 5419830 h 6377243"/>
              <a:gd name="connsiteX46" fmla="*/ 4649922 w 8636594"/>
              <a:gd name="connsiteY46" fmla="*/ 5390040 h 6377243"/>
              <a:gd name="connsiteX47" fmla="*/ 4680742 w 8636594"/>
              <a:gd name="connsiteY47" fmla="*/ 5360014 h 6377243"/>
              <a:gd name="connsiteX48" fmla="*/ 4711259 w 8636594"/>
              <a:gd name="connsiteY48" fmla="*/ 5329755 h 6377243"/>
              <a:gd name="connsiteX49" fmla="*/ 4741478 w 8636594"/>
              <a:gd name="connsiteY49" fmla="*/ 5299266 h 6377243"/>
              <a:gd name="connsiteX50" fmla="*/ 4771408 w 8636594"/>
              <a:gd name="connsiteY50" fmla="*/ 5268551 h 6377243"/>
              <a:gd name="connsiteX51" fmla="*/ 4801053 w 8636594"/>
              <a:gd name="connsiteY51" fmla="*/ 5237614 h 6377243"/>
              <a:gd name="connsiteX52" fmla="*/ 4830420 w 8636594"/>
              <a:gd name="connsiteY52" fmla="*/ 5206458 h 6377243"/>
              <a:gd name="connsiteX53" fmla="*/ 4859516 w 8636594"/>
              <a:gd name="connsiteY53" fmla="*/ 5175087 h 6377243"/>
              <a:gd name="connsiteX54" fmla="*/ 4888347 w 8636594"/>
              <a:gd name="connsiteY54" fmla="*/ 5143504 h 6377243"/>
              <a:gd name="connsiteX55" fmla="*/ 4916919 w 8636594"/>
              <a:gd name="connsiteY55" fmla="*/ 5111713 h 6377243"/>
              <a:gd name="connsiteX56" fmla="*/ 4945238 w 8636594"/>
              <a:gd name="connsiteY56" fmla="*/ 5079717 h 6377243"/>
              <a:gd name="connsiteX57" fmla="*/ 4973311 w 8636594"/>
              <a:gd name="connsiteY57" fmla="*/ 5047519 h 6377243"/>
              <a:gd name="connsiteX58" fmla="*/ 5001145 w 8636594"/>
              <a:gd name="connsiteY58" fmla="*/ 5015124 h 6377243"/>
              <a:gd name="connsiteX59" fmla="*/ 5028745 w 8636594"/>
              <a:gd name="connsiteY59" fmla="*/ 4982535 h 6377243"/>
              <a:gd name="connsiteX60" fmla="*/ 5056117 w 8636594"/>
              <a:gd name="connsiteY60" fmla="*/ 4949755 h 6377243"/>
              <a:gd name="connsiteX61" fmla="*/ 5083269 w 8636594"/>
              <a:gd name="connsiteY61" fmla="*/ 4916787 h 6377243"/>
              <a:gd name="connsiteX62" fmla="*/ 5110207 w 8636594"/>
              <a:gd name="connsiteY62" fmla="*/ 4883636 h 6377243"/>
              <a:gd name="connsiteX63" fmla="*/ 5136937 w 8636594"/>
              <a:gd name="connsiteY63" fmla="*/ 4850305 h 6377243"/>
              <a:gd name="connsiteX64" fmla="*/ 5163464 w 8636594"/>
              <a:gd name="connsiteY64" fmla="*/ 4816797 h 6377243"/>
              <a:gd name="connsiteX65" fmla="*/ 5215940 w 8636594"/>
              <a:gd name="connsiteY65" fmla="*/ 4749265 h 6377243"/>
              <a:gd name="connsiteX66" fmla="*/ 5267684 w 8636594"/>
              <a:gd name="connsiteY66" fmla="*/ 4681068 h 6377243"/>
              <a:gd name="connsiteX67" fmla="*/ 5318748 w 8636594"/>
              <a:gd name="connsiteY67" fmla="*/ 4612234 h 6377243"/>
              <a:gd name="connsiteX68" fmla="*/ 5369182 w 8636594"/>
              <a:gd name="connsiteY68" fmla="*/ 4542793 h 6377243"/>
              <a:gd name="connsiteX69" fmla="*/ 5419038 w 8636594"/>
              <a:gd name="connsiteY69" fmla="*/ 4472771 h 6377243"/>
              <a:gd name="connsiteX70" fmla="*/ 5468365 w 8636594"/>
              <a:gd name="connsiteY70" fmla="*/ 4402196 h 6377243"/>
              <a:gd name="connsiteX71" fmla="*/ 5517215 w 8636594"/>
              <a:gd name="connsiteY71" fmla="*/ 4331098 h 6377243"/>
              <a:gd name="connsiteX72" fmla="*/ 5565637 w 8636594"/>
              <a:gd name="connsiteY72" fmla="*/ 4259503 h 6377243"/>
              <a:gd name="connsiteX73" fmla="*/ 5613684 w 8636594"/>
              <a:gd name="connsiteY73" fmla="*/ 4187441 h 6377243"/>
              <a:gd name="connsiteX74" fmla="*/ 5685160 w 8636594"/>
              <a:gd name="connsiteY74" fmla="*/ 4078531 h 6377243"/>
              <a:gd name="connsiteX75" fmla="*/ 5756074 w 8636594"/>
              <a:gd name="connsiteY75" fmla="*/ 3968727 h 6377243"/>
              <a:gd name="connsiteX76" fmla="*/ 5873483 w 8636594"/>
              <a:gd name="connsiteY76" fmla="*/ 3783989 h 6377243"/>
              <a:gd name="connsiteX77" fmla="*/ 6203209 w 8636594"/>
              <a:gd name="connsiteY77" fmla="*/ 3258640 h 6377243"/>
              <a:gd name="connsiteX78" fmla="*/ 6299430 w 8636594"/>
              <a:gd name="connsiteY78" fmla="*/ 3107321 h 6377243"/>
              <a:gd name="connsiteX79" fmla="*/ 6372650 w 8636594"/>
              <a:gd name="connsiteY79" fmla="*/ 2993735 h 6377243"/>
              <a:gd name="connsiteX80" fmla="*/ 6453197 w 8636594"/>
              <a:gd name="connsiteY80" fmla="*/ 2869788 h 6377243"/>
              <a:gd name="connsiteX81" fmla="*/ 6564167 w 8636594"/>
              <a:gd name="connsiteY81" fmla="*/ 2696807 h 6377243"/>
              <a:gd name="connsiteX82" fmla="*/ 6976233 w 8636594"/>
              <a:gd name="connsiteY82" fmla="*/ 2045274 h 6377243"/>
              <a:gd name="connsiteX83" fmla="*/ 7086755 w 8636594"/>
              <a:gd name="connsiteY83" fmla="*/ 1872743 h 6377243"/>
              <a:gd name="connsiteX84" fmla="*/ 7170279 w 8636594"/>
              <a:gd name="connsiteY84" fmla="*/ 1744202 h 6377243"/>
              <a:gd name="connsiteX85" fmla="*/ 7226351 w 8636594"/>
              <a:gd name="connsiteY85" fmla="*/ 1659017 h 6377243"/>
              <a:gd name="connsiteX86" fmla="*/ 7282789 w 8636594"/>
              <a:gd name="connsiteY86" fmla="*/ 1574303 h 6377243"/>
              <a:gd name="connsiteX87" fmla="*/ 7339643 w 8636594"/>
              <a:gd name="connsiteY87" fmla="*/ 1490113 h 6377243"/>
              <a:gd name="connsiteX88" fmla="*/ 7396957 w 8636594"/>
              <a:gd name="connsiteY88" fmla="*/ 1406503 h 6377243"/>
              <a:gd name="connsiteX89" fmla="*/ 7454781 w 8636594"/>
              <a:gd name="connsiteY89" fmla="*/ 1323526 h 6377243"/>
              <a:gd name="connsiteX90" fmla="*/ 7513161 w 8636594"/>
              <a:gd name="connsiteY90" fmla="*/ 1241237 h 6377243"/>
              <a:gd name="connsiteX91" fmla="*/ 7572144 w 8636594"/>
              <a:gd name="connsiteY91" fmla="*/ 1159689 h 6377243"/>
              <a:gd name="connsiteX92" fmla="*/ 7601877 w 8636594"/>
              <a:gd name="connsiteY92" fmla="*/ 1119210 h 6377243"/>
              <a:gd name="connsiteX93" fmla="*/ 7631779 w 8636594"/>
              <a:gd name="connsiteY93" fmla="*/ 1078937 h 6377243"/>
              <a:gd name="connsiteX94" fmla="*/ 7661855 w 8636594"/>
              <a:gd name="connsiteY94" fmla="*/ 1038876 h 6377243"/>
              <a:gd name="connsiteX95" fmla="*/ 7692111 w 8636594"/>
              <a:gd name="connsiteY95" fmla="*/ 999035 h 6377243"/>
              <a:gd name="connsiteX96" fmla="*/ 7722554 w 8636594"/>
              <a:gd name="connsiteY96" fmla="*/ 959419 h 6377243"/>
              <a:gd name="connsiteX97" fmla="*/ 7753190 w 8636594"/>
              <a:gd name="connsiteY97" fmla="*/ 920037 h 6377243"/>
              <a:gd name="connsiteX98" fmla="*/ 7784023 w 8636594"/>
              <a:gd name="connsiteY98" fmla="*/ 880894 h 6377243"/>
              <a:gd name="connsiteX99" fmla="*/ 7815061 w 8636594"/>
              <a:gd name="connsiteY99" fmla="*/ 841997 h 6377243"/>
              <a:gd name="connsiteX100" fmla="*/ 7846308 w 8636594"/>
              <a:gd name="connsiteY100" fmla="*/ 803354 h 6377243"/>
              <a:gd name="connsiteX101" fmla="*/ 7877772 w 8636594"/>
              <a:gd name="connsiteY101" fmla="*/ 764970 h 6377243"/>
              <a:gd name="connsiteX102" fmla="*/ 7909458 w 8636594"/>
              <a:gd name="connsiteY102" fmla="*/ 726853 h 6377243"/>
              <a:gd name="connsiteX103" fmla="*/ 7941371 w 8636594"/>
              <a:gd name="connsiteY103" fmla="*/ 689010 h 6377243"/>
              <a:gd name="connsiteX104" fmla="*/ 7973518 w 8636594"/>
              <a:gd name="connsiteY104" fmla="*/ 651447 h 6377243"/>
              <a:gd name="connsiteX105" fmla="*/ 8005905 w 8636594"/>
              <a:gd name="connsiteY105" fmla="*/ 614171 h 6377243"/>
              <a:gd name="connsiteX106" fmla="*/ 8038538 w 8636594"/>
              <a:gd name="connsiteY106" fmla="*/ 577189 h 6377243"/>
              <a:gd name="connsiteX107" fmla="*/ 8071421 w 8636594"/>
              <a:gd name="connsiteY107" fmla="*/ 540507 h 6377243"/>
              <a:gd name="connsiteX108" fmla="*/ 8104563 w 8636594"/>
              <a:gd name="connsiteY108" fmla="*/ 504132 h 6377243"/>
              <a:gd name="connsiteX109" fmla="*/ 8137967 w 8636594"/>
              <a:gd name="connsiteY109" fmla="*/ 468072 h 6377243"/>
              <a:gd name="connsiteX110" fmla="*/ 8171641 w 8636594"/>
              <a:gd name="connsiteY110" fmla="*/ 432332 h 6377243"/>
              <a:gd name="connsiteX111" fmla="*/ 8205590 w 8636594"/>
              <a:gd name="connsiteY111" fmla="*/ 396920 h 6377243"/>
              <a:gd name="connsiteX112" fmla="*/ 8239820 w 8636594"/>
              <a:gd name="connsiteY112" fmla="*/ 361843 h 6377243"/>
              <a:gd name="connsiteX113" fmla="*/ 8274337 w 8636594"/>
              <a:gd name="connsiteY113" fmla="*/ 327107 h 6377243"/>
              <a:gd name="connsiteX114" fmla="*/ 8309147 w 8636594"/>
              <a:gd name="connsiteY114" fmla="*/ 292718 h 6377243"/>
              <a:gd name="connsiteX115" fmla="*/ 8344256 w 8636594"/>
              <a:gd name="connsiteY115" fmla="*/ 258685 h 6377243"/>
              <a:gd name="connsiteX116" fmla="*/ 8379669 w 8636594"/>
              <a:gd name="connsiteY116" fmla="*/ 225013 h 6377243"/>
              <a:gd name="connsiteX117" fmla="*/ 8415394 w 8636594"/>
              <a:gd name="connsiteY117" fmla="*/ 191709 h 6377243"/>
              <a:gd name="connsiteX118" fmla="*/ 8451434 w 8636594"/>
              <a:gd name="connsiteY118" fmla="*/ 158780 h 6377243"/>
              <a:gd name="connsiteX119" fmla="*/ 8487798 w 8636594"/>
              <a:gd name="connsiteY119" fmla="*/ 126233 h 6377243"/>
              <a:gd name="connsiteX120" fmla="*/ 8524489 w 8636594"/>
              <a:gd name="connsiteY120" fmla="*/ 94075 h 6377243"/>
              <a:gd name="connsiteX121" fmla="*/ 8561515 w 8636594"/>
              <a:gd name="connsiteY121" fmla="*/ 62312 h 6377243"/>
              <a:gd name="connsiteX122" fmla="*/ 8598881 w 8636594"/>
              <a:gd name="connsiteY122" fmla="*/ 30951 h 6377243"/>
              <a:gd name="connsiteX123" fmla="*/ 8636594 w 8636594"/>
              <a:gd name="connsiteY123" fmla="*/ 0 h 6377243"/>
              <a:gd name="connsiteX0" fmla="*/ 8636594 w 8636594"/>
              <a:gd name="connsiteY0" fmla="*/ 0 h 6359791"/>
              <a:gd name="connsiteX1" fmla="*/ 5293 w 8636594"/>
              <a:gd name="connsiteY1" fmla="*/ 0 h 6359791"/>
              <a:gd name="connsiteX2" fmla="*/ 0 w 8636594"/>
              <a:gd name="connsiteY2" fmla="*/ 5587843 h 6359791"/>
              <a:gd name="connsiteX3" fmla="*/ 1594033 w 8636594"/>
              <a:gd name="connsiteY3" fmla="*/ 5600057 h 6359791"/>
              <a:gd name="connsiteX4" fmla="*/ 1686068 w 8636594"/>
              <a:gd name="connsiteY4" fmla="*/ 5599745 h 6359791"/>
              <a:gd name="connsiteX5" fmla="*/ 3095759 w 8636594"/>
              <a:gd name="connsiteY5" fmla="*/ 6359791 h 6359791"/>
              <a:gd name="connsiteX6" fmla="*/ 3143903 w 8636594"/>
              <a:gd name="connsiteY6" fmla="*/ 6341961 h 6359791"/>
              <a:gd name="connsiteX7" fmla="*/ 3191491 w 8636594"/>
              <a:gd name="connsiteY7" fmla="*/ 6323757 h 6359791"/>
              <a:gd name="connsiteX8" fmla="*/ 3238528 w 8636594"/>
              <a:gd name="connsiteY8" fmla="*/ 6305184 h 6359791"/>
              <a:gd name="connsiteX9" fmla="*/ 3285021 w 8636594"/>
              <a:gd name="connsiteY9" fmla="*/ 6286245 h 6359791"/>
              <a:gd name="connsiteX10" fmla="*/ 3330977 w 8636594"/>
              <a:gd name="connsiteY10" fmla="*/ 6266942 h 6359791"/>
              <a:gd name="connsiteX11" fmla="*/ 3376401 w 8636594"/>
              <a:gd name="connsiteY11" fmla="*/ 6247281 h 6359791"/>
              <a:gd name="connsiteX12" fmla="*/ 3421300 w 8636594"/>
              <a:gd name="connsiteY12" fmla="*/ 6227263 h 6359791"/>
              <a:gd name="connsiteX13" fmla="*/ 3465680 w 8636594"/>
              <a:gd name="connsiteY13" fmla="*/ 6206893 h 6359791"/>
              <a:gd name="connsiteX14" fmla="*/ 3509548 w 8636594"/>
              <a:gd name="connsiteY14" fmla="*/ 6186174 h 6359791"/>
              <a:gd name="connsiteX15" fmla="*/ 3552910 w 8636594"/>
              <a:gd name="connsiteY15" fmla="*/ 6165110 h 6359791"/>
              <a:gd name="connsiteX16" fmla="*/ 3595773 w 8636594"/>
              <a:gd name="connsiteY16" fmla="*/ 6143704 h 6359791"/>
              <a:gd name="connsiteX17" fmla="*/ 3638142 w 8636594"/>
              <a:gd name="connsiteY17" fmla="*/ 6121960 h 6359791"/>
              <a:gd name="connsiteX18" fmla="*/ 3680024 w 8636594"/>
              <a:gd name="connsiteY18" fmla="*/ 6099881 h 6359791"/>
              <a:gd name="connsiteX19" fmla="*/ 3721426 w 8636594"/>
              <a:gd name="connsiteY19" fmla="*/ 6077471 h 6359791"/>
              <a:gd name="connsiteX20" fmla="*/ 3762353 w 8636594"/>
              <a:gd name="connsiteY20" fmla="*/ 6054733 h 6359791"/>
              <a:gd name="connsiteX21" fmla="*/ 3802812 w 8636594"/>
              <a:gd name="connsiteY21" fmla="*/ 6031671 h 6359791"/>
              <a:gd name="connsiteX22" fmla="*/ 3842810 w 8636594"/>
              <a:gd name="connsiteY22" fmla="*/ 6008288 h 6359791"/>
              <a:gd name="connsiteX23" fmla="*/ 3882352 w 8636594"/>
              <a:gd name="connsiteY23" fmla="*/ 5984588 h 6359791"/>
              <a:gd name="connsiteX24" fmla="*/ 3921445 w 8636594"/>
              <a:gd name="connsiteY24" fmla="*/ 5960574 h 6359791"/>
              <a:gd name="connsiteX25" fmla="*/ 3960096 w 8636594"/>
              <a:gd name="connsiteY25" fmla="*/ 5936250 h 6359791"/>
              <a:gd name="connsiteX26" fmla="*/ 3998311 w 8636594"/>
              <a:gd name="connsiteY26" fmla="*/ 5911619 h 6359791"/>
              <a:gd name="connsiteX27" fmla="*/ 4036095 w 8636594"/>
              <a:gd name="connsiteY27" fmla="*/ 5886685 h 6359791"/>
              <a:gd name="connsiteX28" fmla="*/ 4073456 w 8636594"/>
              <a:gd name="connsiteY28" fmla="*/ 5861452 h 6359791"/>
              <a:gd name="connsiteX29" fmla="*/ 4110400 w 8636594"/>
              <a:gd name="connsiteY29" fmla="*/ 5835922 h 6359791"/>
              <a:gd name="connsiteX30" fmla="*/ 4146933 w 8636594"/>
              <a:gd name="connsiteY30" fmla="*/ 5810100 h 6359791"/>
              <a:gd name="connsiteX31" fmla="*/ 4183061 w 8636594"/>
              <a:gd name="connsiteY31" fmla="*/ 5783988 h 6359791"/>
              <a:gd name="connsiteX32" fmla="*/ 4218791 w 8636594"/>
              <a:gd name="connsiteY32" fmla="*/ 5757591 h 6359791"/>
              <a:gd name="connsiteX33" fmla="*/ 4254129 w 8636594"/>
              <a:gd name="connsiteY33" fmla="*/ 5730912 h 6359791"/>
              <a:gd name="connsiteX34" fmla="*/ 4289081 w 8636594"/>
              <a:gd name="connsiteY34" fmla="*/ 5703955 h 6359791"/>
              <a:gd name="connsiteX35" fmla="*/ 4323654 w 8636594"/>
              <a:gd name="connsiteY35" fmla="*/ 5676722 h 6359791"/>
              <a:gd name="connsiteX36" fmla="*/ 4357854 w 8636594"/>
              <a:gd name="connsiteY36" fmla="*/ 5649218 h 6359791"/>
              <a:gd name="connsiteX37" fmla="*/ 4391688 w 8636594"/>
              <a:gd name="connsiteY37" fmla="*/ 5621446 h 6359791"/>
              <a:gd name="connsiteX38" fmla="*/ 4425162 w 8636594"/>
              <a:gd name="connsiteY38" fmla="*/ 5593409 h 6359791"/>
              <a:gd name="connsiteX39" fmla="*/ 4458281 w 8636594"/>
              <a:gd name="connsiteY39" fmla="*/ 5565111 h 6359791"/>
              <a:gd name="connsiteX40" fmla="*/ 4491053 w 8636594"/>
              <a:gd name="connsiteY40" fmla="*/ 5536556 h 6359791"/>
              <a:gd name="connsiteX41" fmla="*/ 4523484 w 8636594"/>
              <a:gd name="connsiteY41" fmla="*/ 5507747 h 6359791"/>
              <a:gd name="connsiteX42" fmla="*/ 4555580 w 8636594"/>
              <a:gd name="connsiteY42" fmla="*/ 5478687 h 6359791"/>
              <a:gd name="connsiteX43" fmla="*/ 4587347 w 8636594"/>
              <a:gd name="connsiteY43" fmla="*/ 5449380 h 6359791"/>
              <a:gd name="connsiteX44" fmla="*/ 4618793 w 8636594"/>
              <a:gd name="connsiteY44" fmla="*/ 5419830 h 6359791"/>
              <a:gd name="connsiteX45" fmla="*/ 4649922 w 8636594"/>
              <a:gd name="connsiteY45" fmla="*/ 5390040 h 6359791"/>
              <a:gd name="connsiteX46" fmla="*/ 4680742 w 8636594"/>
              <a:gd name="connsiteY46" fmla="*/ 5360014 h 6359791"/>
              <a:gd name="connsiteX47" fmla="*/ 4711259 w 8636594"/>
              <a:gd name="connsiteY47" fmla="*/ 5329755 h 6359791"/>
              <a:gd name="connsiteX48" fmla="*/ 4741478 w 8636594"/>
              <a:gd name="connsiteY48" fmla="*/ 5299266 h 6359791"/>
              <a:gd name="connsiteX49" fmla="*/ 4771408 w 8636594"/>
              <a:gd name="connsiteY49" fmla="*/ 5268551 h 6359791"/>
              <a:gd name="connsiteX50" fmla="*/ 4801053 w 8636594"/>
              <a:gd name="connsiteY50" fmla="*/ 5237614 h 6359791"/>
              <a:gd name="connsiteX51" fmla="*/ 4830420 w 8636594"/>
              <a:gd name="connsiteY51" fmla="*/ 5206458 h 6359791"/>
              <a:gd name="connsiteX52" fmla="*/ 4859516 w 8636594"/>
              <a:gd name="connsiteY52" fmla="*/ 5175087 h 6359791"/>
              <a:gd name="connsiteX53" fmla="*/ 4888347 w 8636594"/>
              <a:gd name="connsiteY53" fmla="*/ 5143504 h 6359791"/>
              <a:gd name="connsiteX54" fmla="*/ 4916919 w 8636594"/>
              <a:gd name="connsiteY54" fmla="*/ 5111713 h 6359791"/>
              <a:gd name="connsiteX55" fmla="*/ 4945238 w 8636594"/>
              <a:gd name="connsiteY55" fmla="*/ 5079717 h 6359791"/>
              <a:gd name="connsiteX56" fmla="*/ 4973311 w 8636594"/>
              <a:gd name="connsiteY56" fmla="*/ 5047519 h 6359791"/>
              <a:gd name="connsiteX57" fmla="*/ 5001145 w 8636594"/>
              <a:gd name="connsiteY57" fmla="*/ 5015124 h 6359791"/>
              <a:gd name="connsiteX58" fmla="*/ 5028745 w 8636594"/>
              <a:gd name="connsiteY58" fmla="*/ 4982535 h 6359791"/>
              <a:gd name="connsiteX59" fmla="*/ 5056117 w 8636594"/>
              <a:gd name="connsiteY59" fmla="*/ 4949755 h 6359791"/>
              <a:gd name="connsiteX60" fmla="*/ 5083269 w 8636594"/>
              <a:gd name="connsiteY60" fmla="*/ 4916787 h 6359791"/>
              <a:gd name="connsiteX61" fmla="*/ 5110207 w 8636594"/>
              <a:gd name="connsiteY61" fmla="*/ 4883636 h 6359791"/>
              <a:gd name="connsiteX62" fmla="*/ 5136937 w 8636594"/>
              <a:gd name="connsiteY62" fmla="*/ 4850305 h 6359791"/>
              <a:gd name="connsiteX63" fmla="*/ 5163464 w 8636594"/>
              <a:gd name="connsiteY63" fmla="*/ 4816797 h 6359791"/>
              <a:gd name="connsiteX64" fmla="*/ 5215940 w 8636594"/>
              <a:gd name="connsiteY64" fmla="*/ 4749265 h 6359791"/>
              <a:gd name="connsiteX65" fmla="*/ 5267684 w 8636594"/>
              <a:gd name="connsiteY65" fmla="*/ 4681068 h 6359791"/>
              <a:gd name="connsiteX66" fmla="*/ 5318748 w 8636594"/>
              <a:gd name="connsiteY66" fmla="*/ 4612234 h 6359791"/>
              <a:gd name="connsiteX67" fmla="*/ 5369182 w 8636594"/>
              <a:gd name="connsiteY67" fmla="*/ 4542793 h 6359791"/>
              <a:gd name="connsiteX68" fmla="*/ 5419038 w 8636594"/>
              <a:gd name="connsiteY68" fmla="*/ 4472771 h 6359791"/>
              <a:gd name="connsiteX69" fmla="*/ 5468365 w 8636594"/>
              <a:gd name="connsiteY69" fmla="*/ 4402196 h 6359791"/>
              <a:gd name="connsiteX70" fmla="*/ 5517215 w 8636594"/>
              <a:gd name="connsiteY70" fmla="*/ 4331098 h 6359791"/>
              <a:gd name="connsiteX71" fmla="*/ 5565637 w 8636594"/>
              <a:gd name="connsiteY71" fmla="*/ 4259503 h 6359791"/>
              <a:gd name="connsiteX72" fmla="*/ 5613684 w 8636594"/>
              <a:gd name="connsiteY72" fmla="*/ 4187441 h 6359791"/>
              <a:gd name="connsiteX73" fmla="*/ 5685160 w 8636594"/>
              <a:gd name="connsiteY73" fmla="*/ 4078531 h 6359791"/>
              <a:gd name="connsiteX74" fmla="*/ 5756074 w 8636594"/>
              <a:gd name="connsiteY74" fmla="*/ 3968727 h 6359791"/>
              <a:gd name="connsiteX75" fmla="*/ 5873483 w 8636594"/>
              <a:gd name="connsiteY75" fmla="*/ 3783989 h 6359791"/>
              <a:gd name="connsiteX76" fmla="*/ 6203209 w 8636594"/>
              <a:gd name="connsiteY76" fmla="*/ 3258640 h 6359791"/>
              <a:gd name="connsiteX77" fmla="*/ 6299430 w 8636594"/>
              <a:gd name="connsiteY77" fmla="*/ 3107321 h 6359791"/>
              <a:gd name="connsiteX78" fmla="*/ 6372650 w 8636594"/>
              <a:gd name="connsiteY78" fmla="*/ 2993735 h 6359791"/>
              <a:gd name="connsiteX79" fmla="*/ 6453197 w 8636594"/>
              <a:gd name="connsiteY79" fmla="*/ 2869788 h 6359791"/>
              <a:gd name="connsiteX80" fmla="*/ 6564167 w 8636594"/>
              <a:gd name="connsiteY80" fmla="*/ 2696807 h 6359791"/>
              <a:gd name="connsiteX81" fmla="*/ 6976233 w 8636594"/>
              <a:gd name="connsiteY81" fmla="*/ 2045274 h 6359791"/>
              <a:gd name="connsiteX82" fmla="*/ 7086755 w 8636594"/>
              <a:gd name="connsiteY82" fmla="*/ 1872743 h 6359791"/>
              <a:gd name="connsiteX83" fmla="*/ 7170279 w 8636594"/>
              <a:gd name="connsiteY83" fmla="*/ 1744202 h 6359791"/>
              <a:gd name="connsiteX84" fmla="*/ 7226351 w 8636594"/>
              <a:gd name="connsiteY84" fmla="*/ 1659017 h 6359791"/>
              <a:gd name="connsiteX85" fmla="*/ 7282789 w 8636594"/>
              <a:gd name="connsiteY85" fmla="*/ 1574303 h 6359791"/>
              <a:gd name="connsiteX86" fmla="*/ 7339643 w 8636594"/>
              <a:gd name="connsiteY86" fmla="*/ 1490113 h 6359791"/>
              <a:gd name="connsiteX87" fmla="*/ 7396957 w 8636594"/>
              <a:gd name="connsiteY87" fmla="*/ 1406503 h 6359791"/>
              <a:gd name="connsiteX88" fmla="*/ 7454781 w 8636594"/>
              <a:gd name="connsiteY88" fmla="*/ 1323526 h 6359791"/>
              <a:gd name="connsiteX89" fmla="*/ 7513161 w 8636594"/>
              <a:gd name="connsiteY89" fmla="*/ 1241237 h 6359791"/>
              <a:gd name="connsiteX90" fmla="*/ 7572144 w 8636594"/>
              <a:gd name="connsiteY90" fmla="*/ 1159689 h 6359791"/>
              <a:gd name="connsiteX91" fmla="*/ 7601877 w 8636594"/>
              <a:gd name="connsiteY91" fmla="*/ 1119210 h 6359791"/>
              <a:gd name="connsiteX92" fmla="*/ 7631779 w 8636594"/>
              <a:gd name="connsiteY92" fmla="*/ 1078937 h 6359791"/>
              <a:gd name="connsiteX93" fmla="*/ 7661855 w 8636594"/>
              <a:gd name="connsiteY93" fmla="*/ 1038876 h 6359791"/>
              <a:gd name="connsiteX94" fmla="*/ 7692111 w 8636594"/>
              <a:gd name="connsiteY94" fmla="*/ 999035 h 6359791"/>
              <a:gd name="connsiteX95" fmla="*/ 7722554 w 8636594"/>
              <a:gd name="connsiteY95" fmla="*/ 959419 h 6359791"/>
              <a:gd name="connsiteX96" fmla="*/ 7753190 w 8636594"/>
              <a:gd name="connsiteY96" fmla="*/ 920037 h 6359791"/>
              <a:gd name="connsiteX97" fmla="*/ 7784023 w 8636594"/>
              <a:gd name="connsiteY97" fmla="*/ 880894 h 6359791"/>
              <a:gd name="connsiteX98" fmla="*/ 7815061 w 8636594"/>
              <a:gd name="connsiteY98" fmla="*/ 841997 h 6359791"/>
              <a:gd name="connsiteX99" fmla="*/ 7846308 w 8636594"/>
              <a:gd name="connsiteY99" fmla="*/ 803354 h 6359791"/>
              <a:gd name="connsiteX100" fmla="*/ 7877772 w 8636594"/>
              <a:gd name="connsiteY100" fmla="*/ 764970 h 6359791"/>
              <a:gd name="connsiteX101" fmla="*/ 7909458 w 8636594"/>
              <a:gd name="connsiteY101" fmla="*/ 726853 h 6359791"/>
              <a:gd name="connsiteX102" fmla="*/ 7941371 w 8636594"/>
              <a:gd name="connsiteY102" fmla="*/ 689010 h 6359791"/>
              <a:gd name="connsiteX103" fmla="*/ 7973518 w 8636594"/>
              <a:gd name="connsiteY103" fmla="*/ 651447 h 6359791"/>
              <a:gd name="connsiteX104" fmla="*/ 8005905 w 8636594"/>
              <a:gd name="connsiteY104" fmla="*/ 614171 h 6359791"/>
              <a:gd name="connsiteX105" fmla="*/ 8038538 w 8636594"/>
              <a:gd name="connsiteY105" fmla="*/ 577189 h 6359791"/>
              <a:gd name="connsiteX106" fmla="*/ 8071421 w 8636594"/>
              <a:gd name="connsiteY106" fmla="*/ 540507 h 6359791"/>
              <a:gd name="connsiteX107" fmla="*/ 8104563 w 8636594"/>
              <a:gd name="connsiteY107" fmla="*/ 504132 h 6359791"/>
              <a:gd name="connsiteX108" fmla="*/ 8137967 w 8636594"/>
              <a:gd name="connsiteY108" fmla="*/ 468072 h 6359791"/>
              <a:gd name="connsiteX109" fmla="*/ 8171641 w 8636594"/>
              <a:gd name="connsiteY109" fmla="*/ 432332 h 6359791"/>
              <a:gd name="connsiteX110" fmla="*/ 8205590 w 8636594"/>
              <a:gd name="connsiteY110" fmla="*/ 396920 h 6359791"/>
              <a:gd name="connsiteX111" fmla="*/ 8239820 w 8636594"/>
              <a:gd name="connsiteY111" fmla="*/ 361843 h 6359791"/>
              <a:gd name="connsiteX112" fmla="*/ 8274337 w 8636594"/>
              <a:gd name="connsiteY112" fmla="*/ 327107 h 6359791"/>
              <a:gd name="connsiteX113" fmla="*/ 8309147 w 8636594"/>
              <a:gd name="connsiteY113" fmla="*/ 292718 h 6359791"/>
              <a:gd name="connsiteX114" fmla="*/ 8344256 w 8636594"/>
              <a:gd name="connsiteY114" fmla="*/ 258685 h 6359791"/>
              <a:gd name="connsiteX115" fmla="*/ 8379669 w 8636594"/>
              <a:gd name="connsiteY115" fmla="*/ 225013 h 6359791"/>
              <a:gd name="connsiteX116" fmla="*/ 8415394 w 8636594"/>
              <a:gd name="connsiteY116" fmla="*/ 191709 h 6359791"/>
              <a:gd name="connsiteX117" fmla="*/ 8451434 w 8636594"/>
              <a:gd name="connsiteY117" fmla="*/ 158780 h 6359791"/>
              <a:gd name="connsiteX118" fmla="*/ 8487798 w 8636594"/>
              <a:gd name="connsiteY118" fmla="*/ 126233 h 6359791"/>
              <a:gd name="connsiteX119" fmla="*/ 8524489 w 8636594"/>
              <a:gd name="connsiteY119" fmla="*/ 94075 h 6359791"/>
              <a:gd name="connsiteX120" fmla="*/ 8561515 w 8636594"/>
              <a:gd name="connsiteY120" fmla="*/ 62312 h 6359791"/>
              <a:gd name="connsiteX121" fmla="*/ 8598881 w 8636594"/>
              <a:gd name="connsiteY121" fmla="*/ 30951 h 6359791"/>
              <a:gd name="connsiteX122" fmla="*/ 8636594 w 8636594"/>
              <a:gd name="connsiteY122" fmla="*/ 0 h 6359791"/>
              <a:gd name="connsiteX0" fmla="*/ 8636594 w 8636594"/>
              <a:gd name="connsiteY0" fmla="*/ 0 h 6341961"/>
              <a:gd name="connsiteX1" fmla="*/ 5293 w 8636594"/>
              <a:gd name="connsiteY1" fmla="*/ 0 h 6341961"/>
              <a:gd name="connsiteX2" fmla="*/ 0 w 8636594"/>
              <a:gd name="connsiteY2" fmla="*/ 5587843 h 6341961"/>
              <a:gd name="connsiteX3" fmla="*/ 1594033 w 8636594"/>
              <a:gd name="connsiteY3" fmla="*/ 5600057 h 6341961"/>
              <a:gd name="connsiteX4" fmla="*/ 1686068 w 8636594"/>
              <a:gd name="connsiteY4" fmla="*/ 5599745 h 6341961"/>
              <a:gd name="connsiteX5" fmla="*/ 3143903 w 8636594"/>
              <a:gd name="connsiteY5" fmla="*/ 6341961 h 6341961"/>
              <a:gd name="connsiteX6" fmla="*/ 3191491 w 8636594"/>
              <a:gd name="connsiteY6" fmla="*/ 6323757 h 6341961"/>
              <a:gd name="connsiteX7" fmla="*/ 3238528 w 8636594"/>
              <a:gd name="connsiteY7" fmla="*/ 6305184 h 6341961"/>
              <a:gd name="connsiteX8" fmla="*/ 3285021 w 8636594"/>
              <a:gd name="connsiteY8" fmla="*/ 6286245 h 6341961"/>
              <a:gd name="connsiteX9" fmla="*/ 3330977 w 8636594"/>
              <a:gd name="connsiteY9" fmla="*/ 6266942 h 6341961"/>
              <a:gd name="connsiteX10" fmla="*/ 3376401 w 8636594"/>
              <a:gd name="connsiteY10" fmla="*/ 6247281 h 6341961"/>
              <a:gd name="connsiteX11" fmla="*/ 3421300 w 8636594"/>
              <a:gd name="connsiteY11" fmla="*/ 6227263 h 6341961"/>
              <a:gd name="connsiteX12" fmla="*/ 3465680 w 8636594"/>
              <a:gd name="connsiteY12" fmla="*/ 6206893 h 6341961"/>
              <a:gd name="connsiteX13" fmla="*/ 3509548 w 8636594"/>
              <a:gd name="connsiteY13" fmla="*/ 6186174 h 6341961"/>
              <a:gd name="connsiteX14" fmla="*/ 3552910 w 8636594"/>
              <a:gd name="connsiteY14" fmla="*/ 6165110 h 6341961"/>
              <a:gd name="connsiteX15" fmla="*/ 3595773 w 8636594"/>
              <a:gd name="connsiteY15" fmla="*/ 6143704 h 6341961"/>
              <a:gd name="connsiteX16" fmla="*/ 3638142 w 8636594"/>
              <a:gd name="connsiteY16" fmla="*/ 6121960 h 6341961"/>
              <a:gd name="connsiteX17" fmla="*/ 3680024 w 8636594"/>
              <a:gd name="connsiteY17" fmla="*/ 6099881 h 6341961"/>
              <a:gd name="connsiteX18" fmla="*/ 3721426 w 8636594"/>
              <a:gd name="connsiteY18" fmla="*/ 6077471 h 6341961"/>
              <a:gd name="connsiteX19" fmla="*/ 3762353 w 8636594"/>
              <a:gd name="connsiteY19" fmla="*/ 6054733 h 6341961"/>
              <a:gd name="connsiteX20" fmla="*/ 3802812 w 8636594"/>
              <a:gd name="connsiteY20" fmla="*/ 6031671 h 6341961"/>
              <a:gd name="connsiteX21" fmla="*/ 3842810 w 8636594"/>
              <a:gd name="connsiteY21" fmla="*/ 6008288 h 6341961"/>
              <a:gd name="connsiteX22" fmla="*/ 3882352 w 8636594"/>
              <a:gd name="connsiteY22" fmla="*/ 5984588 h 6341961"/>
              <a:gd name="connsiteX23" fmla="*/ 3921445 w 8636594"/>
              <a:gd name="connsiteY23" fmla="*/ 5960574 h 6341961"/>
              <a:gd name="connsiteX24" fmla="*/ 3960096 w 8636594"/>
              <a:gd name="connsiteY24" fmla="*/ 5936250 h 6341961"/>
              <a:gd name="connsiteX25" fmla="*/ 3998311 w 8636594"/>
              <a:gd name="connsiteY25" fmla="*/ 5911619 h 6341961"/>
              <a:gd name="connsiteX26" fmla="*/ 4036095 w 8636594"/>
              <a:gd name="connsiteY26" fmla="*/ 5886685 h 6341961"/>
              <a:gd name="connsiteX27" fmla="*/ 4073456 w 8636594"/>
              <a:gd name="connsiteY27" fmla="*/ 5861452 h 6341961"/>
              <a:gd name="connsiteX28" fmla="*/ 4110400 w 8636594"/>
              <a:gd name="connsiteY28" fmla="*/ 5835922 h 6341961"/>
              <a:gd name="connsiteX29" fmla="*/ 4146933 w 8636594"/>
              <a:gd name="connsiteY29" fmla="*/ 5810100 h 6341961"/>
              <a:gd name="connsiteX30" fmla="*/ 4183061 w 8636594"/>
              <a:gd name="connsiteY30" fmla="*/ 5783988 h 6341961"/>
              <a:gd name="connsiteX31" fmla="*/ 4218791 w 8636594"/>
              <a:gd name="connsiteY31" fmla="*/ 5757591 h 6341961"/>
              <a:gd name="connsiteX32" fmla="*/ 4254129 w 8636594"/>
              <a:gd name="connsiteY32" fmla="*/ 5730912 h 6341961"/>
              <a:gd name="connsiteX33" fmla="*/ 4289081 w 8636594"/>
              <a:gd name="connsiteY33" fmla="*/ 5703955 h 6341961"/>
              <a:gd name="connsiteX34" fmla="*/ 4323654 w 8636594"/>
              <a:gd name="connsiteY34" fmla="*/ 5676722 h 6341961"/>
              <a:gd name="connsiteX35" fmla="*/ 4357854 w 8636594"/>
              <a:gd name="connsiteY35" fmla="*/ 5649218 h 6341961"/>
              <a:gd name="connsiteX36" fmla="*/ 4391688 w 8636594"/>
              <a:gd name="connsiteY36" fmla="*/ 5621446 h 6341961"/>
              <a:gd name="connsiteX37" fmla="*/ 4425162 w 8636594"/>
              <a:gd name="connsiteY37" fmla="*/ 5593409 h 6341961"/>
              <a:gd name="connsiteX38" fmla="*/ 4458281 w 8636594"/>
              <a:gd name="connsiteY38" fmla="*/ 5565111 h 6341961"/>
              <a:gd name="connsiteX39" fmla="*/ 4491053 w 8636594"/>
              <a:gd name="connsiteY39" fmla="*/ 5536556 h 6341961"/>
              <a:gd name="connsiteX40" fmla="*/ 4523484 w 8636594"/>
              <a:gd name="connsiteY40" fmla="*/ 5507747 h 6341961"/>
              <a:gd name="connsiteX41" fmla="*/ 4555580 w 8636594"/>
              <a:gd name="connsiteY41" fmla="*/ 5478687 h 6341961"/>
              <a:gd name="connsiteX42" fmla="*/ 4587347 w 8636594"/>
              <a:gd name="connsiteY42" fmla="*/ 5449380 h 6341961"/>
              <a:gd name="connsiteX43" fmla="*/ 4618793 w 8636594"/>
              <a:gd name="connsiteY43" fmla="*/ 5419830 h 6341961"/>
              <a:gd name="connsiteX44" fmla="*/ 4649922 w 8636594"/>
              <a:gd name="connsiteY44" fmla="*/ 5390040 h 6341961"/>
              <a:gd name="connsiteX45" fmla="*/ 4680742 w 8636594"/>
              <a:gd name="connsiteY45" fmla="*/ 5360014 h 6341961"/>
              <a:gd name="connsiteX46" fmla="*/ 4711259 w 8636594"/>
              <a:gd name="connsiteY46" fmla="*/ 5329755 h 6341961"/>
              <a:gd name="connsiteX47" fmla="*/ 4741478 w 8636594"/>
              <a:gd name="connsiteY47" fmla="*/ 5299266 h 6341961"/>
              <a:gd name="connsiteX48" fmla="*/ 4771408 w 8636594"/>
              <a:gd name="connsiteY48" fmla="*/ 5268551 h 6341961"/>
              <a:gd name="connsiteX49" fmla="*/ 4801053 w 8636594"/>
              <a:gd name="connsiteY49" fmla="*/ 5237614 h 6341961"/>
              <a:gd name="connsiteX50" fmla="*/ 4830420 w 8636594"/>
              <a:gd name="connsiteY50" fmla="*/ 5206458 h 6341961"/>
              <a:gd name="connsiteX51" fmla="*/ 4859516 w 8636594"/>
              <a:gd name="connsiteY51" fmla="*/ 5175087 h 6341961"/>
              <a:gd name="connsiteX52" fmla="*/ 4888347 w 8636594"/>
              <a:gd name="connsiteY52" fmla="*/ 5143504 h 6341961"/>
              <a:gd name="connsiteX53" fmla="*/ 4916919 w 8636594"/>
              <a:gd name="connsiteY53" fmla="*/ 5111713 h 6341961"/>
              <a:gd name="connsiteX54" fmla="*/ 4945238 w 8636594"/>
              <a:gd name="connsiteY54" fmla="*/ 5079717 h 6341961"/>
              <a:gd name="connsiteX55" fmla="*/ 4973311 w 8636594"/>
              <a:gd name="connsiteY55" fmla="*/ 5047519 h 6341961"/>
              <a:gd name="connsiteX56" fmla="*/ 5001145 w 8636594"/>
              <a:gd name="connsiteY56" fmla="*/ 5015124 h 6341961"/>
              <a:gd name="connsiteX57" fmla="*/ 5028745 w 8636594"/>
              <a:gd name="connsiteY57" fmla="*/ 4982535 h 6341961"/>
              <a:gd name="connsiteX58" fmla="*/ 5056117 w 8636594"/>
              <a:gd name="connsiteY58" fmla="*/ 4949755 h 6341961"/>
              <a:gd name="connsiteX59" fmla="*/ 5083269 w 8636594"/>
              <a:gd name="connsiteY59" fmla="*/ 4916787 h 6341961"/>
              <a:gd name="connsiteX60" fmla="*/ 5110207 w 8636594"/>
              <a:gd name="connsiteY60" fmla="*/ 4883636 h 6341961"/>
              <a:gd name="connsiteX61" fmla="*/ 5136937 w 8636594"/>
              <a:gd name="connsiteY61" fmla="*/ 4850305 h 6341961"/>
              <a:gd name="connsiteX62" fmla="*/ 5163464 w 8636594"/>
              <a:gd name="connsiteY62" fmla="*/ 4816797 h 6341961"/>
              <a:gd name="connsiteX63" fmla="*/ 5215940 w 8636594"/>
              <a:gd name="connsiteY63" fmla="*/ 4749265 h 6341961"/>
              <a:gd name="connsiteX64" fmla="*/ 5267684 w 8636594"/>
              <a:gd name="connsiteY64" fmla="*/ 4681068 h 6341961"/>
              <a:gd name="connsiteX65" fmla="*/ 5318748 w 8636594"/>
              <a:gd name="connsiteY65" fmla="*/ 4612234 h 6341961"/>
              <a:gd name="connsiteX66" fmla="*/ 5369182 w 8636594"/>
              <a:gd name="connsiteY66" fmla="*/ 4542793 h 6341961"/>
              <a:gd name="connsiteX67" fmla="*/ 5419038 w 8636594"/>
              <a:gd name="connsiteY67" fmla="*/ 4472771 h 6341961"/>
              <a:gd name="connsiteX68" fmla="*/ 5468365 w 8636594"/>
              <a:gd name="connsiteY68" fmla="*/ 4402196 h 6341961"/>
              <a:gd name="connsiteX69" fmla="*/ 5517215 w 8636594"/>
              <a:gd name="connsiteY69" fmla="*/ 4331098 h 6341961"/>
              <a:gd name="connsiteX70" fmla="*/ 5565637 w 8636594"/>
              <a:gd name="connsiteY70" fmla="*/ 4259503 h 6341961"/>
              <a:gd name="connsiteX71" fmla="*/ 5613684 w 8636594"/>
              <a:gd name="connsiteY71" fmla="*/ 4187441 h 6341961"/>
              <a:gd name="connsiteX72" fmla="*/ 5685160 w 8636594"/>
              <a:gd name="connsiteY72" fmla="*/ 4078531 h 6341961"/>
              <a:gd name="connsiteX73" fmla="*/ 5756074 w 8636594"/>
              <a:gd name="connsiteY73" fmla="*/ 3968727 h 6341961"/>
              <a:gd name="connsiteX74" fmla="*/ 5873483 w 8636594"/>
              <a:gd name="connsiteY74" fmla="*/ 3783989 h 6341961"/>
              <a:gd name="connsiteX75" fmla="*/ 6203209 w 8636594"/>
              <a:gd name="connsiteY75" fmla="*/ 3258640 h 6341961"/>
              <a:gd name="connsiteX76" fmla="*/ 6299430 w 8636594"/>
              <a:gd name="connsiteY76" fmla="*/ 3107321 h 6341961"/>
              <a:gd name="connsiteX77" fmla="*/ 6372650 w 8636594"/>
              <a:gd name="connsiteY77" fmla="*/ 2993735 h 6341961"/>
              <a:gd name="connsiteX78" fmla="*/ 6453197 w 8636594"/>
              <a:gd name="connsiteY78" fmla="*/ 2869788 h 6341961"/>
              <a:gd name="connsiteX79" fmla="*/ 6564167 w 8636594"/>
              <a:gd name="connsiteY79" fmla="*/ 2696807 h 6341961"/>
              <a:gd name="connsiteX80" fmla="*/ 6976233 w 8636594"/>
              <a:gd name="connsiteY80" fmla="*/ 2045274 h 6341961"/>
              <a:gd name="connsiteX81" fmla="*/ 7086755 w 8636594"/>
              <a:gd name="connsiteY81" fmla="*/ 1872743 h 6341961"/>
              <a:gd name="connsiteX82" fmla="*/ 7170279 w 8636594"/>
              <a:gd name="connsiteY82" fmla="*/ 1744202 h 6341961"/>
              <a:gd name="connsiteX83" fmla="*/ 7226351 w 8636594"/>
              <a:gd name="connsiteY83" fmla="*/ 1659017 h 6341961"/>
              <a:gd name="connsiteX84" fmla="*/ 7282789 w 8636594"/>
              <a:gd name="connsiteY84" fmla="*/ 1574303 h 6341961"/>
              <a:gd name="connsiteX85" fmla="*/ 7339643 w 8636594"/>
              <a:gd name="connsiteY85" fmla="*/ 1490113 h 6341961"/>
              <a:gd name="connsiteX86" fmla="*/ 7396957 w 8636594"/>
              <a:gd name="connsiteY86" fmla="*/ 1406503 h 6341961"/>
              <a:gd name="connsiteX87" fmla="*/ 7454781 w 8636594"/>
              <a:gd name="connsiteY87" fmla="*/ 1323526 h 6341961"/>
              <a:gd name="connsiteX88" fmla="*/ 7513161 w 8636594"/>
              <a:gd name="connsiteY88" fmla="*/ 1241237 h 6341961"/>
              <a:gd name="connsiteX89" fmla="*/ 7572144 w 8636594"/>
              <a:gd name="connsiteY89" fmla="*/ 1159689 h 6341961"/>
              <a:gd name="connsiteX90" fmla="*/ 7601877 w 8636594"/>
              <a:gd name="connsiteY90" fmla="*/ 1119210 h 6341961"/>
              <a:gd name="connsiteX91" fmla="*/ 7631779 w 8636594"/>
              <a:gd name="connsiteY91" fmla="*/ 1078937 h 6341961"/>
              <a:gd name="connsiteX92" fmla="*/ 7661855 w 8636594"/>
              <a:gd name="connsiteY92" fmla="*/ 1038876 h 6341961"/>
              <a:gd name="connsiteX93" fmla="*/ 7692111 w 8636594"/>
              <a:gd name="connsiteY93" fmla="*/ 999035 h 6341961"/>
              <a:gd name="connsiteX94" fmla="*/ 7722554 w 8636594"/>
              <a:gd name="connsiteY94" fmla="*/ 959419 h 6341961"/>
              <a:gd name="connsiteX95" fmla="*/ 7753190 w 8636594"/>
              <a:gd name="connsiteY95" fmla="*/ 920037 h 6341961"/>
              <a:gd name="connsiteX96" fmla="*/ 7784023 w 8636594"/>
              <a:gd name="connsiteY96" fmla="*/ 880894 h 6341961"/>
              <a:gd name="connsiteX97" fmla="*/ 7815061 w 8636594"/>
              <a:gd name="connsiteY97" fmla="*/ 841997 h 6341961"/>
              <a:gd name="connsiteX98" fmla="*/ 7846308 w 8636594"/>
              <a:gd name="connsiteY98" fmla="*/ 803354 h 6341961"/>
              <a:gd name="connsiteX99" fmla="*/ 7877772 w 8636594"/>
              <a:gd name="connsiteY99" fmla="*/ 764970 h 6341961"/>
              <a:gd name="connsiteX100" fmla="*/ 7909458 w 8636594"/>
              <a:gd name="connsiteY100" fmla="*/ 726853 h 6341961"/>
              <a:gd name="connsiteX101" fmla="*/ 7941371 w 8636594"/>
              <a:gd name="connsiteY101" fmla="*/ 689010 h 6341961"/>
              <a:gd name="connsiteX102" fmla="*/ 7973518 w 8636594"/>
              <a:gd name="connsiteY102" fmla="*/ 651447 h 6341961"/>
              <a:gd name="connsiteX103" fmla="*/ 8005905 w 8636594"/>
              <a:gd name="connsiteY103" fmla="*/ 614171 h 6341961"/>
              <a:gd name="connsiteX104" fmla="*/ 8038538 w 8636594"/>
              <a:gd name="connsiteY104" fmla="*/ 577189 h 6341961"/>
              <a:gd name="connsiteX105" fmla="*/ 8071421 w 8636594"/>
              <a:gd name="connsiteY105" fmla="*/ 540507 h 6341961"/>
              <a:gd name="connsiteX106" fmla="*/ 8104563 w 8636594"/>
              <a:gd name="connsiteY106" fmla="*/ 504132 h 6341961"/>
              <a:gd name="connsiteX107" fmla="*/ 8137967 w 8636594"/>
              <a:gd name="connsiteY107" fmla="*/ 468072 h 6341961"/>
              <a:gd name="connsiteX108" fmla="*/ 8171641 w 8636594"/>
              <a:gd name="connsiteY108" fmla="*/ 432332 h 6341961"/>
              <a:gd name="connsiteX109" fmla="*/ 8205590 w 8636594"/>
              <a:gd name="connsiteY109" fmla="*/ 396920 h 6341961"/>
              <a:gd name="connsiteX110" fmla="*/ 8239820 w 8636594"/>
              <a:gd name="connsiteY110" fmla="*/ 361843 h 6341961"/>
              <a:gd name="connsiteX111" fmla="*/ 8274337 w 8636594"/>
              <a:gd name="connsiteY111" fmla="*/ 327107 h 6341961"/>
              <a:gd name="connsiteX112" fmla="*/ 8309147 w 8636594"/>
              <a:gd name="connsiteY112" fmla="*/ 292718 h 6341961"/>
              <a:gd name="connsiteX113" fmla="*/ 8344256 w 8636594"/>
              <a:gd name="connsiteY113" fmla="*/ 258685 h 6341961"/>
              <a:gd name="connsiteX114" fmla="*/ 8379669 w 8636594"/>
              <a:gd name="connsiteY114" fmla="*/ 225013 h 6341961"/>
              <a:gd name="connsiteX115" fmla="*/ 8415394 w 8636594"/>
              <a:gd name="connsiteY115" fmla="*/ 191709 h 6341961"/>
              <a:gd name="connsiteX116" fmla="*/ 8451434 w 8636594"/>
              <a:gd name="connsiteY116" fmla="*/ 158780 h 6341961"/>
              <a:gd name="connsiteX117" fmla="*/ 8487798 w 8636594"/>
              <a:gd name="connsiteY117" fmla="*/ 126233 h 6341961"/>
              <a:gd name="connsiteX118" fmla="*/ 8524489 w 8636594"/>
              <a:gd name="connsiteY118" fmla="*/ 94075 h 6341961"/>
              <a:gd name="connsiteX119" fmla="*/ 8561515 w 8636594"/>
              <a:gd name="connsiteY119" fmla="*/ 62312 h 6341961"/>
              <a:gd name="connsiteX120" fmla="*/ 8598881 w 8636594"/>
              <a:gd name="connsiteY120" fmla="*/ 30951 h 6341961"/>
              <a:gd name="connsiteX121" fmla="*/ 8636594 w 8636594"/>
              <a:gd name="connsiteY121" fmla="*/ 0 h 6341961"/>
              <a:gd name="connsiteX0" fmla="*/ 8636594 w 8636594"/>
              <a:gd name="connsiteY0" fmla="*/ 0 h 6323757"/>
              <a:gd name="connsiteX1" fmla="*/ 5293 w 8636594"/>
              <a:gd name="connsiteY1" fmla="*/ 0 h 6323757"/>
              <a:gd name="connsiteX2" fmla="*/ 0 w 8636594"/>
              <a:gd name="connsiteY2" fmla="*/ 5587843 h 6323757"/>
              <a:gd name="connsiteX3" fmla="*/ 1594033 w 8636594"/>
              <a:gd name="connsiteY3" fmla="*/ 5600057 h 6323757"/>
              <a:gd name="connsiteX4" fmla="*/ 1686068 w 8636594"/>
              <a:gd name="connsiteY4" fmla="*/ 5599745 h 6323757"/>
              <a:gd name="connsiteX5" fmla="*/ 3191491 w 8636594"/>
              <a:gd name="connsiteY5" fmla="*/ 6323757 h 6323757"/>
              <a:gd name="connsiteX6" fmla="*/ 3238528 w 8636594"/>
              <a:gd name="connsiteY6" fmla="*/ 6305184 h 6323757"/>
              <a:gd name="connsiteX7" fmla="*/ 3285021 w 8636594"/>
              <a:gd name="connsiteY7" fmla="*/ 6286245 h 6323757"/>
              <a:gd name="connsiteX8" fmla="*/ 3330977 w 8636594"/>
              <a:gd name="connsiteY8" fmla="*/ 6266942 h 6323757"/>
              <a:gd name="connsiteX9" fmla="*/ 3376401 w 8636594"/>
              <a:gd name="connsiteY9" fmla="*/ 6247281 h 6323757"/>
              <a:gd name="connsiteX10" fmla="*/ 3421300 w 8636594"/>
              <a:gd name="connsiteY10" fmla="*/ 6227263 h 6323757"/>
              <a:gd name="connsiteX11" fmla="*/ 3465680 w 8636594"/>
              <a:gd name="connsiteY11" fmla="*/ 6206893 h 6323757"/>
              <a:gd name="connsiteX12" fmla="*/ 3509548 w 8636594"/>
              <a:gd name="connsiteY12" fmla="*/ 6186174 h 6323757"/>
              <a:gd name="connsiteX13" fmla="*/ 3552910 w 8636594"/>
              <a:gd name="connsiteY13" fmla="*/ 6165110 h 6323757"/>
              <a:gd name="connsiteX14" fmla="*/ 3595773 w 8636594"/>
              <a:gd name="connsiteY14" fmla="*/ 6143704 h 6323757"/>
              <a:gd name="connsiteX15" fmla="*/ 3638142 w 8636594"/>
              <a:gd name="connsiteY15" fmla="*/ 6121960 h 6323757"/>
              <a:gd name="connsiteX16" fmla="*/ 3680024 w 8636594"/>
              <a:gd name="connsiteY16" fmla="*/ 6099881 h 6323757"/>
              <a:gd name="connsiteX17" fmla="*/ 3721426 w 8636594"/>
              <a:gd name="connsiteY17" fmla="*/ 6077471 h 6323757"/>
              <a:gd name="connsiteX18" fmla="*/ 3762353 w 8636594"/>
              <a:gd name="connsiteY18" fmla="*/ 6054733 h 6323757"/>
              <a:gd name="connsiteX19" fmla="*/ 3802812 w 8636594"/>
              <a:gd name="connsiteY19" fmla="*/ 6031671 h 6323757"/>
              <a:gd name="connsiteX20" fmla="*/ 3842810 w 8636594"/>
              <a:gd name="connsiteY20" fmla="*/ 6008288 h 6323757"/>
              <a:gd name="connsiteX21" fmla="*/ 3882352 w 8636594"/>
              <a:gd name="connsiteY21" fmla="*/ 5984588 h 6323757"/>
              <a:gd name="connsiteX22" fmla="*/ 3921445 w 8636594"/>
              <a:gd name="connsiteY22" fmla="*/ 5960574 h 6323757"/>
              <a:gd name="connsiteX23" fmla="*/ 3960096 w 8636594"/>
              <a:gd name="connsiteY23" fmla="*/ 5936250 h 6323757"/>
              <a:gd name="connsiteX24" fmla="*/ 3998311 w 8636594"/>
              <a:gd name="connsiteY24" fmla="*/ 5911619 h 6323757"/>
              <a:gd name="connsiteX25" fmla="*/ 4036095 w 8636594"/>
              <a:gd name="connsiteY25" fmla="*/ 5886685 h 6323757"/>
              <a:gd name="connsiteX26" fmla="*/ 4073456 w 8636594"/>
              <a:gd name="connsiteY26" fmla="*/ 5861452 h 6323757"/>
              <a:gd name="connsiteX27" fmla="*/ 4110400 w 8636594"/>
              <a:gd name="connsiteY27" fmla="*/ 5835922 h 6323757"/>
              <a:gd name="connsiteX28" fmla="*/ 4146933 w 8636594"/>
              <a:gd name="connsiteY28" fmla="*/ 5810100 h 6323757"/>
              <a:gd name="connsiteX29" fmla="*/ 4183061 w 8636594"/>
              <a:gd name="connsiteY29" fmla="*/ 5783988 h 6323757"/>
              <a:gd name="connsiteX30" fmla="*/ 4218791 w 8636594"/>
              <a:gd name="connsiteY30" fmla="*/ 5757591 h 6323757"/>
              <a:gd name="connsiteX31" fmla="*/ 4254129 w 8636594"/>
              <a:gd name="connsiteY31" fmla="*/ 5730912 h 6323757"/>
              <a:gd name="connsiteX32" fmla="*/ 4289081 w 8636594"/>
              <a:gd name="connsiteY32" fmla="*/ 5703955 h 6323757"/>
              <a:gd name="connsiteX33" fmla="*/ 4323654 w 8636594"/>
              <a:gd name="connsiteY33" fmla="*/ 5676722 h 6323757"/>
              <a:gd name="connsiteX34" fmla="*/ 4357854 w 8636594"/>
              <a:gd name="connsiteY34" fmla="*/ 5649218 h 6323757"/>
              <a:gd name="connsiteX35" fmla="*/ 4391688 w 8636594"/>
              <a:gd name="connsiteY35" fmla="*/ 5621446 h 6323757"/>
              <a:gd name="connsiteX36" fmla="*/ 4425162 w 8636594"/>
              <a:gd name="connsiteY36" fmla="*/ 5593409 h 6323757"/>
              <a:gd name="connsiteX37" fmla="*/ 4458281 w 8636594"/>
              <a:gd name="connsiteY37" fmla="*/ 5565111 h 6323757"/>
              <a:gd name="connsiteX38" fmla="*/ 4491053 w 8636594"/>
              <a:gd name="connsiteY38" fmla="*/ 5536556 h 6323757"/>
              <a:gd name="connsiteX39" fmla="*/ 4523484 w 8636594"/>
              <a:gd name="connsiteY39" fmla="*/ 5507747 h 6323757"/>
              <a:gd name="connsiteX40" fmla="*/ 4555580 w 8636594"/>
              <a:gd name="connsiteY40" fmla="*/ 5478687 h 6323757"/>
              <a:gd name="connsiteX41" fmla="*/ 4587347 w 8636594"/>
              <a:gd name="connsiteY41" fmla="*/ 5449380 h 6323757"/>
              <a:gd name="connsiteX42" fmla="*/ 4618793 w 8636594"/>
              <a:gd name="connsiteY42" fmla="*/ 5419830 h 6323757"/>
              <a:gd name="connsiteX43" fmla="*/ 4649922 w 8636594"/>
              <a:gd name="connsiteY43" fmla="*/ 5390040 h 6323757"/>
              <a:gd name="connsiteX44" fmla="*/ 4680742 w 8636594"/>
              <a:gd name="connsiteY44" fmla="*/ 5360014 h 6323757"/>
              <a:gd name="connsiteX45" fmla="*/ 4711259 w 8636594"/>
              <a:gd name="connsiteY45" fmla="*/ 5329755 h 6323757"/>
              <a:gd name="connsiteX46" fmla="*/ 4741478 w 8636594"/>
              <a:gd name="connsiteY46" fmla="*/ 5299266 h 6323757"/>
              <a:gd name="connsiteX47" fmla="*/ 4771408 w 8636594"/>
              <a:gd name="connsiteY47" fmla="*/ 5268551 h 6323757"/>
              <a:gd name="connsiteX48" fmla="*/ 4801053 w 8636594"/>
              <a:gd name="connsiteY48" fmla="*/ 5237614 h 6323757"/>
              <a:gd name="connsiteX49" fmla="*/ 4830420 w 8636594"/>
              <a:gd name="connsiteY49" fmla="*/ 5206458 h 6323757"/>
              <a:gd name="connsiteX50" fmla="*/ 4859516 w 8636594"/>
              <a:gd name="connsiteY50" fmla="*/ 5175087 h 6323757"/>
              <a:gd name="connsiteX51" fmla="*/ 4888347 w 8636594"/>
              <a:gd name="connsiteY51" fmla="*/ 5143504 h 6323757"/>
              <a:gd name="connsiteX52" fmla="*/ 4916919 w 8636594"/>
              <a:gd name="connsiteY52" fmla="*/ 5111713 h 6323757"/>
              <a:gd name="connsiteX53" fmla="*/ 4945238 w 8636594"/>
              <a:gd name="connsiteY53" fmla="*/ 5079717 h 6323757"/>
              <a:gd name="connsiteX54" fmla="*/ 4973311 w 8636594"/>
              <a:gd name="connsiteY54" fmla="*/ 5047519 h 6323757"/>
              <a:gd name="connsiteX55" fmla="*/ 5001145 w 8636594"/>
              <a:gd name="connsiteY55" fmla="*/ 5015124 h 6323757"/>
              <a:gd name="connsiteX56" fmla="*/ 5028745 w 8636594"/>
              <a:gd name="connsiteY56" fmla="*/ 4982535 h 6323757"/>
              <a:gd name="connsiteX57" fmla="*/ 5056117 w 8636594"/>
              <a:gd name="connsiteY57" fmla="*/ 4949755 h 6323757"/>
              <a:gd name="connsiteX58" fmla="*/ 5083269 w 8636594"/>
              <a:gd name="connsiteY58" fmla="*/ 4916787 h 6323757"/>
              <a:gd name="connsiteX59" fmla="*/ 5110207 w 8636594"/>
              <a:gd name="connsiteY59" fmla="*/ 4883636 h 6323757"/>
              <a:gd name="connsiteX60" fmla="*/ 5136937 w 8636594"/>
              <a:gd name="connsiteY60" fmla="*/ 4850305 h 6323757"/>
              <a:gd name="connsiteX61" fmla="*/ 5163464 w 8636594"/>
              <a:gd name="connsiteY61" fmla="*/ 4816797 h 6323757"/>
              <a:gd name="connsiteX62" fmla="*/ 5215940 w 8636594"/>
              <a:gd name="connsiteY62" fmla="*/ 4749265 h 6323757"/>
              <a:gd name="connsiteX63" fmla="*/ 5267684 w 8636594"/>
              <a:gd name="connsiteY63" fmla="*/ 4681068 h 6323757"/>
              <a:gd name="connsiteX64" fmla="*/ 5318748 w 8636594"/>
              <a:gd name="connsiteY64" fmla="*/ 4612234 h 6323757"/>
              <a:gd name="connsiteX65" fmla="*/ 5369182 w 8636594"/>
              <a:gd name="connsiteY65" fmla="*/ 4542793 h 6323757"/>
              <a:gd name="connsiteX66" fmla="*/ 5419038 w 8636594"/>
              <a:gd name="connsiteY66" fmla="*/ 4472771 h 6323757"/>
              <a:gd name="connsiteX67" fmla="*/ 5468365 w 8636594"/>
              <a:gd name="connsiteY67" fmla="*/ 4402196 h 6323757"/>
              <a:gd name="connsiteX68" fmla="*/ 5517215 w 8636594"/>
              <a:gd name="connsiteY68" fmla="*/ 4331098 h 6323757"/>
              <a:gd name="connsiteX69" fmla="*/ 5565637 w 8636594"/>
              <a:gd name="connsiteY69" fmla="*/ 4259503 h 6323757"/>
              <a:gd name="connsiteX70" fmla="*/ 5613684 w 8636594"/>
              <a:gd name="connsiteY70" fmla="*/ 4187441 h 6323757"/>
              <a:gd name="connsiteX71" fmla="*/ 5685160 w 8636594"/>
              <a:gd name="connsiteY71" fmla="*/ 4078531 h 6323757"/>
              <a:gd name="connsiteX72" fmla="*/ 5756074 w 8636594"/>
              <a:gd name="connsiteY72" fmla="*/ 3968727 h 6323757"/>
              <a:gd name="connsiteX73" fmla="*/ 5873483 w 8636594"/>
              <a:gd name="connsiteY73" fmla="*/ 3783989 h 6323757"/>
              <a:gd name="connsiteX74" fmla="*/ 6203209 w 8636594"/>
              <a:gd name="connsiteY74" fmla="*/ 3258640 h 6323757"/>
              <a:gd name="connsiteX75" fmla="*/ 6299430 w 8636594"/>
              <a:gd name="connsiteY75" fmla="*/ 3107321 h 6323757"/>
              <a:gd name="connsiteX76" fmla="*/ 6372650 w 8636594"/>
              <a:gd name="connsiteY76" fmla="*/ 2993735 h 6323757"/>
              <a:gd name="connsiteX77" fmla="*/ 6453197 w 8636594"/>
              <a:gd name="connsiteY77" fmla="*/ 2869788 h 6323757"/>
              <a:gd name="connsiteX78" fmla="*/ 6564167 w 8636594"/>
              <a:gd name="connsiteY78" fmla="*/ 2696807 h 6323757"/>
              <a:gd name="connsiteX79" fmla="*/ 6976233 w 8636594"/>
              <a:gd name="connsiteY79" fmla="*/ 2045274 h 6323757"/>
              <a:gd name="connsiteX80" fmla="*/ 7086755 w 8636594"/>
              <a:gd name="connsiteY80" fmla="*/ 1872743 h 6323757"/>
              <a:gd name="connsiteX81" fmla="*/ 7170279 w 8636594"/>
              <a:gd name="connsiteY81" fmla="*/ 1744202 h 6323757"/>
              <a:gd name="connsiteX82" fmla="*/ 7226351 w 8636594"/>
              <a:gd name="connsiteY82" fmla="*/ 1659017 h 6323757"/>
              <a:gd name="connsiteX83" fmla="*/ 7282789 w 8636594"/>
              <a:gd name="connsiteY83" fmla="*/ 1574303 h 6323757"/>
              <a:gd name="connsiteX84" fmla="*/ 7339643 w 8636594"/>
              <a:gd name="connsiteY84" fmla="*/ 1490113 h 6323757"/>
              <a:gd name="connsiteX85" fmla="*/ 7396957 w 8636594"/>
              <a:gd name="connsiteY85" fmla="*/ 1406503 h 6323757"/>
              <a:gd name="connsiteX86" fmla="*/ 7454781 w 8636594"/>
              <a:gd name="connsiteY86" fmla="*/ 1323526 h 6323757"/>
              <a:gd name="connsiteX87" fmla="*/ 7513161 w 8636594"/>
              <a:gd name="connsiteY87" fmla="*/ 1241237 h 6323757"/>
              <a:gd name="connsiteX88" fmla="*/ 7572144 w 8636594"/>
              <a:gd name="connsiteY88" fmla="*/ 1159689 h 6323757"/>
              <a:gd name="connsiteX89" fmla="*/ 7601877 w 8636594"/>
              <a:gd name="connsiteY89" fmla="*/ 1119210 h 6323757"/>
              <a:gd name="connsiteX90" fmla="*/ 7631779 w 8636594"/>
              <a:gd name="connsiteY90" fmla="*/ 1078937 h 6323757"/>
              <a:gd name="connsiteX91" fmla="*/ 7661855 w 8636594"/>
              <a:gd name="connsiteY91" fmla="*/ 1038876 h 6323757"/>
              <a:gd name="connsiteX92" fmla="*/ 7692111 w 8636594"/>
              <a:gd name="connsiteY92" fmla="*/ 999035 h 6323757"/>
              <a:gd name="connsiteX93" fmla="*/ 7722554 w 8636594"/>
              <a:gd name="connsiteY93" fmla="*/ 959419 h 6323757"/>
              <a:gd name="connsiteX94" fmla="*/ 7753190 w 8636594"/>
              <a:gd name="connsiteY94" fmla="*/ 920037 h 6323757"/>
              <a:gd name="connsiteX95" fmla="*/ 7784023 w 8636594"/>
              <a:gd name="connsiteY95" fmla="*/ 880894 h 6323757"/>
              <a:gd name="connsiteX96" fmla="*/ 7815061 w 8636594"/>
              <a:gd name="connsiteY96" fmla="*/ 841997 h 6323757"/>
              <a:gd name="connsiteX97" fmla="*/ 7846308 w 8636594"/>
              <a:gd name="connsiteY97" fmla="*/ 803354 h 6323757"/>
              <a:gd name="connsiteX98" fmla="*/ 7877772 w 8636594"/>
              <a:gd name="connsiteY98" fmla="*/ 764970 h 6323757"/>
              <a:gd name="connsiteX99" fmla="*/ 7909458 w 8636594"/>
              <a:gd name="connsiteY99" fmla="*/ 726853 h 6323757"/>
              <a:gd name="connsiteX100" fmla="*/ 7941371 w 8636594"/>
              <a:gd name="connsiteY100" fmla="*/ 689010 h 6323757"/>
              <a:gd name="connsiteX101" fmla="*/ 7973518 w 8636594"/>
              <a:gd name="connsiteY101" fmla="*/ 651447 h 6323757"/>
              <a:gd name="connsiteX102" fmla="*/ 8005905 w 8636594"/>
              <a:gd name="connsiteY102" fmla="*/ 614171 h 6323757"/>
              <a:gd name="connsiteX103" fmla="*/ 8038538 w 8636594"/>
              <a:gd name="connsiteY103" fmla="*/ 577189 h 6323757"/>
              <a:gd name="connsiteX104" fmla="*/ 8071421 w 8636594"/>
              <a:gd name="connsiteY104" fmla="*/ 540507 h 6323757"/>
              <a:gd name="connsiteX105" fmla="*/ 8104563 w 8636594"/>
              <a:gd name="connsiteY105" fmla="*/ 504132 h 6323757"/>
              <a:gd name="connsiteX106" fmla="*/ 8137967 w 8636594"/>
              <a:gd name="connsiteY106" fmla="*/ 468072 h 6323757"/>
              <a:gd name="connsiteX107" fmla="*/ 8171641 w 8636594"/>
              <a:gd name="connsiteY107" fmla="*/ 432332 h 6323757"/>
              <a:gd name="connsiteX108" fmla="*/ 8205590 w 8636594"/>
              <a:gd name="connsiteY108" fmla="*/ 396920 h 6323757"/>
              <a:gd name="connsiteX109" fmla="*/ 8239820 w 8636594"/>
              <a:gd name="connsiteY109" fmla="*/ 361843 h 6323757"/>
              <a:gd name="connsiteX110" fmla="*/ 8274337 w 8636594"/>
              <a:gd name="connsiteY110" fmla="*/ 327107 h 6323757"/>
              <a:gd name="connsiteX111" fmla="*/ 8309147 w 8636594"/>
              <a:gd name="connsiteY111" fmla="*/ 292718 h 6323757"/>
              <a:gd name="connsiteX112" fmla="*/ 8344256 w 8636594"/>
              <a:gd name="connsiteY112" fmla="*/ 258685 h 6323757"/>
              <a:gd name="connsiteX113" fmla="*/ 8379669 w 8636594"/>
              <a:gd name="connsiteY113" fmla="*/ 225013 h 6323757"/>
              <a:gd name="connsiteX114" fmla="*/ 8415394 w 8636594"/>
              <a:gd name="connsiteY114" fmla="*/ 191709 h 6323757"/>
              <a:gd name="connsiteX115" fmla="*/ 8451434 w 8636594"/>
              <a:gd name="connsiteY115" fmla="*/ 158780 h 6323757"/>
              <a:gd name="connsiteX116" fmla="*/ 8487798 w 8636594"/>
              <a:gd name="connsiteY116" fmla="*/ 126233 h 6323757"/>
              <a:gd name="connsiteX117" fmla="*/ 8524489 w 8636594"/>
              <a:gd name="connsiteY117" fmla="*/ 94075 h 6323757"/>
              <a:gd name="connsiteX118" fmla="*/ 8561515 w 8636594"/>
              <a:gd name="connsiteY118" fmla="*/ 62312 h 6323757"/>
              <a:gd name="connsiteX119" fmla="*/ 8598881 w 8636594"/>
              <a:gd name="connsiteY119" fmla="*/ 30951 h 6323757"/>
              <a:gd name="connsiteX120" fmla="*/ 8636594 w 8636594"/>
              <a:gd name="connsiteY120" fmla="*/ 0 h 6323757"/>
              <a:gd name="connsiteX0" fmla="*/ 8636594 w 8636594"/>
              <a:gd name="connsiteY0" fmla="*/ 0 h 6305184"/>
              <a:gd name="connsiteX1" fmla="*/ 5293 w 8636594"/>
              <a:gd name="connsiteY1" fmla="*/ 0 h 6305184"/>
              <a:gd name="connsiteX2" fmla="*/ 0 w 8636594"/>
              <a:gd name="connsiteY2" fmla="*/ 5587843 h 6305184"/>
              <a:gd name="connsiteX3" fmla="*/ 1594033 w 8636594"/>
              <a:gd name="connsiteY3" fmla="*/ 5600057 h 6305184"/>
              <a:gd name="connsiteX4" fmla="*/ 1686068 w 8636594"/>
              <a:gd name="connsiteY4" fmla="*/ 5599745 h 6305184"/>
              <a:gd name="connsiteX5" fmla="*/ 3238528 w 8636594"/>
              <a:gd name="connsiteY5" fmla="*/ 6305184 h 6305184"/>
              <a:gd name="connsiteX6" fmla="*/ 3285021 w 8636594"/>
              <a:gd name="connsiteY6" fmla="*/ 6286245 h 6305184"/>
              <a:gd name="connsiteX7" fmla="*/ 3330977 w 8636594"/>
              <a:gd name="connsiteY7" fmla="*/ 6266942 h 6305184"/>
              <a:gd name="connsiteX8" fmla="*/ 3376401 w 8636594"/>
              <a:gd name="connsiteY8" fmla="*/ 6247281 h 6305184"/>
              <a:gd name="connsiteX9" fmla="*/ 3421300 w 8636594"/>
              <a:gd name="connsiteY9" fmla="*/ 6227263 h 6305184"/>
              <a:gd name="connsiteX10" fmla="*/ 3465680 w 8636594"/>
              <a:gd name="connsiteY10" fmla="*/ 6206893 h 6305184"/>
              <a:gd name="connsiteX11" fmla="*/ 3509548 w 8636594"/>
              <a:gd name="connsiteY11" fmla="*/ 6186174 h 6305184"/>
              <a:gd name="connsiteX12" fmla="*/ 3552910 w 8636594"/>
              <a:gd name="connsiteY12" fmla="*/ 6165110 h 6305184"/>
              <a:gd name="connsiteX13" fmla="*/ 3595773 w 8636594"/>
              <a:gd name="connsiteY13" fmla="*/ 6143704 h 6305184"/>
              <a:gd name="connsiteX14" fmla="*/ 3638142 w 8636594"/>
              <a:gd name="connsiteY14" fmla="*/ 6121960 h 6305184"/>
              <a:gd name="connsiteX15" fmla="*/ 3680024 w 8636594"/>
              <a:gd name="connsiteY15" fmla="*/ 6099881 h 6305184"/>
              <a:gd name="connsiteX16" fmla="*/ 3721426 w 8636594"/>
              <a:gd name="connsiteY16" fmla="*/ 6077471 h 6305184"/>
              <a:gd name="connsiteX17" fmla="*/ 3762353 w 8636594"/>
              <a:gd name="connsiteY17" fmla="*/ 6054733 h 6305184"/>
              <a:gd name="connsiteX18" fmla="*/ 3802812 w 8636594"/>
              <a:gd name="connsiteY18" fmla="*/ 6031671 h 6305184"/>
              <a:gd name="connsiteX19" fmla="*/ 3842810 w 8636594"/>
              <a:gd name="connsiteY19" fmla="*/ 6008288 h 6305184"/>
              <a:gd name="connsiteX20" fmla="*/ 3882352 w 8636594"/>
              <a:gd name="connsiteY20" fmla="*/ 5984588 h 6305184"/>
              <a:gd name="connsiteX21" fmla="*/ 3921445 w 8636594"/>
              <a:gd name="connsiteY21" fmla="*/ 5960574 h 6305184"/>
              <a:gd name="connsiteX22" fmla="*/ 3960096 w 8636594"/>
              <a:gd name="connsiteY22" fmla="*/ 5936250 h 6305184"/>
              <a:gd name="connsiteX23" fmla="*/ 3998311 w 8636594"/>
              <a:gd name="connsiteY23" fmla="*/ 5911619 h 6305184"/>
              <a:gd name="connsiteX24" fmla="*/ 4036095 w 8636594"/>
              <a:gd name="connsiteY24" fmla="*/ 5886685 h 6305184"/>
              <a:gd name="connsiteX25" fmla="*/ 4073456 w 8636594"/>
              <a:gd name="connsiteY25" fmla="*/ 5861452 h 6305184"/>
              <a:gd name="connsiteX26" fmla="*/ 4110400 w 8636594"/>
              <a:gd name="connsiteY26" fmla="*/ 5835922 h 6305184"/>
              <a:gd name="connsiteX27" fmla="*/ 4146933 w 8636594"/>
              <a:gd name="connsiteY27" fmla="*/ 5810100 h 6305184"/>
              <a:gd name="connsiteX28" fmla="*/ 4183061 w 8636594"/>
              <a:gd name="connsiteY28" fmla="*/ 5783988 h 6305184"/>
              <a:gd name="connsiteX29" fmla="*/ 4218791 w 8636594"/>
              <a:gd name="connsiteY29" fmla="*/ 5757591 h 6305184"/>
              <a:gd name="connsiteX30" fmla="*/ 4254129 w 8636594"/>
              <a:gd name="connsiteY30" fmla="*/ 5730912 h 6305184"/>
              <a:gd name="connsiteX31" fmla="*/ 4289081 w 8636594"/>
              <a:gd name="connsiteY31" fmla="*/ 5703955 h 6305184"/>
              <a:gd name="connsiteX32" fmla="*/ 4323654 w 8636594"/>
              <a:gd name="connsiteY32" fmla="*/ 5676722 h 6305184"/>
              <a:gd name="connsiteX33" fmla="*/ 4357854 w 8636594"/>
              <a:gd name="connsiteY33" fmla="*/ 5649218 h 6305184"/>
              <a:gd name="connsiteX34" fmla="*/ 4391688 w 8636594"/>
              <a:gd name="connsiteY34" fmla="*/ 5621446 h 6305184"/>
              <a:gd name="connsiteX35" fmla="*/ 4425162 w 8636594"/>
              <a:gd name="connsiteY35" fmla="*/ 5593409 h 6305184"/>
              <a:gd name="connsiteX36" fmla="*/ 4458281 w 8636594"/>
              <a:gd name="connsiteY36" fmla="*/ 5565111 h 6305184"/>
              <a:gd name="connsiteX37" fmla="*/ 4491053 w 8636594"/>
              <a:gd name="connsiteY37" fmla="*/ 5536556 h 6305184"/>
              <a:gd name="connsiteX38" fmla="*/ 4523484 w 8636594"/>
              <a:gd name="connsiteY38" fmla="*/ 5507747 h 6305184"/>
              <a:gd name="connsiteX39" fmla="*/ 4555580 w 8636594"/>
              <a:gd name="connsiteY39" fmla="*/ 5478687 h 6305184"/>
              <a:gd name="connsiteX40" fmla="*/ 4587347 w 8636594"/>
              <a:gd name="connsiteY40" fmla="*/ 5449380 h 6305184"/>
              <a:gd name="connsiteX41" fmla="*/ 4618793 w 8636594"/>
              <a:gd name="connsiteY41" fmla="*/ 5419830 h 6305184"/>
              <a:gd name="connsiteX42" fmla="*/ 4649922 w 8636594"/>
              <a:gd name="connsiteY42" fmla="*/ 5390040 h 6305184"/>
              <a:gd name="connsiteX43" fmla="*/ 4680742 w 8636594"/>
              <a:gd name="connsiteY43" fmla="*/ 5360014 h 6305184"/>
              <a:gd name="connsiteX44" fmla="*/ 4711259 w 8636594"/>
              <a:gd name="connsiteY44" fmla="*/ 5329755 h 6305184"/>
              <a:gd name="connsiteX45" fmla="*/ 4741478 w 8636594"/>
              <a:gd name="connsiteY45" fmla="*/ 5299266 h 6305184"/>
              <a:gd name="connsiteX46" fmla="*/ 4771408 w 8636594"/>
              <a:gd name="connsiteY46" fmla="*/ 5268551 h 6305184"/>
              <a:gd name="connsiteX47" fmla="*/ 4801053 w 8636594"/>
              <a:gd name="connsiteY47" fmla="*/ 5237614 h 6305184"/>
              <a:gd name="connsiteX48" fmla="*/ 4830420 w 8636594"/>
              <a:gd name="connsiteY48" fmla="*/ 5206458 h 6305184"/>
              <a:gd name="connsiteX49" fmla="*/ 4859516 w 8636594"/>
              <a:gd name="connsiteY49" fmla="*/ 5175087 h 6305184"/>
              <a:gd name="connsiteX50" fmla="*/ 4888347 w 8636594"/>
              <a:gd name="connsiteY50" fmla="*/ 5143504 h 6305184"/>
              <a:gd name="connsiteX51" fmla="*/ 4916919 w 8636594"/>
              <a:gd name="connsiteY51" fmla="*/ 5111713 h 6305184"/>
              <a:gd name="connsiteX52" fmla="*/ 4945238 w 8636594"/>
              <a:gd name="connsiteY52" fmla="*/ 5079717 h 6305184"/>
              <a:gd name="connsiteX53" fmla="*/ 4973311 w 8636594"/>
              <a:gd name="connsiteY53" fmla="*/ 5047519 h 6305184"/>
              <a:gd name="connsiteX54" fmla="*/ 5001145 w 8636594"/>
              <a:gd name="connsiteY54" fmla="*/ 5015124 h 6305184"/>
              <a:gd name="connsiteX55" fmla="*/ 5028745 w 8636594"/>
              <a:gd name="connsiteY55" fmla="*/ 4982535 h 6305184"/>
              <a:gd name="connsiteX56" fmla="*/ 5056117 w 8636594"/>
              <a:gd name="connsiteY56" fmla="*/ 4949755 h 6305184"/>
              <a:gd name="connsiteX57" fmla="*/ 5083269 w 8636594"/>
              <a:gd name="connsiteY57" fmla="*/ 4916787 h 6305184"/>
              <a:gd name="connsiteX58" fmla="*/ 5110207 w 8636594"/>
              <a:gd name="connsiteY58" fmla="*/ 4883636 h 6305184"/>
              <a:gd name="connsiteX59" fmla="*/ 5136937 w 8636594"/>
              <a:gd name="connsiteY59" fmla="*/ 4850305 h 6305184"/>
              <a:gd name="connsiteX60" fmla="*/ 5163464 w 8636594"/>
              <a:gd name="connsiteY60" fmla="*/ 4816797 h 6305184"/>
              <a:gd name="connsiteX61" fmla="*/ 5215940 w 8636594"/>
              <a:gd name="connsiteY61" fmla="*/ 4749265 h 6305184"/>
              <a:gd name="connsiteX62" fmla="*/ 5267684 w 8636594"/>
              <a:gd name="connsiteY62" fmla="*/ 4681068 h 6305184"/>
              <a:gd name="connsiteX63" fmla="*/ 5318748 w 8636594"/>
              <a:gd name="connsiteY63" fmla="*/ 4612234 h 6305184"/>
              <a:gd name="connsiteX64" fmla="*/ 5369182 w 8636594"/>
              <a:gd name="connsiteY64" fmla="*/ 4542793 h 6305184"/>
              <a:gd name="connsiteX65" fmla="*/ 5419038 w 8636594"/>
              <a:gd name="connsiteY65" fmla="*/ 4472771 h 6305184"/>
              <a:gd name="connsiteX66" fmla="*/ 5468365 w 8636594"/>
              <a:gd name="connsiteY66" fmla="*/ 4402196 h 6305184"/>
              <a:gd name="connsiteX67" fmla="*/ 5517215 w 8636594"/>
              <a:gd name="connsiteY67" fmla="*/ 4331098 h 6305184"/>
              <a:gd name="connsiteX68" fmla="*/ 5565637 w 8636594"/>
              <a:gd name="connsiteY68" fmla="*/ 4259503 h 6305184"/>
              <a:gd name="connsiteX69" fmla="*/ 5613684 w 8636594"/>
              <a:gd name="connsiteY69" fmla="*/ 4187441 h 6305184"/>
              <a:gd name="connsiteX70" fmla="*/ 5685160 w 8636594"/>
              <a:gd name="connsiteY70" fmla="*/ 4078531 h 6305184"/>
              <a:gd name="connsiteX71" fmla="*/ 5756074 w 8636594"/>
              <a:gd name="connsiteY71" fmla="*/ 3968727 h 6305184"/>
              <a:gd name="connsiteX72" fmla="*/ 5873483 w 8636594"/>
              <a:gd name="connsiteY72" fmla="*/ 3783989 h 6305184"/>
              <a:gd name="connsiteX73" fmla="*/ 6203209 w 8636594"/>
              <a:gd name="connsiteY73" fmla="*/ 3258640 h 6305184"/>
              <a:gd name="connsiteX74" fmla="*/ 6299430 w 8636594"/>
              <a:gd name="connsiteY74" fmla="*/ 3107321 h 6305184"/>
              <a:gd name="connsiteX75" fmla="*/ 6372650 w 8636594"/>
              <a:gd name="connsiteY75" fmla="*/ 2993735 h 6305184"/>
              <a:gd name="connsiteX76" fmla="*/ 6453197 w 8636594"/>
              <a:gd name="connsiteY76" fmla="*/ 2869788 h 6305184"/>
              <a:gd name="connsiteX77" fmla="*/ 6564167 w 8636594"/>
              <a:gd name="connsiteY77" fmla="*/ 2696807 h 6305184"/>
              <a:gd name="connsiteX78" fmla="*/ 6976233 w 8636594"/>
              <a:gd name="connsiteY78" fmla="*/ 2045274 h 6305184"/>
              <a:gd name="connsiteX79" fmla="*/ 7086755 w 8636594"/>
              <a:gd name="connsiteY79" fmla="*/ 1872743 h 6305184"/>
              <a:gd name="connsiteX80" fmla="*/ 7170279 w 8636594"/>
              <a:gd name="connsiteY80" fmla="*/ 1744202 h 6305184"/>
              <a:gd name="connsiteX81" fmla="*/ 7226351 w 8636594"/>
              <a:gd name="connsiteY81" fmla="*/ 1659017 h 6305184"/>
              <a:gd name="connsiteX82" fmla="*/ 7282789 w 8636594"/>
              <a:gd name="connsiteY82" fmla="*/ 1574303 h 6305184"/>
              <a:gd name="connsiteX83" fmla="*/ 7339643 w 8636594"/>
              <a:gd name="connsiteY83" fmla="*/ 1490113 h 6305184"/>
              <a:gd name="connsiteX84" fmla="*/ 7396957 w 8636594"/>
              <a:gd name="connsiteY84" fmla="*/ 1406503 h 6305184"/>
              <a:gd name="connsiteX85" fmla="*/ 7454781 w 8636594"/>
              <a:gd name="connsiteY85" fmla="*/ 1323526 h 6305184"/>
              <a:gd name="connsiteX86" fmla="*/ 7513161 w 8636594"/>
              <a:gd name="connsiteY86" fmla="*/ 1241237 h 6305184"/>
              <a:gd name="connsiteX87" fmla="*/ 7572144 w 8636594"/>
              <a:gd name="connsiteY87" fmla="*/ 1159689 h 6305184"/>
              <a:gd name="connsiteX88" fmla="*/ 7601877 w 8636594"/>
              <a:gd name="connsiteY88" fmla="*/ 1119210 h 6305184"/>
              <a:gd name="connsiteX89" fmla="*/ 7631779 w 8636594"/>
              <a:gd name="connsiteY89" fmla="*/ 1078937 h 6305184"/>
              <a:gd name="connsiteX90" fmla="*/ 7661855 w 8636594"/>
              <a:gd name="connsiteY90" fmla="*/ 1038876 h 6305184"/>
              <a:gd name="connsiteX91" fmla="*/ 7692111 w 8636594"/>
              <a:gd name="connsiteY91" fmla="*/ 999035 h 6305184"/>
              <a:gd name="connsiteX92" fmla="*/ 7722554 w 8636594"/>
              <a:gd name="connsiteY92" fmla="*/ 959419 h 6305184"/>
              <a:gd name="connsiteX93" fmla="*/ 7753190 w 8636594"/>
              <a:gd name="connsiteY93" fmla="*/ 920037 h 6305184"/>
              <a:gd name="connsiteX94" fmla="*/ 7784023 w 8636594"/>
              <a:gd name="connsiteY94" fmla="*/ 880894 h 6305184"/>
              <a:gd name="connsiteX95" fmla="*/ 7815061 w 8636594"/>
              <a:gd name="connsiteY95" fmla="*/ 841997 h 6305184"/>
              <a:gd name="connsiteX96" fmla="*/ 7846308 w 8636594"/>
              <a:gd name="connsiteY96" fmla="*/ 803354 h 6305184"/>
              <a:gd name="connsiteX97" fmla="*/ 7877772 w 8636594"/>
              <a:gd name="connsiteY97" fmla="*/ 764970 h 6305184"/>
              <a:gd name="connsiteX98" fmla="*/ 7909458 w 8636594"/>
              <a:gd name="connsiteY98" fmla="*/ 726853 h 6305184"/>
              <a:gd name="connsiteX99" fmla="*/ 7941371 w 8636594"/>
              <a:gd name="connsiteY99" fmla="*/ 689010 h 6305184"/>
              <a:gd name="connsiteX100" fmla="*/ 7973518 w 8636594"/>
              <a:gd name="connsiteY100" fmla="*/ 651447 h 6305184"/>
              <a:gd name="connsiteX101" fmla="*/ 8005905 w 8636594"/>
              <a:gd name="connsiteY101" fmla="*/ 614171 h 6305184"/>
              <a:gd name="connsiteX102" fmla="*/ 8038538 w 8636594"/>
              <a:gd name="connsiteY102" fmla="*/ 577189 h 6305184"/>
              <a:gd name="connsiteX103" fmla="*/ 8071421 w 8636594"/>
              <a:gd name="connsiteY103" fmla="*/ 540507 h 6305184"/>
              <a:gd name="connsiteX104" fmla="*/ 8104563 w 8636594"/>
              <a:gd name="connsiteY104" fmla="*/ 504132 h 6305184"/>
              <a:gd name="connsiteX105" fmla="*/ 8137967 w 8636594"/>
              <a:gd name="connsiteY105" fmla="*/ 468072 h 6305184"/>
              <a:gd name="connsiteX106" fmla="*/ 8171641 w 8636594"/>
              <a:gd name="connsiteY106" fmla="*/ 432332 h 6305184"/>
              <a:gd name="connsiteX107" fmla="*/ 8205590 w 8636594"/>
              <a:gd name="connsiteY107" fmla="*/ 396920 h 6305184"/>
              <a:gd name="connsiteX108" fmla="*/ 8239820 w 8636594"/>
              <a:gd name="connsiteY108" fmla="*/ 361843 h 6305184"/>
              <a:gd name="connsiteX109" fmla="*/ 8274337 w 8636594"/>
              <a:gd name="connsiteY109" fmla="*/ 327107 h 6305184"/>
              <a:gd name="connsiteX110" fmla="*/ 8309147 w 8636594"/>
              <a:gd name="connsiteY110" fmla="*/ 292718 h 6305184"/>
              <a:gd name="connsiteX111" fmla="*/ 8344256 w 8636594"/>
              <a:gd name="connsiteY111" fmla="*/ 258685 h 6305184"/>
              <a:gd name="connsiteX112" fmla="*/ 8379669 w 8636594"/>
              <a:gd name="connsiteY112" fmla="*/ 225013 h 6305184"/>
              <a:gd name="connsiteX113" fmla="*/ 8415394 w 8636594"/>
              <a:gd name="connsiteY113" fmla="*/ 191709 h 6305184"/>
              <a:gd name="connsiteX114" fmla="*/ 8451434 w 8636594"/>
              <a:gd name="connsiteY114" fmla="*/ 158780 h 6305184"/>
              <a:gd name="connsiteX115" fmla="*/ 8487798 w 8636594"/>
              <a:gd name="connsiteY115" fmla="*/ 126233 h 6305184"/>
              <a:gd name="connsiteX116" fmla="*/ 8524489 w 8636594"/>
              <a:gd name="connsiteY116" fmla="*/ 94075 h 6305184"/>
              <a:gd name="connsiteX117" fmla="*/ 8561515 w 8636594"/>
              <a:gd name="connsiteY117" fmla="*/ 62312 h 6305184"/>
              <a:gd name="connsiteX118" fmla="*/ 8598881 w 8636594"/>
              <a:gd name="connsiteY118" fmla="*/ 30951 h 6305184"/>
              <a:gd name="connsiteX119" fmla="*/ 8636594 w 8636594"/>
              <a:gd name="connsiteY119" fmla="*/ 0 h 6305184"/>
              <a:gd name="connsiteX0" fmla="*/ 8636594 w 8636594"/>
              <a:gd name="connsiteY0" fmla="*/ 0 h 6286245"/>
              <a:gd name="connsiteX1" fmla="*/ 5293 w 8636594"/>
              <a:gd name="connsiteY1" fmla="*/ 0 h 6286245"/>
              <a:gd name="connsiteX2" fmla="*/ 0 w 8636594"/>
              <a:gd name="connsiteY2" fmla="*/ 5587843 h 6286245"/>
              <a:gd name="connsiteX3" fmla="*/ 1594033 w 8636594"/>
              <a:gd name="connsiteY3" fmla="*/ 5600057 h 6286245"/>
              <a:gd name="connsiteX4" fmla="*/ 1686068 w 8636594"/>
              <a:gd name="connsiteY4" fmla="*/ 5599745 h 6286245"/>
              <a:gd name="connsiteX5" fmla="*/ 3285021 w 8636594"/>
              <a:gd name="connsiteY5" fmla="*/ 6286245 h 6286245"/>
              <a:gd name="connsiteX6" fmla="*/ 3330977 w 8636594"/>
              <a:gd name="connsiteY6" fmla="*/ 6266942 h 6286245"/>
              <a:gd name="connsiteX7" fmla="*/ 3376401 w 8636594"/>
              <a:gd name="connsiteY7" fmla="*/ 6247281 h 6286245"/>
              <a:gd name="connsiteX8" fmla="*/ 3421300 w 8636594"/>
              <a:gd name="connsiteY8" fmla="*/ 6227263 h 6286245"/>
              <a:gd name="connsiteX9" fmla="*/ 3465680 w 8636594"/>
              <a:gd name="connsiteY9" fmla="*/ 6206893 h 6286245"/>
              <a:gd name="connsiteX10" fmla="*/ 3509548 w 8636594"/>
              <a:gd name="connsiteY10" fmla="*/ 6186174 h 6286245"/>
              <a:gd name="connsiteX11" fmla="*/ 3552910 w 8636594"/>
              <a:gd name="connsiteY11" fmla="*/ 6165110 h 6286245"/>
              <a:gd name="connsiteX12" fmla="*/ 3595773 w 8636594"/>
              <a:gd name="connsiteY12" fmla="*/ 6143704 h 6286245"/>
              <a:gd name="connsiteX13" fmla="*/ 3638142 w 8636594"/>
              <a:gd name="connsiteY13" fmla="*/ 6121960 h 6286245"/>
              <a:gd name="connsiteX14" fmla="*/ 3680024 w 8636594"/>
              <a:gd name="connsiteY14" fmla="*/ 6099881 h 6286245"/>
              <a:gd name="connsiteX15" fmla="*/ 3721426 w 8636594"/>
              <a:gd name="connsiteY15" fmla="*/ 6077471 h 6286245"/>
              <a:gd name="connsiteX16" fmla="*/ 3762353 w 8636594"/>
              <a:gd name="connsiteY16" fmla="*/ 6054733 h 6286245"/>
              <a:gd name="connsiteX17" fmla="*/ 3802812 w 8636594"/>
              <a:gd name="connsiteY17" fmla="*/ 6031671 h 6286245"/>
              <a:gd name="connsiteX18" fmla="*/ 3842810 w 8636594"/>
              <a:gd name="connsiteY18" fmla="*/ 6008288 h 6286245"/>
              <a:gd name="connsiteX19" fmla="*/ 3882352 w 8636594"/>
              <a:gd name="connsiteY19" fmla="*/ 5984588 h 6286245"/>
              <a:gd name="connsiteX20" fmla="*/ 3921445 w 8636594"/>
              <a:gd name="connsiteY20" fmla="*/ 5960574 h 6286245"/>
              <a:gd name="connsiteX21" fmla="*/ 3960096 w 8636594"/>
              <a:gd name="connsiteY21" fmla="*/ 5936250 h 6286245"/>
              <a:gd name="connsiteX22" fmla="*/ 3998311 w 8636594"/>
              <a:gd name="connsiteY22" fmla="*/ 5911619 h 6286245"/>
              <a:gd name="connsiteX23" fmla="*/ 4036095 w 8636594"/>
              <a:gd name="connsiteY23" fmla="*/ 5886685 h 6286245"/>
              <a:gd name="connsiteX24" fmla="*/ 4073456 w 8636594"/>
              <a:gd name="connsiteY24" fmla="*/ 5861452 h 6286245"/>
              <a:gd name="connsiteX25" fmla="*/ 4110400 w 8636594"/>
              <a:gd name="connsiteY25" fmla="*/ 5835922 h 6286245"/>
              <a:gd name="connsiteX26" fmla="*/ 4146933 w 8636594"/>
              <a:gd name="connsiteY26" fmla="*/ 5810100 h 6286245"/>
              <a:gd name="connsiteX27" fmla="*/ 4183061 w 8636594"/>
              <a:gd name="connsiteY27" fmla="*/ 5783988 h 6286245"/>
              <a:gd name="connsiteX28" fmla="*/ 4218791 w 8636594"/>
              <a:gd name="connsiteY28" fmla="*/ 5757591 h 6286245"/>
              <a:gd name="connsiteX29" fmla="*/ 4254129 w 8636594"/>
              <a:gd name="connsiteY29" fmla="*/ 5730912 h 6286245"/>
              <a:gd name="connsiteX30" fmla="*/ 4289081 w 8636594"/>
              <a:gd name="connsiteY30" fmla="*/ 5703955 h 6286245"/>
              <a:gd name="connsiteX31" fmla="*/ 4323654 w 8636594"/>
              <a:gd name="connsiteY31" fmla="*/ 5676722 h 6286245"/>
              <a:gd name="connsiteX32" fmla="*/ 4357854 w 8636594"/>
              <a:gd name="connsiteY32" fmla="*/ 5649218 h 6286245"/>
              <a:gd name="connsiteX33" fmla="*/ 4391688 w 8636594"/>
              <a:gd name="connsiteY33" fmla="*/ 5621446 h 6286245"/>
              <a:gd name="connsiteX34" fmla="*/ 4425162 w 8636594"/>
              <a:gd name="connsiteY34" fmla="*/ 5593409 h 6286245"/>
              <a:gd name="connsiteX35" fmla="*/ 4458281 w 8636594"/>
              <a:gd name="connsiteY35" fmla="*/ 5565111 h 6286245"/>
              <a:gd name="connsiteX36" fmla="*/ 4491053 w 8636594"/>
              <a:gd name="connsiteY36" fmla="*/ 5536556 h 6286245"/>
              <a:gd name="connsiteX37" fmla="*/ 4523484 w 8636594"/>
              <a:gd name="connsiteY37" fmla="*/ 5507747 h 6286245"/>
              <a:gd name="connsiteX38" fmla="*/ 4555580 w 8636594"/>
              <a:gd name="connsiteY38" fmla="*/ 5478687 h 6286245"/>
              <a:gd name="connsiteX39" fmla="*/ 4587347 w 8636594"/>
              <a:gd name="connsiteY39" fmla="*/ 5449380 h 6286245"/>
              <a:gd name="connsiteX40" fmla="*/ 4618793 w 8636594"/>
              <a:gd name="connsiteY40" fmla="*/ 5419830 h 6286245"/>
              <a:gd name="connsiteX41" fmla="*/ 4649922 w 8636594"/>
              <a:gd name="connsiteY41" fmla="*/ 5390040 h 6286245"/>
              <a:gd name="connsiteX42" fmla="*/ 4680742 w 8636594"/>
              <a:gd name="connsiteY42" fmla="*/ 5360014 h 6286245"/>
              <a:gd name="connsiteX43" fmla="*/ 4711259 w 8636594"/>
              <a:gd name="connsiteY43" fmla="*/ 5329755 h 6286245"/>
              <a:gd name="connsiteX44" fmla="*/ 4741478 w 8636594"/>
              <a:gd name="connsiteY44" fmla="*/ 5299266 h 6286245"/>
              <a:gd name="connsiteX45" fmla="*/ 4771408 w 8636594"/>
              <a:gd name="connsiteY45" fmla="*/ 5268551 h 6286245"/>
              <a:gd name="connsiteX46" fmla="*/ 4801053 w 8636594"/>
              <a:gd name="connsiteY46" fmla="*/ 5237614 h 6286245"/>
              <a:gd name="connsiteX47" fmla="*/ 4830420 w 8636594"/>
              <a:gd name="connsiteY47" fmla="*/ 5206458 h 6286245"/>
              <a:gd name="connsiteX48" fmla="*/ 4859516 w 8636594"/>
              <a:gd name="connsiteY48" fmla="*/ 5175087 h 6286245"/>
              <a:gd name="connsiteX49" fmla="*/ 4888347 w 8636594"/>
              <a:gd name="connsiteY49" fmla="*/ 5143504 h 6286245"/>
              <a:gd name="connsiteX50" fmla="*/ 4916919 w 8636594"/>
              <a:gd name="connsiteY50" fmla="*/ 5111713 h 6286245"/>
              <a:gd name="connsiteX51" fmla="*/ 4945238 w 8636594"/>
              <a:gd name="connsiteY51" fmla="*/ 5079717 h 6286245"/>
              <a:gd name="connsiteX52" fmla="*/ 4973311 w 8636594"/>
              <a:gd name="connsiteY52" fmla="*/ 5047519 h 6286245"/>
              <a:gd name="connsiteX53" fmla="*/ 5001145 w 8636594"/>
              <a:gd name="connsiteY53" fmla="*/ 5015124 h 6286245"/>
              <a:gd name="connsiteX54" fmla="*/ 5028745 w 8636594"/>
              <a:gd name="connsiteY54" fmla="*/ 4982535 h 6286245"/>
              <a:gd name="connsiteX55" fmla="*/ 5056117 w 8636594"/>
              <a:gd name="connsiteY55" fmla="*/ 4949755 h 6286245"/>
              <a:gd name="connsiteX56" fmla="*/ 5083269 w 8636594"/>
              <a:gd name="connsiteY56" fmla="*/ 4916787 h 6286245"/>
              <a:gd name="connsiteX57" fmla="*/ 5110207 w 8636594"/>
              <a:gd name="connsiteY57" fmla="*/ 4883636 h 6286245"/>
              <a:gd name="connsiteX58" fmla="*/ 5136937 w 8636594"/>
              <a:gd name="connsiteY58" fmla="*/ 4850305 h 6286245"/>
              <a:gd name="connsiteX59" fmla="*/ 5163464 w 8636594"/>
              <a:gd name="connsiteY59" fmla="*/ 4816797 h 6286245"/>
              <a:gd name="connsiteX60" fmla="*/ 5215940 w 8636594"/>
              <a:gd name="connsiteY60" fmla="*/ 4749265 h 6286245"/>
              <a:gd name="connsiteX61" fmla="*/ 5267684 w 8636594"/>
              <a:gd name="connsiteY61" fmla="*/ 4681068 h 6286245"/>
              <a:gd name="connsiteX62" fmla="*/ 5318748 w 8636594"/>
              <a:gd name="connsiteY62" fmla="*/ 4612234 h 6286245"/>
              <a:gd name="connsiteX63" fmla="*/ 5369182 w 8636594"/>
              <a:gd name="connsiteY63" fmla="*/ 4542793 h 6286245"/>
              <a:gd name="connsiteX64" fmla="*/ 5419038 w 8636594"/>
              <a:gd name="connsiteY64" fmla="*/ 4472771 h 6286245"/>
              <a:gd name="connsiteX65" fmla="*/ 5468365 w 8636594"/>
              <a:gd name="connsiteY65" fmla="*/ 4402196 h 6286245"/>
              <a:gd name="connsiteX66" fmla="*/ 5517215 w 8636594"/>
              <a:gd name="connsiteY66" fmla="*/ 4331098 h 6286245"/>
              <a:gd name="connsiteX67" fmla="*/ 5565637 w 8636594"/>
              <a:gd name="connsiteY67" fmla="*/ 4259503 h 6286245"/>
              <a:gd name="connsiteX68" fmla="*/ 5613684 w 8636594"/>
              <a:gd name="connsiteY68" fmla="*/ 4187441 h 6286245"/>
              <a:gd name="connsiteX69" fmla="*/ 5685160 w 8636594"/>
              <a:gd name="connsiteY69" fmla="*/ 4078531 h 6286245"/>
              <a:gd name="connsiteX70" fmla="*/ 5756074 w 8636594"/>
              <a:gd name="connsiteY70" fmla="*/ 3968727 h 6286245"/>
              <a:gd name="connsiteX71" fmla="*/ 5873483 w 8636594"/>
              <a:gd name="connsiteY71" fmla="*/ 3783989 h 6286245"/>
              <a:gd name="connsiteX72" fmla="*/ 6203209 w 8636594"/>
              <a:gd name="connsiteY72" fmla="*/ 3258640 h 6286245"/>
              <a:gd name="connsiteX73" fmla="*/ 6299430 w 8636594"/>
              <a:gd name="connsiteY73" fmla="*/ 3107321 h 6286245"/>
              <a:gd name="connsiteX74" fmla="*/ 6372650 w 8636594"/>
              <a:gd name="connsiteY74" fmla="*/ 2993735 h 6286245"/>
              <a:gd name="connsiteX75" fmla="*/ 6453197 w 8636594"/>
              <a:gd name="connsiteY75" fmla="*/ 2869788 h 6286245"/>
              <a:gd name="connsiteX76" fmla="*/ 6564167 w 8636594"/>
              <a:gd name="connsiteY76" fmla="*/ 2696807 h 6286245"/>
              <a:gd name="connsiteX77" fmla="*/ 6976233 w 8636594"/>
              <a:gd name="connsiteY77" fmla="*/ 2045274 h 6286245"/>
              <a:gd name="connsiteX78" fmla="*/ 7086755 w 8636594"/>
              <a:gd name="connsiteY78" fmla="*/ 1872743 h 6286245"/>
              <a:gd name="connsiteX79" fmla="*/ 7170279 w 8636594"/>
              <a:gd name="connsiteY79" fmla="*/ 1744202 h 6286245"/>
              <a:gd name="connsiteX80" fmla="*/ 7226351 w 8636594"/>
              <a:gd name="connsiteY80" fmla="*/ 1659017 h 6286245"/>
              <a:gd name="connsiteX81" fmla="*/ 7282789 w 8636594"/>
              <a:gd name="connsiteY81" fmla="*/ 1574303 h 6286245"/>
              <a:gd name="connsiteX82" fmla="*/ 7339643 w 8636594"/>
              <a:gd name="connsiteY82" fmla="*/ 1490113 h 6286245"/>
              <a:gd name="connsiteX83" fmla="*/ 7396957 w 8636594"/>
              <a:gd name="connsiteY83" fmla="*/ 1406503 h 6286245"/>
              <a:gd name="connsiteX84" fmla="*/ 7454781 w 8636594"/>
              <a:gd name="connsiteY84" fmla="*/ 1323526 h 6286245"/>
              <a:gd name="connsiteX85" fmla="*/ 7513161 w 8636594"/>
              <a:gd name="connsiteY85" fmla="*/ 1241237 h 6286245"/>
              <a:gd name="connsiteX86" fmla="*/ 7572144 w 8636594"/>
              <a:gd name="connsiteY86" fmla="*/ 1159689 h 6286245"/>
              <a:gd name="connsiteX87" fmla="*/ 7601877 w 8636594"/>
              <a:gd name="connsiteY87" fmla="*/ 1119210 h 6286245"/>
              <a:gd name="connsiteX88" fmla="*/ 7631779 w 8636594"/>
              <a:gd name="connsiteY88" fmla="*/ 1078937 h 6286245"/>
              <a:gd name="connsiteX89" fmla="*/ 7661855 w 8636594"/>
              <a:gd name="connsiteY89" fmla="*/ 1038876 h 6286245"/>
              <a:gd name="connsiteX90" fmla="*/ 7692111 w 8636594"/>
              <a:gd name="connsiteY90" fmla="*/ 999035 h 6286245"/>
              <a:gd name="connsiteX91" fmla="*/ 7722554 w 8636594"/>
              <a:gd name="connsiteY91" fmla="*/ 959419 h 6286245"/>
              <a:gd name="connsiteX92" fmla="*/ 7753190 w 8636594"/>
              <a:gd name="connsiteY92" fmla="*/ 920037 h 6286245"/>
              <a:gd name="connsiteX93" fmla="*/ 7784023 w 8636594"/>
              <a:gd name="connsiteY93" fmla="*/ 880894 h 6286245"/>
              <a:gd name="connsiteX94" fmla="*/ 7815061 w 8636594"/>
              <a:gd name="connsiteY94" fmla="*/ 841997 h 6286245"/>
              <a:gd name="connsiteX95" fmla="*/ 7846308 w 8636594"/>
              <a:gd name="connsiteY95" fmla="*/ 803354 h 6286245"/>
              <a:gd name="connsiteX96" fmla="*/ 7877772 w 8636594"/>
              <a:gd name="connsiteY96" fmla="*/ 764970 h 6286245"/>
              <a:gd name="connsiteX97" fmla="*/ 7909458 w 8636594"/>
              <a:gd name="connsiteY97" fmla="*/ 726853 h 6286245"/>
              <a:gd name="connsiteX98" fmla="*/ 7941371 w 8636594"/>
              <a:gd name="connsiteY98" fmla="*/ 689010 h 6286245"/>
              <a:gd name="connsiteX99" fmla="*/ 7973518 w 8636594"/>
              <a:gd name="connsiteY99" fmla="*/ 651447 h 6286245"/>
              <a:gd name="connsiteX100" fmla="*/ 8005905 w 8636594"/>
              <a:gd name="connsiteY100" fmla="*/ 614171 h 6286245"/>
              <a:gd name="connsiteX101" fmla="*/ 8038538 w 8636594"/>
              <a:gd name="connsiteY101" fmla="*/ 577189 h 6286245"/>
              <a:gd name="connsiteX102" fmla="*/ 8071421 w 8636594"/>
              <a:gd name="connsiteY102" fmla="*/ 540507 h 6286245"/>
              <a:gd name="connsiteX103" fmla="*/ 8104563 w 8636594"/>
              <a:gd name="connsiteY103" fmla="*/ 504132 h 6286245"/>
              <a:gd name="connsiteX104" fmla="*/ 8137967 w 8636594"/>
              <a:gd name="connsiteY104" fmla="*/ 468072 h 6286245"/>
              <a:gd name="connsiteX105" fmla="*/ 8171641 w 8636594"/>
              <a:gd name="connsiteY105" fmla="*/ 432332 h 6286245"/>
              <a:gd name="connsiteX106" fmla="*/ 8205590 w 8636594"/>
              <a:gd name="connsiteY106" fmla="*/ 396920 h 6286245"/>
              <a:gd name="connsiteX107" fmla="*/ 8239820 w 8636594"/>
              <a:gd name="connsiteY107" fmla="*/ 361843 h 6286245"/>
              <a:gd name="connsiteX108" fmla="*/ 8274337 w 8636594"/>
              <a:gd name="connsiteY108" fmla="*/ 327107 h 6286245"/>
              <a:gd name="connsiteX109" fmla="*/ 8309147 w 8636594"/>
              <a:gd name="connsiteY109" fmla="*/ 292718 h 6286245"/>
              <a:gd name="connsiteX110" fmla="*/ 8344256 w 8636594"/>
              <a:gd name="connsiteY110" fmla="*/ 258685 h 6286245"/>
              <a:gd name="connsiteX111" fmla="*/ 8379669 w 8636594"/>
              <a:gd name="connsiteY111" fmla="*/ 225013 h 6286245"/>
              <a:gd name="connsiteX112" fmla="*/ 8415394 w 8636594"/>
              <a:gd name="connsiteY112" fmla="*/ 191709 h 6286245"/>
              <a:gd name="connsiteX113" fmla="*/ 8451434 w 8636594"/>
              <a:gd name="connsiteY113" fmla="*/ 158780 h 6286245"/>
              <a:gd name="connsiteX114" fmla="*/ 8487798 w 8636594"/>
              <a:gd name="connsiteY114" fmla="*/ 126233 h 6286245"/>
              <a:gd name="connsiteX115" fmla="*/ 8524489 w 8636594"/>
              <a:gd name="connsiteY115" fmla="*/ 94075 h 6286245"/>
              <a:gd name="connsiteX116" fmla="*/ 8561515 w 8636594"/>
              <a:gd name="connsiteY116" fmla="*/ 62312 h 6286245"/>
              <a:gd name="connsiteX117" fmla="*/ 8598881 w 8636594"/>
              <a:gd name="connsiteY117" fmla="*/ 30951 h 6286245"/>
              <a:gd name="connsiteX118" fmla="*/ 8636594 w 8636594"/>
              <a:gd name="connsiteY118" fmla="*/ 0 h 6286245"/>
              <a:gd name="connsiteX0" fmla="*/ 8636594 w 8636594"/>
              <a:gd name="connsiteY0" fmla="*/ 0 h 6266942"/>
              <a:gd name="connsiteX1" fmla="*/ 5293 w 8636594"/>
              <a:gd name="connsiteY1" fmla="*/ 0 h 6266942"/>
              <a:gd name="connsiteX2" fmla="*/ 0 w 8636594"/>
              <a:gd name="connsiteY2" fmla="*/ 5587843 h 6266942"/>
              <a:gd name="connsiteX3" fmla="*/ 1594033 w 8636594"/>
              <a:gd name="connsiteY3" fmla="*/ 5600057 h 6266942"/>
              <a:gd name="connsiteX4" fmla="*/ 1686068 w 8636594"/>
              <a:gd name="connsiteY4" fmla="*/ 5599745 h 6266942"/>
              <a:gd name="connsiteX5" fmla="*/ 3330977 w 8636594"/>
              <a:gd name="connsiteY5" fmla="*/ 6266942 h 6266942"/>
              <a:gd name="connsiteX6" fmla="*/ 3376401 w 8636594"/>
              <a:gd name="connsiteY6" fmla="*/ 6247281 h 6266942"/>
              <a:gd name="connsiteX7" fmla="*/ 3421300 w 8636594"/>
              <a:gd name="connsiteY7" fmla="*/ 6227263 h 6266942"/>
              <a:gd name="connsiteX8" fmla="*/ 3465680 w 8636594"/>
              <a:gd name="connsiteY8" fmla="*/ 6206893 h 6266942"/>
              <a:gd name="connsiteX9" fmla="*/ 3509548 w 8636594"/>
              <a:gd name="connsiteY9" fmla="*/ 6186174 h 6266942"/>
              <a:gd name="connsiteX10" fmla="*/ 3552910 w 8636594"/>
              <a:gd name="connsiteY10" fmla="*/ 6165110 h 6266942"/>
              <a:gd name="connsiteX11" fmla="*/ 3595773 w 8636594"/>
              <a:gd name="connsiteY11" fmla="*/ 6143704 h 6266942"/>
              <a:gd name="connsiteX12" fmla="*/ 3638142 w 8636594"/>
              <a:gd name="connsiteY12" fmla="*/ 6121960 h 6266942"/>
              <a:gd name="connsiteX13" fmla="*/ 3680024 w 8636594"/>
              <a:gd name="connsiteY13" fmla="*/ 6099881 h 6266942"/>
              <a:gd name="connsiteX14" fmla="*/ 3721426 w 8636594"/>
              <a:gd name="connsiteY14" fmla="*/ 6077471 h 6266942"/>
              <a:gd name="connsiteX15" fmla="*/ 3762353 w 8636594"/>
              <a:gd name="connsiteY15" fmla="*/ 6054733 h 6266942"/>
              <a:gd name="connsiteX16" fmla="*/ 3802812 w 8636594"/>
              <a:gd name="connsiteY16" fmla="*/ 6031671 h 6266942"/>
              <a:gd name="connsiteX17" fmla="*/ 3842810 w 8636594"/>
              <a:gd name="connsiteY17" fmla="*/ 6008288 h 6266942"/>
              <a:gd name="connsiteX18" fmla="*/ 3882352 w 8636594"/>
              <a:gd name="connsiteY18" fmla="*/ 5984588 h 6266942"/>
              <a:gd name="connsiteX19" fmla="*/ 3921445 w 8636594"/>
              <a:gd name="connsiteY19" fmla="*/ 5960574 h 6266942"/>
              <a:gd name="connsiteX20" fmla="*/ 3960096 w 8636594"/>
              <a:gd name="connsiteY20" fmla="*/ 5936250 h 6266942"/>
              <a:gd name="connsiteX21" fmla="*/ 3998311 w 8636594"/>
              <a:gd name="connsiteY21" fmla="*/ 5911619 h 6266942"/>
              <a:gd name="connsiteX22" fmla="*/ 4036095 w 8636594"/>
              <a:gd name="connsiteY22" fmla="*/ 5886685 h 6266942"/>
              <a:gd name="connsiteX23" fmla="*/ 4073456 w 8636594"/>
              <a:gd name="connsiteY23" fmla="*/ 5861452 h 6266942"/>
              <a:gd name="connsiteX24" fmla="*/ 4110400 w 8636594"/>
              <a:gd name="connsiteY24" fmla="*/ 5835922 h 6266942"/>
              <a:gd name="connsiteX25" fmla="*/ 4146933 w 8636594"/>
              <a:gd name="connsiteY25" fmla="*/ 5810100 h 6266942"/>
              <a:gd name="connsiteX26" fmla="*/ 4183061 w 8636594"/>
              <a:gd name="connsiteY26" fmla="*/ 5783988 h 6266942"/>
              <a:gd name="connsiteX27" fmla="*/ 4218791 w 8636594"/>
              <a:gd name="connsiteY27" fmla="*/ 5757591 h 6266942"/>
              <a:gd name="connsiteX28" fmla="*/ 4254129 w 8636594"/>
              <a:gd name="connsiteY28" fmla="*/ 5730912 h 6266942"/>
              <a:gd name="connsiteX29" fmla="*/ 4289081 w 8636594"/>
              <a:gd name="connsiteY29" fmla="*/ 5703955 h 6266942"/>
              <a:gd name="connsiteX30" fmla="*/ 4323654 w 8636594"/>
              <a:gd name="connsiteY30" fmla="*/ 5676722 h 6266942"/>
              <a:gd name="connsiteX31" fmla="*/ 4357854 w 8636594"/>
              <a:gd name="connsiteY31" fmla="*/ 5649218 h 6266942"/>
              <a:gd name="connsiteX32" fmla="*/ 4391688 w 8636594"/>
              <a:gd name="connsiteY32" fmla="*/ 5621446 h 6266942"/>
              <a:gd name="connsiteX33" fmla="*/ 4425162 w 8636594"/>
              <a:gd name="connsiteY33" fmla="*/ 5593409 h 6266942"/>
              <a:gd name="connsiteX34" fmla="*/ 4458281 w 8636594"/>
              <a:gd name="connsiteY34" fmla="*/ 5565111 h 6266942"/>
              <a:gd name="connsiteX35" fmla="*/ 4491053 w 8636594"/>
              <a:gd name="connsiteY35" fmla="*/ 5536556 h 6266942"/>
              <a:gd name="connsiteX36" fmla="*/ 4523484 w 8636594"/>
              <a:gd name="connsiteY36" fmla="*/ 5507747 h 6266942"/>
              <a:gd name="connsiteX37" fmla="*/ 4555580 w 8636594"/>
              <a:gd name="connsiteY37" fmla="*/ 5478687 h 6266942"/>
              <a:gd name="connsiteX38" fmla="*/ 4587347 w 8636594"/>
              <a:gd name="connsiteY38" fmla="*/ 5449380 h 6266942"/>
              <a:gd name="connsiteX39" fmla="*/ 4618793 w 8636594"/>
              <a:gd name="connsiteY39" fmla="*/ 5419830 h 6266942"/>
              <a:gd name="connsiteX40" fmla="*/ 4649922 w 8636594"/>
              <a:gd name="connsiteY40" fmla="*/ 5390040 h 6266942"/>
              <a:gd name="connsiteX41" fmla="*/ 4680742 w 8636594"/>
              <a:gd name="connsiteY41" fmla="*/ 5360014 h 6266942"/>
              <a:gd name="connsiteX42" fmla="*/ 4711259 w 8636594"/>
              <a:gd name="connsiteY42" fmla="*/ 5329755 h 6266942"/>
              <a:gd name="connsiteX43" fmla="*/ 4741478 w 8636594"/>
              <a:gd name="connsiteY43" fmla="*/ 5299266 h 6266942"/>
              <a:gd name="connsiteX44" fmla="*/ 4771408 w 8636594"/>
              <a:gd name="connsiteY44" fmla="*/ 5268551 h 6266942"/>
              <a:gd name="connsiteX45" fmla="*/ 4801053 w 8636594"/>
              <a:gd name="connsiteY45" fmla="*/ 5237614 h 6266942"/>
              <a:gd name="connsiteX46" fmla="*/ 4830420 w 8636594"/>
              <a:gd name="connsiteY46" fmla="*/ 5206458 h 6266942"/>
              <a:gd name="connsiteX47" fmla="*/ 4859516 w 8636594"/>
              <a:gd name="connsiteY47" fmla="*/ 5175087 h 6266942"/>
              <a:gd name="connsiteX48" fmla="*/ 4888347 w 8636594"/>
              <a:gd name="connsiteY48" fmla="*/ 5143504 h 6266942"/>
              <a:gd name="connsiteX49" fmla="*/ 4916919 w 8636594"/>
              <a:gd name="connsiteY49" fmla="*/ 5111713 h 6266942"/>
              <a:gd name="connsiteX50" fmla="*/ 4945238 w 8636594"/>
              <a:gd name="connsiteY50" fmla="*/ 5079717 h 6266942"/>
              <a:gd name="connsiteX51" fmla="*/ 4973311 w 8636594"/>
              <a:gd name="connsiteY51" fmla="*/ 5047519 h 6266942"/>
              <a:gd name="connsiteX52" fmla="*/ 5001145 w 8636594"/>
              <a:gd name="connsiteY52" fmla="*/ 5015124 h 6266942"/>
              <a:gd name="connsiteX53" fmla="*/ 5028745 w 8636594"/>
              <a:gd name="connsiteY53" fmla="*/ 4982535 h 6266942"/>
              <a:gd name="connsiteX54" fmla="*/ 5056117 w 8636594"/>
              <a:gd name="connsiteY54" fmla="*/ 4949755 h 6266942"/>
              <a:gd name="connsiteX55" fmla="*/ 5083269 w 8636594"/>
              <a:gd name="connsiteY55" fmla="*/ 4916787 h 6266942"/>
              <a:gd name="connsiteX56" fmla="*/ 5110207 w 8636594"/>
              <a:gd name="connsiteY56" fmla="*/ 4883636 h 6266942"/>
              <a:gd name="connsiteX57" fmla="*/ 5136937 w 8636594"/>
              <a:gd name="connsiteY57" fmla="*/ 4850305 h 6266942"/>
              <a:gd name="connsiteX58" fmla="*/ 5163464 w 8636594"/>
              <a:gd name="connsiteY58" fmla="*/ 4816797 h 6266942"/>
              <a:gd name="connsiteX59" fmla="*/ 5215940 w 8636594"/>
              <a:gd name="connsiteY59" fmla="*/ 4749265 h 6266942"/>
              <a:gd name="connsiteX60" fmla="*/ 5267684 w 8636594"/>
              <a:gd name="connsiteY60" fmla="*/ 4681068 h 6266942"/>
              <a:gd name="connsiteX61" fmla="*/ 5318748 w 8636594"/>
              <a:gd name="connsiteY61" fmla="*/ 4612234 h 6266942"/>
              <a:gd name="connsiteX62" fmla="*/ 5369182 w 8636594"/>
              <a:gd name="connsiteY62" fmla="*/ 4542793 h 6266942"/>
              <a:gd name="connsiteX63" fmla="*/ 5419038 w 8636594"/>
              <a:gd name="connsiteY63" fmla="*/ 4472771 h 6266942"/>
              <a:gd name="connsiteX64" fmla="*/ 5468365 w 8636594"/>
              <a:gd name="connsiteY64" fmla="*/ 4402196 h 6266942"/>
              <a:gd name="connsiteX65" fmla="*/ 5517215 w 8636594"/>
              <a:gd name="connsiteY65" fmla="*/ 4331098 h 6266942"/>
              <a:gd name="connsiteX66" fmla="*/ 5565637 w 8636594"/>
              <a:gd name="connsiteY66" fmla="*/ 4259503 h 6266942"/>
              <a:gd name="connsiteX67" fmla="*/ 5613684 w 8636594"/>
              <a:gd name="connsiteY67" fmla="*/ 4187441 h 6266942"/>
              <a:gd name="connsiteX68" fmla="*/ 5685160 w 8636594"/>
              <a:gd name="connsiteY68" fmla="*/ 4078531 h 6266942"/>
              <a:gd name="connsiteX69" fmla="*/ 5756074 w 8636594"/>
              <a:gd name="connsiteY69" fmla="*/ 3968727 h 6266942"/>
              <a:gd name="connsiteX70" fmla="*/ 5873483 w 8636594"/>
              <a:gd name="connsiteY70" fmla="*/ 3783989 h 6266942"/>
              <a:gd name="connsiteX71" fmla="*/ 6203209 w 8636594"/>
              <a:gd name="connsiteY71" fmla="*/ 3258640 h 6266942"/>
              <a:gd name="connsiteX72" fmla="*/ 6299430 w 8636594"/>
              <a:gd name="connsiteY72" fmla="*/ 3107321 h 6266942"/>
              <a:gd name="connsiteX73" fmla="*/ 6372650 w 8636594"/>
              <a:gd name="connsiteY73" fmla="*/ 2993735 h 6266942"/>
              <a:gd name="connsiteX74" fmla="*/ 6453197 w 8636594"/>
              <a:gd name="connsiteY74" fmla="*/ 2869788 h 6266942"/>
              <a:gd name="connsiteX75" fmla="*/ 6564167 w 8636594"/>
              <a:gd name="connsiteY75" fmla="*/ 2696807 h 6266942"/>
              <a:gd name="connsiteX76" fmla="*/ 6976233 w 8636594"/>
              <a:gd name="connsiteY76" fmla="*/ 2045274 h 6266942"/>
              <a:gd name="connsiteX77" fmla="*/ 7086755 w 8636594"/>
              <a:gd name="connsiteY77" fmla="*/ 1872743 h 6266942"/>
              <a:gd name="connsiteX78" fmla="*/ 7170279 w 8636594"/>
              <a:gd name="connsiteY78" fmla="*/ 1744202 h 6266942"/>
              <a:gd name="connsiteX79" fmla="*/ 7226351 w 8636594"/>
              <a:gd name="connsiteY79" fmla="*/ 1659017 h 6266942"/>
              <a:gd name="connsiteX80" fmla="*/ 7282789 w 8636594"/>
              <a:gd name="connsiteY80" fmla="*/ 1574303 h 6266942"/>
              <a:gd name="connsiteX81" fmla="*/ 7339643 w 8636594"/>
              <a:gd name="connsiteY81" fmla="*/ 1490113 h 6266942"/>
              <a:gd name="connsiteX82" fmla="*/ 7396957 w 8636594"/>
              <a:gd name="connsiteY82" fmla="*/ 1406503 h 6266942"/>
              <a:gd name="connsiteX83" fmla="*/ 7454781 w 8636594"/>
              <a:gd name="connsiteY83" fmla="*/ 1323526 h 6266942"/>
              <a:gd name="connsiteX84" fmla="*/ 7513161 w 8636594"/>
              <a:gd name="connsiteY84" fmla="*/ 1241237 h 6266942"/>
              <a:gd name="connsiteX85" fmla="*/ 7572144 w 8636594"/>
              <a:gd name="connsiteY85" fmla="*/ 1159689 h 6266942"/>
              <a:gd name="connsiteX86" fmla="*/ 7601877 w 8636594"/>
              <a:gd name="connsiteY86" fmla="*/ 1119210 h 6266942"/>
              <a:gd name="connsiteX87" fmla="*/ 7631779 w 8636594"/>
              <a:gd name="connsiteY87" fmla="*/ 1078937 h 6266942"/>
              <a:gd name="connsiteX88" fmla="*/ 7661855 w 8636594"/>
              <a:gd name="connsiteY88" fmla="*/ 1038876 h 6266942"/>
              <a:gd name="connsiteX89" fmla="*/ 7692111 w 8636594"/>
              <a:gd name="connsiteY89" fmla="*/ 999035 h 6266942"/>
              <a:gd name="connsiteX90" fmla="*/ 7722554 w 8636594"/>
              <a:gd name="connsiteY90" fmla="*/ 959419 h 6266942"/>
              <a:gd name="connsiteX91" fmla="*/ 7753190 w 8636594"/>
              <a:gd name="connsiteY91" fmla="*/ 920037 h 6266942"/>
              <a:gd name="connsiteX92" fmla="*/ 7784023 w 8636594"/>
              <a:gd name="connsiteY92" fmla="*/ 880894 h 6266942"/>
              <a:gd name="connsiteX93" fmla="*/ 7815061 w 8636594"/>
              <a:gd name="connsiteY93" fmla="*/ 841997 h 6266942"/>
              <a:gd name="connsiteX94" fmla="*/ 7846308 w 8636594"/>
              <a:gd name="connsiteY94" fmla="*/ 803354 h 6266942"/>
              <a:gd name="connsiteX95" fmla="*/ 7877772 w 8636594"/>
              <a:gd name="connsiteY95" fmla="*/ 764970 h 6266942"/>
              <a:gd name="connsiteX96" fmla="*/ 7909458 w 8636594"/>
              <a:gd name="connsiteY96" fmla="*/ 726853 h 6266942"/>
              <a:gd name="connsiteX97" fmla="*/ 7941371 w 8636594"/>
              <a:gd name="connsiteY97" fmla="*/ 689010 h 6266942"/>
              <a:gd name="connsiteX98" fmla="*/ 7973518 w 8636594"/>
              <a:gd name="connsiteY98" fmla="*/ 651447 h 6266942"/>
              <a:gd name="connsiteX99" fmla="*/ 8005905 w 8636594"/>
              <a:gd name="connsiteY99" fmla="*/ 614171 h 6266942"/>
              <a:gd name="connsiteX100" fmla="*/ 8038538 w 8636594"/>
              <a:gd name="connsiteY100" fmla="*/ 577189 h 6266942"/>
              <a:gd name="connsiteX101" fmla="*/ 8071421 w 8636594"/>
              <a:gd name="connsiteY101" fmla="*/ 540507 h 6266942"/>
              <a:gd name="connsiteX102" fmla="*/ 8104563 w 8636594"/>
              <a:gd name="connsiteY102" fmla="*/ 504132 h 6266942"/>
              <a:gd name="connsiteX103" fmla="*/ 8137967 w 8636594"/>
              <a:gd name="connsiteY103" fmla="*/ 468072 h 6266942"/>
              <a:gd name="connsiteX104" fmla="*/ 8171641 w 8636594"/>
              <a:gd name="connsiteY104" fmla="*/ 432332 h 6266942"/>
              <a:gd name="connsiteX105" fmla="*/ 8205590 w 8636594"/>
              <a:gd name="connsiteY105" fmla="*/ 396920 h 6266942"/>
              <a:gd name="connsiteX106" fmla="*/ 8239820 w 8636594"/>
              <a:gd name="connsiteY106" fmla="*/ 361843 h 6266942"/>
              <a:gd name="connsiteX107" fmla="*/ 8274337 w 8636594"/>
              <a:gd name="connsiteY107" fmla="*/ 327107 h 6266942"/>
              <a:gd name="connsiteX108" fmla="*/ 8309147 w 8636594"/>
              <a:gd name="connsiteY108" fmla="*/ 292718 h 6266942"/>
              <a:gd name="connsiteX109" fmla="*/ 8344256 w 8636594"/>
              <a:gd name="connsiteY109" fmla="*/ 258685 h 6266942"/>
              <a:gd name="connsiteX110" fmla="*/ 8379669 w 8636594"/>
              <a:gd name="connsiteY110" fmla="*/ 225013 h 6266942"/>
              <a:gd name="connsiteX111" fmla="*/ 8415394 w 8636594"/>
              <a:gd name="connsiteY111" fmla="*/ 191709 h 6266942"/>
              <a:gd name="connsiteX112" fmla="*/ 8451434 w 8636594"/>
              <a:gd name="connsiteY112" fmla="*/ 158780 h 6266942"/>
              <a:gd name="connsiteX113" fmla="*/ 8487798 w 8636594"/>
              <a:gd name="connsiteY113" fmla="*/ 126233 h 6266942"/>
              <a:gd name="connsiteX114" fmla="*/ 8524489 w 8636594"/>
              <a:gd name="connsiteY114" fmla="*/ 94075 h 6266942"/>
              <a:gd name="connsiteX115" fmla="*/ 8561515 w 8636594"/>
              <a:gd name="connsiteY115" fmla="*/ 62312 h 6266942"/>
              <a:gd name="connsiteX116" fmla="*/ 8598881 w 8636594"/>
              <a:gd name="connsiteY116" fmla="*/ 30951 h 6266942"/>
              <a:gd name="connsiteX117" fmla="*/ 8636594 w 8636594"/>
              <a:gd name="connsiteY117" fmla="*/ 0 h 6266942"/>
              <a:gd name="connsiteX0" fmla="*/ 8636594 w 8636594"/>
              <a:gd name="connsiteY0" fmla="*/ 0 h 6247281"/>
              <a:gd name="connsiteX1" fmla="*/ 5293 w 8636594"/>
              <a:gd name="connsiteY1" fmla="*/ 0 h 6247281"/>
              <a:gd name="connsiteX2" fmla="*/ 0 w 8636594"/>
              <a:gd name="connsiteY2" fmla="*/ 5587843 h 6247281"/>
              <a:gd name="connsiteX3" fmla="*/ 1594033 w 8636594"/>
              <a:gd name="connsiteY3" fmla="*/ 5600057 h 6247281"/>
              <a:gd name="connsiteX4" fmla="*/ 1686068 w 8636594"/>
              <a:gd name="connsiteY4" fmla="*/ 5599745 h 6247281"/>
              <a:gd name="connsiteX5" fmla="*/ 3376401 w 8636594"/>
              <a:gd name="connsiteY5" fmla="*/ 6247281 h 6247281"/>
              <a:gd name="connsiteX6" fmla="*/ 3421300 w 8636594"/>
              <a:gd name="connsiteY6" fmla="*/ 6227263 h 6247281"/>
              <a:gd name="connsiteX7" fmla="*/ 3465680 w 8636594"/>
              <a:gd name="connsiteY7" fmla="*/ 6206893 h 6247281"/>
              <a:gd name="connsiteX8" fmla="*/ 3509548 w 8636594"/>
              <a:gd name="connsiteY8" fmla="*/ 6186174 h 6247281"/>
              <a:gd name="connsiteX9" fmla="*/ 3552910 w 8636594"/>
              <a:gd name="connsiteY9" fmla="*/ 6165110 h 6247281"/>
              <a:gd name="connsiteX10" fmla="*/ 3595773 w 8636594"/>
              <a:gd name="connsiteY10" fmla="*/ 6143704 h 6247281"/>
              <a:gd name="connsiteX11" fmla="*/ 3638142 w 8636594"/>
              <a:gd name="connsiteY11" fmla="*/ 6121960 h 6247281"/>
              <a:gd name="connsiteX12" fmla="*/ 3680024 w 8636594"/>
              <a:gd name="connsiteY12" fmla="*/ 6099881 h 6247281"/>
              <a:gd name="connsiteX13" fmla="*/ 3721426 w 8636594"/>
              <a:gd name="connsiteY13" fmla="*/ 6077471 h 6247281"/>
              <a:gd name="connsiteX14" fmla="*/ 3762353 w 8636594"/>
              <a:gd name="connsiteY14" fmla="*/ 6054733 h 6247281"/>
              <a:gd name="connsiteX15" fmla="*/ 3802812 w 8636594"/>
              <a:gd name="connsiteY15" fmla="*/ 6031671 h 6247281"/>
              <a:gd name="connsiteX16" fmla="*/ 3842810 w 8636594"/>
              <a:gd name="connsiteY16" fmla="*/ 6008288 h 6247281"/>
              <a:gd name="connsiteX17" fmla="*/ 3882352 w 8636594"/>
              <a:gd name="connsiteY17" fmla="*/ 5984588 h 6247281"/>
              <a:gd name="connsiteX18" fmla="*/ 3921445 w 8636594"/>
              <a:gd name="connsiteY18" fmla="*/ 5960574 h 6247281"/>
              <a:gd name="connsiteX19" fmla="*/ 3960096 w 8636594"/>
              <a:gd name="connsiteY19" fmla="*/ 5936250 h 6247281"/>
              <a:gd name="connsiteX20" fmla="*/ 3998311 w 8636594"/>
              <a:gd name="connsiteY20" fmla="*/ 5911619 h 6247281"/>
              <a:gd name="connsiteX21" fmla="*/ 4036095 w 8636594"/>
              <a:gd name="connsiteY21" fmla="*/ 5886685 h 6247281"/>
              <a:gd name="connsiteX22" fmla="*/ 4073456 w 8636594"/>
              <a:gd name="connsiteY22" fmla="*/ 5861452 h 6247281"/>
              <a:gd name="connsiteX23" fmla="*/ 4110400 w 8636594"/>
              <a:gd name="connsiteY23" fmla="*/ 5835922 h 6247281"/>
              <a:gd name="connsiteX24" fmla="*/ 4146933 w 8636594"/>
              <a:gd name="connsiteY24" fmla="*/ 5810100 h 6247281"/>
              <a:gd name="connsiteX25" fmla="*/ 4183061 w 8636594"/>
              <a:gd name="connsiteY25" fmla="*/ 5783988 h 6247281"/>
              <a:gd name="connsiteX26" fmla="*/ 4218791 w 8636594"/>
              <a:gd name="connsiteY26" fmla="*/ 5757591 h 6247281"/>
              <a:gd name="connsiteX27" fmla="*/ 4254129 w 8636594"/>
              <a:gd name="connsiteY27" fmla="*/ 5730912 h 6247281"/>
              <a:gd name="connsiteX28" fmla="*/ 4289081 w 8636594"/>
              <a:gd name="connsiteY28" fmla="*/ 5703955 h 6247281"/>
              <a:gd name="connsiteX29" fmla="*/ 4323654 w 8636594"/>
              <a:gd name="connsiteY29" fmla="*/ 5676722 h 6247281"/>
              <a:gd name="connsiteX30" fmla="*/ 4357854 w 8636594"/>
              <a:gd name="connsiteY30" fmla="*/ 5649218 h 6247281"/>
              <a:gd name="connsiteX31" fmla="*/ 4391688 w 8636594"/>
              <a:gd name="connsiteY31" fmla="*/ 5621446 h 6247281"/>
              <a:gd name="connsiteX32" fmla="*/ 4425162 w 8636594"/>
              <a:gd name="connsiteY32" fmla="*/ 5593409 h 6247281"/>
              <a:gd name="connsiteX33" fmla="*/ 4458281 w 8636594"/>
              <a:gd name="connsiteY33" fmla="*/ 5565111 h 6247281"/>
              <a:gd name="connsiteX34" fmla="*/ 4491053 w 8636594"/>
              <a:gd name="connsiteY34" fmla="*/ 5536556 h 6247281"/>
              <a:gd name="connsiteX35" fmla="*/ 4523484 w 8636594"/>
              <a:gd name="connsiteY35" fmla="*/ 5507747 h 6247281"/>
              <a:gd name="connsiteX36" fmla="*/ 4555580 w 8636594"/>
              <a:gd name="connsiteY36" fmla="*/ 5478687 h 6247281"/>
              <a:gd name="connsiteX37" fmla="*/ 4587347 w 8636594"/>
              <a:gd name="connsiteY37" fmla="*/ 5449380 h 6247281"/>
              <a:gd name="connsiteX38" fmla="*/ 4618793 w 8636594"/>
              <a:gd name="connsiteY38" fmla="*/ 5419830 h 6247281"/>
              <a:gd name="connsiteX39" fmla="*/ 4649922 w 8636594"/>
              <a:gd name="connsiteY39" fmla="*/ 5390040 h 6247281"/>
              <a:gd name="connsiteX40" fmla="*/ 4680742 w 8636594"/>
              <a:gd name="connsiteY40" fmla="*/ 5360014 h 6247281"/>
              <a:gd name="connsiteX41" fmla="*/ 4711259 w 8636594"/>
              <a:gd name="connsiteY41" fmla="*/ 5329755 h 6247281"/>
              <a:gd name="connsiteX42" fmla="*/ 4741478 w 8636594"/>
              <a:gd name="connsiteY42" fmla="*/ 5299266 h 6247281"/>
              <a:gd name="connsiteX43" fmla="*/ 4771408 w 8636594"/>
              <a:gd name="connsiteY43" fmla="*/ 5268551 h 6247281"/>
              <a:gd name="connsiteX44" fmla="*/ 4801053 w 8636594"/>
              <a:gd name="connsiteY44" fmla="*/ 5237614 h 6247281"/>
              <a:gd name="connsiteX45" fmla="*/ 4830420 w 8636594"/>
              <a:gd name="connsiteY45" fmla="*/ 5206458 h 6247281"/>
              <a:gd name="connsiteX46" fmla="*/ 4859516 w 8636594"/>
              <a:gd name="connsiteY46" fmla="*/ 5175087 h 6247281"/>
              <a:gd name="connsiteX47" fmla="*/ 4888347 w 8636594"/>
              <a:gd name="connsiteY47" fmla="*/ 5143504 h 6247281"/>
              <a:gd name="connsiteX48" fmla="*/ 4916919 w 8636594"/>
              <a:gd name="connsiteY48" fmla="*/ 5111713 h 6247281"/>
              <a:gd name="connsiteX49" fmla="*/ 4945238 w 8636594"/>
              <a:gd name="connsiteY49" fmla="*/ 5079717 h 6247281"/>
              <a:gd name="connsiteX50" fmla="*/ 4973311 w 8636594"/>
              <a:gd name="connsiteY50" fmla="*/ 5047519 h 6247281"/>
              <a:gd name="connsiteX51" fmla="*/ 5001145 w 8636594"/>
              <a:gd name="connsiteY51" fmla="*/ 5015124 h 6247281"/>
              <a:gd name="connsiteX52" fmla="*/ 5028745 w 8636594"/>
              <a:gd name="connsiteY52" fmla="*/ 4982535 h 6247281"/>
              <a:gd name="connsiteX53" fmla="*/ 5056117 w 8636594"/>
              <a:gd name="connsiteY53" fmla="*/ 4949755 h 6247281"/>
              <a:gd name="connsiteX54" fmla="*/ 5083269 w 8636594"/>
              <a:gd name="connsiteY54" fmla="*/ 4916787 h 6247281"/>
              <a:gd name="connsiteX55" fmla="*/ 5110207 w 8636594"/>
              <a:gd name="connsiteY55" fmla="*/ 4883636 h 6247281"/>
              <a:gd name="connsiteX56" fmla="*/ 5136937 w 8636594"/>
              <a:gd name="connsiteY56" fmla="*/ 4850305 h 6247281"/>
              <a:gd name="connsiteX57" fmla="*/ 5163464 w 8636594"/>
              <a:gd name="connsiteY57" fmla="*/ 4816797 h 6247281"/>
              <a:gd name="connsiteX58" fmla="*/ 5215940 w 8636594"/>
              <a:gd name="connsiteY58" fmla="*/ 4749265 h 6247281"/>
              <a:gd name="connsiteX59" fmla="*/ 5267684 w 8636594"/>
              <a:gd name="connsiteY59" fmla="*/ 4681068 h 6247281"/>
              <a:gd name="connsiteX60" fmla="*/ 5318748 w 8636594"/>
              <a:gd name="connsiteY60" fmla="*/ 4612234 h 6247281"/>
              <a:gd name="connsiteX61" fmla="*/ 5369182 w 8636594"/>
              <a:gd name="connsiteY61" fmla="*/ 4542793 h 6247281"/>
              <a:gd name="connsiteX62" fmla="*/ 5419038 w 8636594"/>
              <a:gd name="connsiteY62" fmla="*/ 4472771 h 6247281"/>
              <a:gd name="connsiteX63" fmla="*/ 5468365 w 8636594"/>
              <a:gd name="connsiteY63" fmla="*/ 4402196 h 6247281"/>
              <a:gd name="connsiteX64" fmla="*/ 5517215 w 8636594"/>
              <a:gd name="connsiteY64" fmla="*/ 4331098 h 6247281"/>
              <a:gd name="connsiteX65" fmla="*/ 5565637 w 8636594"/>
              <a:gd name="connsiteY65" fmla="*/ 4259503 h 6247281"/>
              <a:gd name="connsiteX66" fmla="*/ 5613684 w 8636594"/>
              <a:gd name="connsiteY66" fmla="*/ 4187441 h 6247281"/>
              <a:gd name="connsiteX67" fmla="*/ 5685160 w 8636594"/>
              <a:gd name="connsiteY67" fmla="*/ 4078531 h 6247281"/>
              <a:gd name="connsiteX68" fmla="*/ 5756074 w 8636594"/>
              <a:gd name="connsiteY68" fmla="*/ 3968727 h 6247281"/>
              <a:gd name="connsiteX69" fmla="*/ 5873483 w 8636594"/>
              <a:gd name="connsiteY69" fmla="*/ 3783989 h 6247281"/>
              <a:gd name="connsiteX70" fmla="*/ 6203209 w 8636594"/>
              <a:gd name="connsiteY70" fmla="*/ 3258640 h 6247281"/>
              <a:gd name="connsiteX71" fmla="*/ 6299430 w 8636594"/>
              <a:gd name="connsiteY71" fmla="*/ 3107321 h 6247281"/>
              <a:gd name="connsiteX72" fmla="*/ 6372650 w 8636594"/>
              <a:gd name="connsiteY72" fmla="*/ 2993735 h 6247281"/>
              <a:gd name="connsiteX73" fmla="*/ 6453197 w 8636594"/>
              <a:gd name="connsiteY73" fmla="*/ 2869788 h 6247281"/>
              <a:gd name="connsiteX74" fmla="*/ 6564167 w 8636594"/>
              <a:gd name="connsiteY74" fmla="*/ 2696807 h 6247281"/>
              <a:gd name="connsiteX75" fmla="*/ 6976233 w 8636594"/>
              <a:gd name="connsiteY75" fmla="*/ 2045274 h 6247281"/>
              <a:gd name="connsiteX76" fmla="*/ 7086755 w 8636594"/>
              <a:gd name="connsiteY76" fmla="*/ 1872743 h 6247281"/>
              <a:gd name="connsiteX77" fmla="*/ 7170279 w 8636594"/>
              <a:gd name="connsiteY77" fmla="*/ 1744202 h 6247281"/>
              <a:gd name="connsiteX78" fmla="*/ 7226351 w 8636594"/>
              <a:gd name="connsiteY78" fmla="*/ 1659017 h 6247281"/>
              <a:gd name="connsiteX79" fmla="*/ 7282789 w 8636594"/>
              <a:gd name="connsiteY79" fmla="*/ 1574303 h 6247281"/>
              <a:gd name="connsiteX80" fmla="*/ 7339643 w 8636594"/>
              <a:gd name="connsiteY80" fmla="*/ 1490113 h 6247281"/>
              <a:gd name="connsiteX81" fmla="*/ 7396957 w 8636594"/>
              <a:gd name="connsiteY81" fmla="*/ 1406503 h 6247281"/>
              <a:gd name="connsiteX82" fmla="*/ 7454781 w 8636594"/>
              <a:gd name="connsiteY82" fmla="*/ 1323526 h 6247281"/>
              <a:gd name="connsiteX83" fmla="*/ 7513161 w 8636594"/>
              <a:gd name="connsiteY83" fmla="*/ 1241237 h 6247281"/>
              <a:gd name="connsiteX84" fmla="*/ 7572144 w 8636594"/>
              <a:gd name="connsiteY84" fmla="*/ 1159689 h 6247281"/>
              <a:gd name="connsiteX85" fmla="*/ 7601877 w 8636594"/>
              <a:gd name="connsiteY85" fmla="*/ 1119210 h 6247281"/>
              <a:gd name="connsiteX86" fmla="*/ 7631779 w 8636594"/>
              <a:gd name="connsiteY86" fmla="*/ 1078937 h 6247281"/>
              <a:gd name="connsiteX87" fmla="*/ 7661855 w 8636594"/>
              <a:gd name="connsiteY87" fmla="*/ 1038876 h 6247281"/>
              <a:gd name="connsiteX88" fmla="*/ 7692111 w 8636594"/>
              <a:gd name="connsiteY88" fmla="*/ 999035 h 6247281"/>
              <a:gd name="connsiteX89" fmla="*/ 7722554 w 8636594"/>
              <a:gd name="connsiteY89" fmla="*/ 959419 h 6247281"/>
              <a:gd name="connsiteX90" fmla="*/ 7753190 w 8636594"/>
              <a:gd name="connsiteY90" fmla="*/ 920037 h 6247281"/>
              <a:gd name="connsiteX91" fmla="*/ 7784023 w 8636594"/>
              <a:gd name="connsiteY91" fmla="*/ 880894 h 6247281"/>
              <a:gd name="connsiteX92" fmla="*/ 7815061 w 8636594"/>
              <a:gd name="connsiteY92" fmla="*/ 841997 h 6247281"/>
              <a:gd name="connsiteX93" fmla="*/ 7846308 w 8636594"/>
              <a:gd name="connsiteY93" fmla="*/ 803354 h 6247281"/>
              <a:gd name="connsiteX94" fmla="*/ 7877772 w 8636594"/>
              <a:gd name="connsiteY94" fmla="*/ 764970 h 6247281"/>
              <a:gd name="connsiteX95" fmla="*/ 7909458 w 8636594"/>
              <a:gd name="connsiteY95" fmla="*/ 726853 h 6247281"/>
              <a:gd name="connsiteX96" fmla="*/ 7941371 w 8636594"/>
              <a:gd name="connsiteY96" fmla="*/ 689010 h 6247281"/>
              <a:gd name="connsiteX97" fmla="*/ 7973518 w 8636594"/>
              <a:gd name="connsiteY97" fmla="*/ 651447 h 6247281"/>
              <a:gd name="connsiteX98" fmla="*/ 8005905 w 8636594"/>
              <a:gd name="connsiteY98" fmla="*/ 614171 h 6247281"/>
              <a:gd name="connsiteX99" fmla="*/ 8038538 w 8636594"/>
              <a:gd name="connsiteY99" fmla="*/ 577189 h 6247281"/>
              <a:gd name="connsiteX100" fmla="*/ 8071421 w 8636594"/>
              <a:gd name="connsiteY100" fmla="*/ 540507 h 6247281"/>
              <a:gd name="connsiteX101" fmla="*/ 8104563 w 8636594"/>
              <a:gd name="connsiteY101" fmla="*/ 504132 h 6247281"/>
              <a:gd name="connsiteX102" fmla="*/ 8137967 w 8636594"/>
              <a:gd name="connsiteY102" fmla="*/ 468072 h 6247281"/>
              <a:gd name="connsiteX103" fmla="*/ 8171641 w 8636594"/>
              <a:gd name="connsiteY103" fmla="*/ 432332 h 6247281"/>
              <a:gd name="connsiteX104" fmla="*/ 8205590 w 8636594"/>
              <a:gd name="connsiteY104" fmla="*/ 396920 h 6247281"/>
              <a:gd name="connsiteX105" fmla="*/ 8239820 w 8636594"/>
              <a:gd name="connsiteY105" fmla="*/ 361843 h 6247281"/>
              <a:gd name="connsiteX106" fmla="*/ 8274337 w 8636594"/>
              <a:gd name="connsiteY106" fmla="*/ 327107 h 6247281"/>
              <a:gd name="connsiteX107" fmla="*/ 8309147 w 8636594"/>
              <a:gd name="connsiteY107" fmla="*/ 292718 h 6247281"/>
              <a:gd name="connsiteX108" fmla="*/ 8344256 w 8636594"/>
              <a:gd name="connsiteY108" fmla="*/ 258685 h 6247281"/>
              <a:gd name="connsiteX109" fmla="*/ 8379669 w 8636594"/>
              <a:gd name="connsiteY109" fmla="*/ 225013 h 6247281"/>
              <a:gd name="connsiteX110" fmla="*/ 8415394 w 8636594"/>
              <a:gd name="connsiteY110" fmla="*/ 191709 h 6247281"/>
              <a:gd name="connsiteX111" fmla="*/ 8451434 w 8636594"/>
              <a:gd name="connsiteY111" fmla="*/ 158780 h 6247281"/>
              <a:gd name="connsiteX112" fmla="*/ 8487798 w 8636594"/>
              <a:gd name="connsiteY112" fmla="*/ 126233 h 6247281"/>
              <a:gd name="connsiteX113" fmla="*/ 8524489 w 8636594"/>
              <a:gd name="connsiteY113" fmla="*/ 94075 h 6247281"/>
              <a:gd name="connsiteX114" fmla="*/ 8561515 w 8636594"/>
              <a:gd name="connsiteY114" fmla="*/ 62312 h 6247281"/>
              <a:gd name="connsiteX115" fmla="*/ 8598881 w 8636594"/>
              <a:gd name="connsiteY115" fmla="*/ 30951 h 6247281"/>
              <a:gd name="connsiteX116" fmla="*/ 8636594 w 8636594"/>
              <a:gd name="connsiteY116" fmla="*/ 0 h 6247281"/>
              <a:gd name="connsiteX0" fmla="*/ 8636594 w 8636594"/>
              <a:gd name="connsiteY0" fmla="*/ 0 h 6227263"/>
              <a:gd name="connsiteX1" fmla="*/ 5293 w 8636594"/>
              <a:gd name="connsiteY1" fmla="*/ 0 h 6227263"/>
              <a:gd name="connsiteX2" fmla="*/ 0 w 8636594"/>
              <a:gd name="connsiteY2" fmla="*/ 5587843 h 6227263"/>
              <a:gd name="connsiteX3" fmla="*/ 1594033 w 8636594"/>
              <a:gd name="connsiteY3" fmla="*/ 5600057 h 6227263"/>
              <a:gd name="connsiteX4" fmla="*/ 1686068 w 8636594"/>
              <a:gd name="connsiteY4" fmla="*/ 5599745 h 6227263"/>
              <a:gd name="connsiteX5" fmla="*/ 3421300 w 8636594"/>
              <a:gd name="connsiteY5" fmla="*/ 6227263 h 6227263"/>
              <a:gd name="connsiteX6" fmla="*/ 3465680 w 8636594"/>
              <a:gd name="connsiteY6" fmla="*/ 6206893 h 6227263"/>
              <a:gd name="connsiteX7" fmla="*/ 3509548 w 8636594"/>
              <a:gd name="connsiteY7" fmla="*/ 6186174 h 6227263"/>
              <a:gd name="connsiteX8" fmla="*/ 3552910 w 8636594"/>
              <a:gd name="connsiteY8" fmla="*/ 6165110 h 6227263"/>
              <a:gd name="connsiteX9" fmla="*/ 3595773 w 8636594"/>
              <a:gd name="connsiteY9" fmla="*/ 6143704 h 6227263"/>
              <a:gd name="connsiteX10" fmla="*/ 3638142 w 8636594"/>
              <a:gd name="connsiteY10" fmla="*/ 6121960 h 6227263"/>
              <a:gd name="connsiteX11" fmla="*/ 3680024 w 8636594"/>
              <a:gd name="connsiteY11" fmla="*/ 6099881 h 6227263"/>
              <a:gd name="connsiteX12" fmla="*/ 3721426 w 8636594"/>
              <a:gd name="connsiteY12" fmla="*/ 6077471 h 6227263"/>
              <a:gd name="connsiteX13" fmla="*/ 3762353 w 8636594"/>
              <a:gd name="connsiteY13" fmla="*/ 6054733 h 6227263"/>
              <a:gd name="connsiteX14" fmla="*/ 3802812 w 8636594"/>
              <a:gd name="connsiteY14" fmla="*/ 6031671 h 6227263"/>
              <a:gd name="connsiteX15" fmla="*/ 3842810 w 8636594"/>
              <a:gd name="connsiteY15" fmla="*/ 6008288 h 6227263"/>
              <a:gd name="connsiteX16" fmla="*/ 3882352 w 8636594"/>
              <a:gd name="connsiteY16" fmla="*/ 5984588 h 6227263"/>
              <a:gd name="connsiteX17" fmla="*/ 3921445 w 8636594"/>
              <a:gd name="connsiteY17" fmla="*/ 5960574 h 6227263"/>
              <a:gd name="connsiteX18" fmla="*/ 3960096 w 8636594"/>
              <a:gd name="connsiteY18" fmla="*/ 5936250 h 6227263"/>
              <a:gd name="connsiteX19" fmla="*/ 3998311 w 8636594"/>
              <a:gd name="connsiteY19" fmla="*/ 5911619 h 6227263"/>
              <a:gd name="connsiteX20" fmla="*/ 4036095 w 8636594"/>
              <a:gd name="connsiteY20" fmla="*/ 5886685 h 6227263"/>
              <a:gd name="connsiteX21" fmla="*/ 4073456 w 8636594"/>
              <a:gd name="connsiteY21" fmla="*/ 5861452 h 6227263"/>
              <a:gd name="connsiteX22" fmla="*/ 4110400 w 8636594"/>
              <a:gd name="connsiteY22" fmla="*/ 5835922 h 6227263"/>
              <a:gd name="connsiteX23" fmla="*/ 4146933 w 8636594"/>
              <a:gd name="connsiteY23" fmla="*/ 5810100 h 6227263"/>
              <a:gd name="connsiteX24" fmla="*/ 4183061 w 8636594"/>
              <a:gd name="connsiteY24" fmla="*/ 5783988 h 6227263"/>
              <a:gd name="connsiteX25" fmla="*/ 4218791 w 8636594"/>
              <a:gd name="connsiteY25" fmla="*/ 5757591 h 6227263"/>
              <a:gd name="connsiteX26" fmla="*/ 4254129 w 8636594"/>
              <a:gd name="connsiteY26" fmla="*/ 5730912 h 6227263"/>
              <a:gd name="connsiteX27" fmla="*/ 4289081 w 8636594"/>
              <a:gd name="connsiteY27" fmla="*/ 5703955 h 6227263"/>
              <a:gd name="connsiteX28" fmla="*/ 4323654 w 8636594"/>
              <a:gd name="connsiteY28" fmla="*/ 5676722 h 6227263"/>
              <a:gd name="connsiteX29" fmla="*/ 4357854 w 8636594"/>
              <a:gd name="connsiteY29" fmla="*/ 5649218 h 6227263"/>
              <a:gd name="connsiteX30" fmla="*/ 4391688 w 8636594"/>
              <a:gd name="connsiteY30" fmla="*/ 5621446 h 6227263"/>
              <a:gd name="connsiteX31" fmla="*/ 4425162 w 8636594"/>
              <a:gd name="connsiteY31" fmla="*/ 5593409 h 6227263"/>
              <a:gd name="connsiteX32" fmla="*/ 4458281 w 8636594"/>
              <a:gd name="connsiteY32" fmla="*/ 5565111 h 6227263"/>
              <a:gd name="connsiteX33" fmla="*/ 4491053 w 8636594"/>
              <a:gd name="connsiteY33" fmla="*/ 5536556 h 6227263"/>
              <a:gd name="connsiteX34" fmla="*/ 4523484 w 8636594"/>
              <a:gd name="connsiteY34" fmla="*/ 5507747 h 6227263"/>
              <a:gd name="connsiteX35" fmla="*/ 4555580 w 8636594"/>
              <a:gd name="connsiteY35" fmla="*/ 5478687 h 6227263"/>
              <a:gd name="connsiteX36" fmla="*/ 4587347 w 8636594"/>
              <a:gd name="connsiteY36" fmla="*/ 5449380 h 6227263"/>
              <a:gd name="connsiteX37" fmla="*/ 4618793 w 8636594"/>
              <a:gd name="connsiteY37" fmla="*/ 5419830 h 6227263"/>
              <a:gd name="connsiteX38" fmla="*/ 4649922 w 8636594"/>
              <a:gd name="connsiteY38" fmla="*/ 5390040 h 6227263"/>
              <a:gd name="connsiteX39" fmla="*/ 4680742 w 8636594"/>
              <a:gd name="connsiteY39" fmla="*/ 5360014 h 6227263"/>
              <a:gd name="connsiteX40" fmla="*/ 4711259 w 8636594"/>
              <a:gd name="connsiteY40" fmla="*/ 5329755 h 6227263"/>
              <a:gd name="connsiteX41" fmla="*/ 4741478 w 8636594"/>
              <a:gd name="connsiteY41" fmla="*/ 5299266 h 6227263"/>
              <a:gd name="connsiteX42" fmla="*/ 4771408 w 8636594"/>
              <a:gd name="connsiteY42" fmla="*/ 5268551 h 6227263"/>
              <a:gd name="connsiteX43" fmla="*/ 4801053 w 8636594"/>
              <a:gd name="connsiteY43" fmla="*/ 5237614 h 6227263"/>
              <a:gd name="connsiteX44" fmla="*/ 4830420 w 8636594"/>
              <a:gd name="connsiteY44" fmla="*/ 5206458 h 6227263"/>
              <a:gd name="connsiteX45" fmla="*/ 4859516 w 8636594"/>
              <a:gd name="connsiteY45" fmla="*/ 5175087 h 6227263"/>
              <a:gd name="connsiteX46" fmla="*/ 4888347 w 8636594"/>
              <a:gd name="connsiteY46" fmla="*/ 5143504 h 6227263"/>
              <a:gd name="connsiteX47" fmla="*/ 4916919 w 8636594"/>
              <a:gd name="connsiteY47" fmla="*/ 5111713 h 6227263"/>
              <a:gd name="connsiteX48" fmla="*/ 4945238 w 8636594"/>
              <a:gd name="connsiteY48" fmla="*/ 5079717 h 6227263"/>
              <a:gd name="connsiteX49" fmla="*/ 4973311 w 8636594"/>
              <a:gd name="connsiteY49" fmla="*/ 5047519 h 6227263"/>
              <a:gd name="connsiteX50" fmla="*/ 5001145 w 8636594"/>
              <a:gd name="connsiteY50" fmla="*/ 5015124 h 6227263"/>
              <a:gd name="connsiteX51" fmla="*/ 5028745 w 8636594"/>
              <a:gd name="connsiteY51" fmla="*/ 4982535 h 6227263"/>
              <a:gd name="connsiteX52" fmla="*/ 5056117 w 8636594"/>
              <a:gd name="connsiteY52" fmla="*/ 4949755 h 6227263"/>
              <a:gd name="connsiteX53" fmla="*/ 5083269 w 8636594"/>
              <a:gd name="connsiteY53" fmla="*/ 4916787 h 6227263"/>
              <a:gd name="connsiteX54" fmla="*/ 5110207 w 8636594"/>
              <a:gd name="connsiteY54" fmla="*/ 4883636 h 6227263"/>
              <a:gd name="connsiteX55" fmla="*/ 5136937 w 8636594"/>
              <a:gd name="connsiteY55" fmla="*/ 4850305 h 6227263"/>
              <a:gd name="connsiteX56" fmla="*/ 5163464 w 8636594"/>
              <a:gd name="connsiteY56" fmla="*/ 4816797 h 6227263"/>
              <a:gd name="connsiteX57" fmla="*/ 5215940 w 8636594"/>
              <a:gd name="connsiteY57" fmla="*/ 4749265 h 6227263"/>
              <a:gd name="connsiteX58" fmla="*/ 5267684 w 8636594"/>
              <a:gd name="connsiteY58" fmla="*/ 4681068 h 6227263"/>
              <a:gd name="connsiteX59" fmla="*/ 5318748 w 8636594"/>
              <a:gd name="connsiteY59" fmla="*/ 4612234 h 6227263"/>
              <a:gd name="connsiteX60" fmla="*/ 5369182 w 8636594"/>
              <a:gd name="connsiteY60" fmla="*/ 4542793 h 6227263"/>
              <a:gd name="connsiteX61" fmla="*/ 5419038 w 8636594"/>
              <a:gd name="connsiteY61" fmla="*/ 4472771 h 6227263"/>
              <a:gd name="connsiteX62" fmla="*/ 5468365 w 8636594"/>
              <a:gd name="connsiteY62" fmla="*/ 4402196 h 6227263"/>
              <a:gd name="connsiteX63" fmla="*/ 5517215 w 8636594"/>
              <a:gd name="connsiteY63" fmla="*/ 4331098 h 6227263"/>
              <a:gd name="connsiteX64" fmla="*/ 5565637 w 8636594"/>
              <a:gd name="connsiteY64" fmla="*/ 4259503 h 6227263"/>
              <a:gd name="connsiteX65" fmla="*/ 5613684 w 8636594"/>
              <a:gd name="connsiteY65" fmla="*/ 4187441 h 6227263"/>
              <a:gd name="connsiteX66" fmla="*/ 5685160 w 8636594"/>
              <a:gd name="connsiteY66" fmla="*/ 4078531 h 6227263"/>
              <a:gd name="connsiteX67" fmla="*/ 5756074 w 8636594"/>
              <a:gd name="connsiteY67" fmla="*/ 3968727 h 6227263"/>
              <a:gd name="connsiteX68" fmla="*/ 5873483 w 8636594"/>
              <a:gd name="connsiteY68" fmla="*/ 3783989 h 6227263"/>
              <a:gd name="connsiteX69" fmla="*/ 6203209 w 8636594"/>
              <a:gd name="connsiteY69" fmla="*/ 3258640 h 6227263"/>
              <a:gd name="connsiteX70" fmla="*/ 6299430 w 8636594"/>
              <a:gd name="connsiteY70" fmla="*/ 3107321 h 6227263"/>
              <a:gd name="connsiteX71" fmla="*/ 6372650 w 8636594"/>
              <a:gd name="connsiteY71" fmla="*/ 2993735 h 6227263"/>
              <a:gd name="connsiteX72" fmla="*/ 6453197 w 8636594"/>
              <a:gd name="connsiteY72" fmla="*/ 2869788 h 6227263"/>
              <a:gd name="connsiteX73" fmla="*/ 6564167 w 8636594"/>
              <a:gd name="connsiteY73" fmla="*/ 2696807 h 6227263"/>
              <a:gd name="connsiteX74" fmla="*/ 6976233 w 8636594"/>
              <a:gd name="connsiteY74" fmla="*/ 2045274 h 6227263"/>
              <a:gd name="connsiteX75" fmla="*/ 7086755 w 8636594"/>
              <a:gd name="connsiteY75" fmla="*/ 1872743 h 6227263"/>
              <a:gd name="connsiteX76" fmla="*/ 7170279 w 8636594"/>
              <a:gd name="connsiteY76" fmla="*/ 1744202 h 6227263"/>
              <a:gd name="connsiteX77" fmla="*/ 7226351 w 8636594"/>
              <a:gd name="connsiteY77" fmla="*/ 1659017 h 6227263"/>
              <a:gd name="connsiteX78" fmla="*/ 7282789 w 8636594"/>
              <a:gd name="connsiteY78" fmla="*/ 1574303 h 6227263"/>
              <a:gd name="connsiteX79" fmla="*/ 7339643 w 8636594"/>
              <a:gd name="connsiteY79" fmla="*/ 1490113 h 6227263"/>
              <a:gd name="connsiteX80" fmla="*/ 7396957 w 8636594"/>
              <a:gd name="connsiteY80" fmla="*/ 1406503 h 6227263"/>
              <a:gd name="connsiteX81" fmla="*/ 7454781 w 8636594"/>
              <a:gd name="connsiteY81" fmla="*/ 1323526 h 6227263"/>
              <a:gd name="connsiteX82" fmla="*/ 7513161 w 8636594"/>
              <a:gd name="connsiteY82" fmla="*/ 1241237 h 6227263"/>
              <a:gd name="connsiteX83" fmla="*/ 7572144 w 8636594"/>
              <a:gd name="connsiteY83" fmla="*/ 1159689 h 6227263"/>
              <a:gd name="connsiteX84" fmla="*/ 7601877 w 8636594"/>
              <a:gd name="connsiteY84" fmla="*/ 1119210 h 6227263"/>
              <a:gd name="connsiteX85" fmla="*/ 7631779 w 8636594"/>
              <a:gd name="connsiteY85" fmla="*/ 1078937 h 6227263"/>
              <a:gd name="connsiteX86" fmla="*/ 7661855 w 8636594"/>
              <a:gd name="connsiteY86" fmla="*/ 1038876 h 6227263"/>
              <a:gd name="connsiteX87" fmla="*/ 7692111 w 8636594"/>
              <a:gd name="connsiteY87" fmla="*/ 999035 h 6227263"/>
              <a:gd name="connsiteX88" fmla="*/ 7722554 w 8636594"/>
              <a:gd name="connsiteY88" fmla="*/ 959419 h 6227263"/>
              <a:gd name="connsiteX89" fmla="*/ 7753190 w 8636594"/>
              <a:gd name="connsiteY89" fmla="*/ 920037 h 6227263"/>
              <a:gd name="connsiteX90" fmla="*/ 7784023 w 8636594"/>
              <a:gd name="connsiteY90" fmla="*/ 880894 h 6227263"/>
              <a:gd name="connsiteX91" fmla="*/ 7815061 w 8636594"/>
              <a:gd name="connsiteY91" fmla="*/ 841997 h 6227263"/>
              <a:gd name="connsiteX92" fmla="*/ 7846308 w 8636594"/>
              <a:gd name="connsiteY92" fmla="*/ 803354 h 6227263"/>
              <a:gd name="connsiteX93" fmla="*/ 7877772 w 8636594"/>
              <a:gd name="connsiteY93" fmla="*/ 764970 h 6227263"/>
              <a:gd name="connsiteX94" fmla="*/ 7909458 w 8636594"/>
              <a:gd name="connsiteY94" fmla="*/ 726853 h 6227263"/>
              <a:gd name="connsiteX95" fmla="*/ 7941371 w 8636594"/>
              <a:gd name="connsiteY95" fmla="*/ 689010 h 6227263"/>
              <a:gd name="connsiteX96" fmla="*/ 7973518 w 8636594"/>
              <a:gd name="connsiteY96" fmla="*/ 651447 h 6227263"/>
              <a:gd name="connsiteX97" fmla="*/ 8005905 w 8636594"/>
              <a:gd name="connsiteY97" fmla="*/ 614171 h 6227263"/>
              <a:gd name="connsiteX98" fmla="*/ 8038538 w 8636594"/>
              <a:gd name="connsiteY98" fmla="*/ 577189 h 6227263"/>
              <a:gd name="connsiteX99" fmla="*/ 8071421 w 8636594"/>
              <a:gd name="connsiteY99" fmla="*/ 540507 h 6227263"/>
              <a:gd name="connsiteX100" fmla="*/ 8104563 w 8636594"/>
              <a:gd name="connsiteY100" fmla="*/ 504132 h 6227263"/>
              <a:gd name="connsiteX101" fmla="*/ 8137967 w 8636594"/>
              <a:gd name="connsiteY101" fmla="*/ 468072 h 6227263"/>
              <a:gd name="connsiteX102" fmla="*/ 8171641 w 8636594"/>
              <a:gd name="connsiteY102" fmla="*/ 432332 h 6227263"/>
              <a:gd name="connsiteX103" fmla="*/ 8205590 w 8636594"/>
              <a:gd name="connsiteY103" fmla="*/ 396920 h 6227263"/>
              <a:gd name="connsiteX104" fmla="*/ 8239820 w 8636594"/>
              <a:gd name="connsiteY104" fmla="*/ 361843 h 6227263"/>
              <a:gd name="connsiteX105" fmla="*/ 8274337 w 8636594"/>
              <a:gd name="connsiteY105" fmla="*/ 327107 h 6227263"/>
              <a:gd name="connsiteX106" fmla="*/ 8309147 w 8636594"/>
              <a:gd name="connsiteY106" fmla="*/ 292718 h 6227263"/>
              <a:gd name="connsiteX107" fmla="*/ 8344256 w 8636594"/>
              <a:gd name="connsiteY107" fmla="*/ 258685 h 6227263"/>
              <a:gd name="connsiteX108" fmla="*/ 8379669 w 8636594"/>
              <a:gd name="connsiteY108" fmla="*/ 225013 h 6227263"/>
              <a:gd name="connsiteX109" fmla="*/ 8415394 w 8636594"/>
              <a:gd name="connsiteY109" fmla="*/ 191709 h 6227263"/>
              <a:gd name="connsiteX110" fmla="*/ 8451434 w 8636594"/>
              <a:gd name="connsiteY110" fmla="*/ 158780 h 6227263"/>
              <a:gd name="connsiteX111" fmla="*/ 8487798 w 8636594"/>
              <a:gd name="connsiteY111" fmla="*/ 126233 h 6227263"/>
              <a:gd name="connsiteX112" fmla="*/ 8524489 w 8636594"/>
              <a:gd name="connsiteY112" fmla="*/ 94075 h 6227263"/>
              <a:gd name="connsiteX113" fmla="*/ 8561515 w 8636594"/>
              <a:gd name="connsiteY113" fmla="*/ 62312 h 6227263"/>
              <a:gd name="connsiteX114" fmla="*/ 8598881 w 8636594"/>
              <a:gd name="connsiteY114" fmla="*/ 30951 h 6227263"/>
              <a:gd name="connsiteX115" fmla="*/ 8636594 w 8636594"/>
              <a:gd name="connsiteY115" fmla="*/ 0 h 6227263"/>
              <a:gd name="connsiteX0" fmla="*/ 8636594 w 8636594"/>
              <a:gd name="connsiteY0" fmla="*/ 0 h 6206893"/>
              <a:gd name="connsiteX1" fmla="*/ 5293 w 8636594"/>
              <a:gd name="connsiteY1" fmla="*/ 0 h 6206893"/>
              <a:gd name="connsiteX2" fmla="*/ 0 w 8636594"/>
              <a:gd name="connsiteY2" fmla="*/ 5587843 h 6206893"/>
              <a:gd name="connsiteX3" fmla="*/ 1594033 w 8636594"/>
              <a:gd name="connsiteY3" fmla="*/ 5600057 h 6206893"/>
              <a:gd name="connsiteX4" fmla="*/ 1686068 w 8636594"/>
              <a:gd name="connsiteY4" fmla="*/ 5599745 h 6206893"/>
              <a:gd name="connsiteX5" fmla="*/ 3465680 w 8636594"/>
              <a:gd name="connsiteY5" fmla="*/ 6206893 h 6206893"/>
              <a:gd name="connsiteX6" fmla="*/ 3509548 w 8636594"/>
              <a:gd name="connsiteY6" fmla="*/ 6186174 h 6206893"/>
              <a:gd name="connsiteX7" fmla="*/ 3552910 w 8636594"/>
              <a:gd name="connsiteY7" fmla="*/ 6165110 h 6206893"/>
              <a:gd name="connsiteX8" fmla="*/ 3595773 w 8636594"/>
              <a:gd name="connsiteY8" fmla="*/ 6143704 h 6206893"/>
              <a:gd name="connsiteX9" fmla="*/ 3638142 w 8636594"/>
              <a:gd name="connsiteY9" fmla="*/ 6121960 h 6206893"/>
              <a:gd name="connsiteX10" fmla="*/ 3680024 w 8636594"/>
              <a:gd name="connsiteY10" fmla="*/ 6099881 h 6206893"/>
              <a:gd name="connsiteX11" fmla="*/ 3721426 w 8636594"/>
              <a:gd name="connsiteY11" fmla="*/ 6077471 h 6206893"/>
              <a:gd name="connsiteX12" fmla="*/ 3762353 w 8636594"/>
              <a:gd name="connsiteY12" fmla="*/ 6054733 h 6206893"/>
              <a:gd name="connsiteX13" fmla="*/ 3802812 w 8636594"/>
              <a:gd name="connsiteY13" fmla="*/ 6031671 h 6206893"/>
              <a:gd name="connsiteX14" fmla="*/ 3842810 w 8636594"/>
              <a:gd name="connsiteY14" fmla="*/ 6008288 h 6206893"/>
              <a:gd name="connsiteX15" fmla="*/ 3882352 w 8636594"/>
              <a:gd name="connsiteY15" fmla="*/ 5984588 h 6206893"/>
              <a:gd name="connsiteX16" fmla="*/ 3921445 w 8636594"/>
              <a:gd name="connsiteY16" fmla="*/ 5960574 h 6206893"/>
              <a:gd name="connsiteX17" fmla="*/ 3960096 w 8636594"/>
              <a:gd name="connsiteY17" fmla="*/ 5936250 h 6206893"/>
              <a:gd name="connsiteX18" fmla="*/ 3998311 w 8636594"/>
              <a:gd name="connsiteY18" fmla="*/ 5911619 h 6206893"/>
              <a:gd name="connsiteX19" fmla="*/ 4036095 w 8636594"/>
              <a:gd name="connsiteY19" fmla="*/ 5886685 h 6206893"/>
              <a:gd name="connsiteX20" fmla="*/ 4073456 w 8636594"/>
              <a:gd name="connsiteY20" fmla="*/ 5861452 h 6206893"/>
              <a:gd name="connsiteX21" fmla="*/ 4110400 w 8636594"/>
              <a:gd name="connsiteY21" fmla="*/ 5835922 h 6206893"/>
              <a:gd name="connsiteX22" fmla="*/ 4146933 w 8636594"/>
              <a:gd name="connsiteY22" fmla="*/ 5810100 h 6206893"/>
              <a:gd name="connsiteX23" fmla="*/ 4183061 w 8636594"/>
              <a:gd name="connsiteY23" fmla="*/ 5783988 h 6206893"/>
              <a:gd name="connsiteX24" fmla="*/ 4218791 w 8636594"/>
              <a:gd name="connsiteY24" fmla="*/ 5757591 h 6206893"/>
              <a:gd name="connsiteX25" fmla="*/ 4254129 w 8636594"/>
              <a:gd name="connsiteY25" fmla="*/ 5730912 h 6206893"/>
              <a:gd name="connsiteX26" fmla="*/ 4289081 w 8636594"/>
              <a:gd name="connsiteY26" fmla="*/ 5703955 h 6206893"/>
              <a:gd name="connsiteX27" fmla="*/ 4323654 w 8636594"/>
              <a:gd name="connsiteY27" fmla="*/ 5676722 h 6206893"/>
              <a:gd name="connsiteX28" fmla="*/ 4357854 w 8636594"/>
              <a:gd name="connsiteY28" fmla="*/ 5649218 h 6206893"/>
              <a:gd name="connsiteX29" fmla="*/ 4391688 w 8636594"/>
              <a:gd name="connsiteY29" fmla="*/ 5621446 h 6206893"/>
              <a:gd name="connsiteX30" fmla="*/ 4425162 w 8636594"/>
              <a:gd name="connsiteY30" fmla="*/ 5593409 h 6206893"/>
              <a:gd name="connsiteX31" fmla="*/ 4458281 w 8636594"/>
              <a:gd name="connsiteY31" fmla="*/ 5565111 h 6206893"/>
              <a:gd name="connsiteX32" fmla="*/ 4491053 w 8636594"/>
              <a:gd name="connsiteY32" fmla="*/ 5536556 h 6206893"/>
              <a:gd name="connsiteX33" fmla="*/ 4523484 w 8636594"/>
              <a:gd name="connsiteY33" fmla="*/ 5507747 h 6206893"/>
              <a:gd name="connsiteX34" fmla="*/ 4555580 w 8636594"/>
              <a:gd name="connsiteY34" fmla="*/ 5478687 h 6206893"/>
              <a:gd name="connsiteX35" fmla="*/ 4587347 w 8636594"/>
              <a:gd name="connsiteY35" fmla="*/ 5449380 h 6206893"/>
              <a:gd name="connsiteX36" fmla="*/ 4618793 w 8636594"/>
              <a:gd name="connsiteY36" fmla="*/ 5419830 h 6206893"/>
              <a:gd name="connsiteX37" fmla="*/ 4649922 w 8636594"/>
              <a:gd name="connsiteY37" fmla="*/ 5390040 h 6206893"/>
              <a:gd name="connsiteX38" fmla="*/ 4680742 w 8636594"/>
              <a:gd name="connsiteY38" fmla="*/ 5360014 h 6206893"/>
              <a:gd name="connsiteX39" fmla="*/ 4711259 w 8636594"/>
              <a:gd name="connsiteY39" fmla="*/ 5329755 h 6206893"/>
              <a:gd name="connsiteX40" fmla="*/ 4741478 w 8636594"/>
              <a:gd name="connsiteY40" fmla="*/ 5299266 h 6206893"/>
              <a:gd name="connsiteX41" fmla="*/ 4771408 w 8636594"/>
              <a:gd name="connsiteY41" fmla="*/ 5268551 h 6206893"/>
              <a:gd name="connsiteX42" fmla="*/ 4801053 w 8636594"/>
              <a:gd name="connsiteY42" fmla="*/ 5237614 h 6206893"/>
              <a:gd name="connsiteX43" fmla="*/ 4830420 w 8636594"/>
              <a:gd name="connsiteY43" fmla="*/ 5206458 h 6206893"/>
              <a:gd name="connsiteX44" fmla="*/ 4859516 w 8636594"/>
              <a:gd name="connsiteY44" fmla="*/ 5175087 h 6206893"/>
              <a:gd name="connsiteX45" fmla="*/ 4888347 w 8636594"/>
              <a:gd name="connsiteY45" fmla="*/ 5143504 h 6206893"/>
              <a:gd name="connsiteX46" fmla="*/ 4916919 w 8636594"/>
              <a:gd name="connsiteY46" fmla="*/ 5111713 h 6206893"/>
              <a:gd name="connsiteX47" fmla="*/ 4945238 w 8636594"/>
              <a:gd name="connsiteY47" fmla="*/ 5079717 h 6206893"/>
              <a:gd name="connsiteX48" fmla="*/ 4973311 w 8636594"/>
              <a:gd name="connsiteY48" fmla="*/ 5047519 h 6206893"/>
              <a:gd name="connsiteX49" fmla="*/ 5001145 w 8636594"/>
              <a:gd name="connsiteY49" fmla="*/ 5015124 h 6206893"/>
              <a:gd name="connsiteX50" fmla="*/ 5028745 w 8636594"/>
              <a:gd name="connsiteY50" fmla="*/ 4982535 h 6206893"/>
              <a:gd name="connsiteX51" fmla="*/ 5056117 w 8636594"/>
              <a:gd name="connsiteY51" fmla="*/ 4949755 h 6206893"/>
              <a:gd name="connsiteX52" fmla="*/ 5083269 w 8636594"/>
              <a:gd name="connsiteY52" fmla="*/ 4916787 h 6206893"/>
              <a:gd name="connsiteX53" fmla="*/ 5110207 w 8636594"/>
              <a:gd name="connsiteY53" fmla="*/ 4883636 h 6206893"/>
              <a:gd name="connsiteX54" fmla="*/ 5136937 w 8636594"/>
              <a:gd name="connsiteY54" fmla="*/ 4850305 h 6206893"/>
              <a:gd name="connsiteX55" fmla="*/ 5163464 w 8636594"/>
              <a:gd name="connsiteY55" fmla="*/ 4816797 h 6206893"/>
              <a:gd name="connsiteX56" fmla="*/ 5215940 w 8636594"/>
              <a:gd name="connsiteY56" fmla="*/ 4749265 h 6206893"/>
              <a:gd name="connsiteX57" fmla="*/ 5267684 w 8636594"/>
              <a:gd name="connsiteY57" fmla="*/ 4681068 h 6206893"/>
              <a:gd name="connsiteX58" fmla="*/ 5318748 w 8636594"/>
              <a:gd name="connsiteY58" fmla="*/ 4612234 h 6206893"/>
              <a:gd name="connsiteX59" fmla="*/ 5369182 w 8636594"/>
              <a:gd name="connsiteY59" fmla="*/ 4542793 h 6206893"/>
              <a:gd name="connsiteX60" fmla="*/ 5419038 w 8636594"/>
              <a:gd name="connsiteY60" fmla="*/ 4472771 h 6206893"/>
              <a:gd name="connsiteX61" fmla="*/ 5468365 w 8636594"/>
              <a:gd name="connsiteY61" fmla="*/ 4402196 h 6206893"/>
              <a:gd name="connsiteX62" fmla="*/ 5517215 w 8636594"/>
              <a:gd name="connsiteY62" fmla="*/ 4331098 h 6206893"/>
              <a:gd name="connsiteX63" fmla="*/ 5565637 w 8636594"/>
              <a:gd name="connsiteY63" fmla="*/ 4259503 h 6206893"/>
              <a:gd name="connsiteX64" fmla="*/ 5613684 w 8636594"/>
              <a:gd name="connsiteY64" fmla="*/ 4187441 h 6206893"/>
              <a:gd name="connsiteX65" fmla="*/ 5685160 w 8636594"/>
              <a:gd name="connsiteY65" fmla="*/ 4078531 h 6206893"/>
              <a:gd name="connsiteX66" fmla="*/ 5756074 w 8636594"/>
              <a:gd name="connsiteY66" fmla="*/ 3968727 h 6206893"/>
              <a:gd name="connsiteX67" fmla="*/ 5873483 w 8636594"/>
              <a:gd name="connsiteY67" fmla="*/ 3783989 h 6206893"/>
              <a:gd name="connsiteX68" fmla="*/ 6203209 w 8636594"/>
              <a:gd name="connsiteY68" fmla="*/ 3258640 h 6206893"/>
              <a:gd name="connsiteX69" fmla="*/ 6299430 w 8636594"/>
              <a:gd name="connsiteY69" fmla="*/ 3107321 h 6206893"/>
              <a:gd name="connsiteX70" fmla="*/ 6372650 w 8636594"/>
              <a:gd name="connsiteY70" fmla="*/ 2993735 h 6206893"/>
              <a:gd name="connsiteX71" fmla="*/ 6453197 w 8636594"/>
              <a:gd name="connsiteY71" fmla="*/ 2869788 h 6206893"/>
              <a:gd name="connsiteX72" fmla="*/ 6564167 w 8636594"/>
              <a:gd name="connsiteY72" fmla="*/ 2696807 h 6206893"/>
              <a:gd name="connsiteX73" fmla="*/ 6976233 w 8636594"/>
              <a:gd name="connsiteY73" fmla="*/ 2045274 h 6206893"/>
              <a:gd name="connsiteX74" fmla="*/ 7086755 w 8636594"/>
              <a:gd name="connsiteY74" fmla="*/ 1872743 h 6206893"/>
              <a:gd name="connsiteX75" fmla="*/ 7170279 w 8636594"/>
              <a:gd name="connsiteY75" fmla="*/ 1744202 h 6206893"/>
              <a:gd name="connsiteX76" fmla="*/ 7226351 w 8636594"/>
              <a:gd name="connsiteY76" fmla="*/ 1659017 h 6206893"/>
              <a:gd name="connsiteX77" fmla="*/ 7282789 w 8636594"/>
              <a:gd name="connsiteY77" fmla="*/ 1574303 h 6206893"/>
              <a:gd name="connsiteX78" fmla="*/ 7339643 w 8636594"/>
              <a:gd name="connsiteY78" fmla="*/ 1490113 h 6206893"/>
              <a:gd name="connsiteX79" fmla="*/ 7396957 w 8636594"/>
              <a:gd name="connsiteY79" fmla="*/ 1406503 h 6206893"/>
              <a:gd name="connsiteX80" fmla="*/ 7454781 w 8636594"/>
              <a:gd name="connsiteY80" fmla="*/ 1323526 h 6206893"/>
              <a:gd name="connsiteX81" fmla="*/ 7513161 w 8636594"/>
              <a:gd name="connsiteY81" fmla="*/ 1241237 h 6206893"/>
              <a:gd name="connsiteX82" fmla="*/ 7572144 w 8636594"/>
              <a:gd name="connsiteY82" fmla="*/ 1159689 h 6206893"/>
              <a:gd name="connsiteX83" fmla="*/ 7601877 w 8636594"/>
              <a:gd name="connsiteY83" fmla="*/ 1119210 h 6206893"/>
              <a:gd name="connsiteX84" fmla="*/ 7631779 w 8636594"/>
              <a:gd name="connsiteY84" fmla="*/ 1078937 h 6206893"/>
              <a:gd name="connsiteX85" fmla="*/ 7661855 w 8636594"/>
              <a:gd name="connsiteY85" fmla="*/ 1038876 h 6206893"/>
              <a:gd name="connsiteX86" fmla="*/ 7692111 w 8636594"/>
              <a:gd name="connsiteY86" fmla="*/ 999035 h 6206893"/>
              <a:gd name="connsiteX87" fmla="*/ 7722554 w 8636594"/>
              <a:gd name="connsiteY87" fmla="*/ 959419 h 6206893"/>
              <a:gd name="connsiteX88" fmla="*/ 7753190 w 8636594"/>
              <a:gd name="connsiteY88" fmla="*/ 920037 h 6206893"/>
              <a:gd name="connsiteX89" fmla="*/ 7784023 w 8636594"/>
              <a:gd name="connsiteY89" fmla="*/ 880894 h 6206893"/>
              <a:gd name="connsiteX90" fmla="*/ 7815061 w 8636594"/>
              <a:gd name="connsiteY90" fmla="*/ 841997 h 6206893"/>
              <a:gd name="connsiteX91" fmla="*/ 7846308 w 8636594"/>
              <a:gd name="connsiteY91" fmla="*/ 803354 h 6206893"/>
              <a:gd name="connsiteX92" fmla="*/ 7877772 w 8636594"/>
              <a:gd name="connsiteY92" fmla="*/ 764970 h 6206893"/>
              <a:gd name="connsiteX93" fmla="*/ 7909458 w 8636594"/>
              <a:gd name="connsiteY93" fmla="*/ 726853 h 6206893"/>
              <a:gd name="connsiteX94" fmla="*/ 7941371 w 8636594"/>
              <a:gd name="connsiteY94" fmla="*/ 689010 h 6206893"/>
              <a:gd name="connsiteX95" fmla="*/ 7973518 w 8636594"/>
              <a:gd name="connsiteY95" fmla="*/ 651447 h 6206893"/>
              <a:gd name="connsiteX96" fmla="*/ 8005905 w 8636594"/>
              <a:gd name="connsiteY96" fmla="*/ 614171 h 6206893"/>
              <a:gd name="connsiteX97" fmla="*/ 8038538 w 8636594"/>
              <a:gd name="connsiteY97" fmla="*/ 577189 h 6206893"/>
              <a:gd name="connsiteX98" fmla="*/ 8071421 w 8636594"/>
              <a:gd name="connsiteY98" fmla="*/ 540507 h 6206893"/>
              <a:gd name="connsiteX99" fmla="*/ 8104563 w 8636594"/>
              <a:gd name="connsiteY99" fmla="*/ 504132 h 6206893"/>
              <a:gd name="connsiteX100" fmla="*/ 8137967 w 8636594"/>
              <a:gd name="connsiteY100" fmla="*/ 468072 h 6206893"/>
              <a:gd name="connsiteX101" fmla="*/ 8171641 w 8636594"/>
              <a:gd name="connsiteY101" fmla="*/ 432332 h 6206893"/>
              <a:gd name="connsiteX102" fmla="*/ 8205590 w 8636594"/>
              <a:gd name="connsiteY102" fmla="*/ 396920 h 6206893"/>
              <a:gd name="connsiteX103" fmla="*/ 8239820 w 8636594"/>
              <a:gd name="connsiteY103" fmla="*/ 361843 h 6206893"/>
              <a:gd name="connsiteX104" fmla="*/ 8274337 w 8636594"/>
              <a:gd name="connsiteY104" fmla="*/ 327107 h 6206893"/>
              <a:gd name="connsiteX105" fmla="*/ 8309147 w 8636594"/>
              <a:gd name="connsiteY105" fmla="*/ 292718 h 6206893"/>
              <a:gd name="connsiteX106" fmla="*/ 8344256 w 8636594"/>
              <a:gd name="connsiteY106" fmla="*/ 258685 h 6206893"/>
              <a:gd name="connsiteX107" fmla="*/ 8379669 w 8636594"/>
              <a:gd name="connsiteY107" fmla="*/ 225013 h 6206893"/>
              <a:gd name="connsiteX108" fmla="*/ 8415394 w 8636594"/>
              <a:gd name="connsiteY108" fmla="*/ 191709 h 6206893"/>
              <a:gd name="connsiteX109" fmla="*/ 8451434 w 8636594"/>
              <a:gd name="connsiteY109" fmla="*/ 158780 h 6206893"/>
              <a:gd name="connsiteX110" fmla="*/ 8487798 w 8636594"/>
              <a:gd name="connsiteY110" fmla="*/ 126233 h 6206893"/>
              <a:gd name="connsiteX111" fmla="*/ 8524489 w 8636594"/>
              <a:gd name="connsiteY111" fmla="*/ 94075 h 6206893"/>
              <a:gd name="connsiteX112" fmla="*/ 8561515 w 8636594"/>
              <a:gd name="connsiteY112" fmla="*/ 62312 h 6206893"/>
              <a:gd name="connsiteX113" fmla="*/ 8598881 w 8636594"/>
              <a:gd name="connsiteY113" fmla="*/ 30951 h 6206893"/>
              <a:gd name="connsiteX114" fmla="*/ 8636594 w 8636594"/>
              <a:gd name="connsiteY114" fmla="*/ 0 h 6206893"/>
              <a:gd name="connsiteX0" fmla="*/ 8636594 w 8636594"/>
              <a:gd name="connsiteY0" fmla="*/ 0 h 6186174"/>
              <a:gd name="connsiteX1" fmla="*/ 5293 w 8636594"/>
              <a:gd name="connsiteY1" fmla="*/ 0 h 6186174"/>
              <a:gd name="connsiteX2" fmla="*/ 0 w 8636594"/>
              <a:gd name="connsiteY2" fmla="*/ 5587843 h 6186174"/>
              <a:gd name="connsiteX3" fmla="*/ 1594033 w 8636594"/>
              <a:gd name="connsiteY3" fmla="*/ 5600057 h 6186174"/>
              <a:gd name="connsiteX4" fmla="*/ 1686068 w 8636594"/>
              <a:gd name="connsiteY4" fmla="*/ 5599745 h 6186174"/>
              <a:gd name="connsiteX5" fmla="*/ 3509548 w 8636594"/>
              <a:gd name="connsiteY5" fmla="*/ 6186174 h 6186174"/>
              <a:gd name="connsiteX6" fmla="*/ 3552910 w 8636594"/>
              <a:gd name="connsiteY6" fmla="*/ 6165110 h 6186174"/>
              <a:gd name="connsiteX7" fmla="*/ 3595773 w 8636594"/>
              <a:gd name="connsiteY7" fmla="*/ 6143704 h 6186174"/>
              <a:gd name="connsiteX8" fmla="*/ 3638142 w 8636594"/>
              <a:gd name="connsiteY8" fmla="*/ 6121960 h 6186174"/>
              <a:gd name="connsiteX9" fmla="*/ 3680024 w 8636594"/>
              <a:gd name="connsiteY9" fmla="*/ 6099881 h 6186174"/>
              <a:gd name="connsiteX10" fmla="*/ 3721426 w 8636594"/>
              <a:gd name="connsiteY10" fmla="*/ 6077471 h 6186174"/>
              <a:gd name="connsiteX11" fmla="*/ 3762353 w 8636594"/>
              <a:gd name="connsiteY11" fmla="*/ 6054733 h 6186174"/>
              <a:gd name="connsiteX12" fmla="*/ 3802812 w 8636594"/>
              <a:gd name="connsiteY12" fmla="*/ 6031671 h 6186174"/>
              <a:gd name="connsiteX13" fmla="*/ 3842810 w 8636594"/>
              <a:gd name="connsiteY13" fmla="*/ 6008288 h 6186174"/>
              <a:gd name="connsiteX14" fmla="*/ 3882352 w 8636594"/>
              <a:gd name="connsiteY14" fmla="*/ 5984588 h 6186174"/>
              <a:gd name="connsiteX15" fmla="*/ 3921445 w 8636594"/>
              <a:gd name="connsiteY15" fmla="*/ 5960574 h 6186174"/>
              <a:gd name="connsiteX16" fmla="*/ 3960096 w 8636594"/>
              <a:gd name="connsiteY16" fmla="*/ 5936250 h 6186174"/>
              <a:gd name="connsiteX17" fmla="*/ 3998311 w 8636594"/>
              <a:gd name="connsiteY17" fmla="*/ 5911619 h 6186174"/>
              <a:gd name="connsiteX18" fmla="*/ 4036095 w 8636594"/>
              <a:gd name="connsiteY18" fmla="*/ 5886685 h 6186174"/>
              <a:gd name="connsiteX19" fmla="*/ 4073456 w 8636594"/>
              <a:gd name="connsiteY19" fmla="*/ 5861452 h 6186174"/>
              <a:gd name="connsiteX20" fmla="*/ 4110400 w 8636594"/>
              <a:gd name="connsiteY20" fmla="*/ 5835922 h 6186174"/>
              <a:gd name="connsiteX21" fmla="*/ 4146933 w 8636594"/>
              <a:gd name="connsiteY21" fmla="*/ 5810100 h 6186174"/>
              <a:gd name="connsiteX22" fmla="*/ 4183061 w 8636594"/>
              <a:gd name="connsiteY22" fmla="*/ 5783988 h 6186174"/>
              <a:gd name="connsiteX23" fmla="*/ 4218791 w 8636594"/>
              <a:gd name="connsiteY23" fmla="*/ 5757591 h 6186174"/>
              <a:gd name="connsiteX24" fmla="*/ 4254129 w 8636594"/>
              <a:gd name="connsiteY24" fmla="*/ 5730912 h 6186174"/>
              <a:gd name="connsiteX25" fmla="*/ 4289081 w 8636594"/>
              <a:gd name="connsiteY25" fmla="*/ 5703955 h 6186174"/>
              <a:gd name="connsiteX26" fmla="*/ 4323654 w 8636594"/>
              <a:gd name="connsiteY26" fmla="*/ 5676722 h 6186174"/>
              <a:gd name="connsiteX27" fmla="*/ 4357854 w 8636594"/>
              <a:gd name="connsiteY27" fmla="*/ 5649218 h 6186174"/>
              <a:gd name="connsiteX28" fmla="*/ 4391688 w 8636594"/>
              <a:gd name="connsiteY28" fmla="*/ 5621446 h 6186174"/>
              <a:gd name="connsiteX29" fmla="*/ 4425162 w 8636594"/>
              <a:gd name="connsiteY29" fmla="*/ 5593409 h 6186174"/>
              <a:gd name="connsiteX30" fmla="*/ 4458281 w 8636594"/>
              <a:gd name="connsiteY30" fmla="*/ 5565111 h 6186174"/>
              <a:gd name="connsiteX31" fmla="*/ 4491053 w 8636594"/>
              <a:gd name="connsiteY31" fmla="*/ 5536556 h 6186174"/>
              <a:gd name="connsiteX32" fmla="*/ 4523484 w 8636594"/>
              <a:gd name="connsiteY32" fmla="*/ 5507747 h 6186174"/>
              <a:gd name="connsiteX33" fmla="*/ 4555580 w 8636594"/>
              <a:gd name="connsiteY33" fmla="*/ 5478687 h 6186174"/>
              <a:gd name="connsiteX34" fmla="*/ 4587347 w 8636594"/>
              <a:gd name="connsiteY34" fmla="*/ 5449380 h 6186174"/>
              <a:gd name="connsiteX35" fmla="*/ 4618793 w 8636594"/>
              <a:gd name="connsiteY35" fmla="*/ 5419830 h 6186174"/>
              <a:gd name="connsiteX36" fmla="*/ 4649922 w 8636594"/>
              <a:gd name="connsiteY36" fmla="*/ 5390040 h 6186174"/>
              <a:gd name="connsiteX37" fmla="*/ 4680742 w 8636594"/>
              <a:gd name="connsiteY37" fmla="*/ 5360014 h 6186174"/>
              <a:gd name="connsiteX38" fmla="*/ 4711259 w 8636594"/>
              <a:gd name="connsiteY38" fmla="*/ 5329755 h 6186174"/>
              <a:gd name="connsiteX39" fmla="*/ 4741478 w 8636594"/>
              <a:gd name="connsiteY39" fmla="*/ 5299266 h 6186174"/>
              <a:gd name="connsiteX40" fmla="*/ 4771408 w 8636594"/>
              <a:gd name="connsiteY40" fmla="*/ 5268551 h 6186174"/>
              <a:gd name="connsiteX41" fmla="*/ 4801053 w 8636594"/>
              <a:gd name="connsiteY41" fmla="*/ 5237614 h 6186174"/>
              <a:gd name="connsiteX42" fmla="*/ 4830420 w 8636594"/>
              <a:gd name="connsiteY42" fmla="*/ 5206458 h 6186174"/>
              <a:gd name="connsiteX43" fmla="*/ 4859516 w 8636594"/>
              <a:gd name="connsiteY43" fmla="*/ 5175087 h 6186174"/>
              <a:gd name="connsiteX44" fmla="*/ 4888347 w 8636594"/>
              <a:gd name="connsiteY44" fmla="*/ 5143504 h 6186174"/>
              <a:gd name="connsiteX45" fmla="*/ 4916919 w 8636594"/>
              <a:gd name="connsiteY45" fmla="*/ 5111713 h 6186174"/>
              <a:gd name="connsiteX46" fmla="*/ 4945238 w 8636594"/>
              <a:gd name="connsiteY46" fmla="*/ 5079717 h 6186174"/>
              <a:gd name="connsiteX47" fmla="*/ 4973311 w 8636594"/>
              <a:gd name="connsiteY47" fmla="*/ 5047519 h 6186174"/>
              <a:gd name="connsiteX48" fmla="*/ 5001145 w 8636594"/>
              <a:gd name="connsiteY48" fmla="*/ 5015124 h 6186174"/>
              <a:gd name="connsiteX49" fmla="*/ 5028745 w 8636594"/>
              <a:gd name="connsiteY49" fmla="*/ 4982535 h 6186174"/>
              <a:gd name="connsiteX50" fmla="*/ 5056117 w 8636594"/>
              <a:gd name="connsiteY50" fmla="*/ 4949755 h 6186174"/>
              <a:gd name="connsiteX51" fmla="*/ 5083269 w 8636594"/>
              <a:gd name="connsiteY51" fmla="*/ 4916787 h 6186174"/>
              <a:gd name="connsiteX52" fmla="*/ 5110207 w 8636594"/>
              <a:gd name="connsiteY52" fmla="*/ 4883636 h 6186174"/>
              <a:gd name="connsiteX53" fmla="*/ 5136937 w 8636594"/>
              <a:gd name="connsiteY53" fmla="*/ 4850305 h 6186174"/>
              <a:gd name="connsiteX54" fmla="*/ 5163464 w 8636594"/>
              <a:gd name="connsiteY54" fmla="*/ 4816797 h 6186174"/>
              <a:gd name="connsiteX55" fmla="*/ 5215940 w 8636594"/>
              <a:gd name="connsiteY55" fmla="*/ 4749265 h 6186174"/>
              <a:gd name="connsiteX56" fmla="*/ 5267684 w 8636594"/>
              <a:gd name="connsiteY56" fmla="*/ 4681068 h 6186174"/>
              <a:gd name="connsiteX57" fmla="*/ 5318748 w 8636594"/>
              <a:gd name="connsiteY57" fmla="*/ 4612234 h 6186174"/>
              <a:gd name="connsiteX58" fmla="*/ 5369182 w 8636594"/>
              <a:gd name="connsiteY58" fmla="*/ 4542793 h 6186174"/>
              <a:gd name="connsiteX59" fmla="*/ 5419038 w 8636594"/>
              <a:gd name="connsiteY59" fmla="*/ 4472771 h 6186174"/>
              <a:gd name="connsiteX60" fmla="*/ 5468365 w 8636594"/>
              <a:gd name="connsiteY60" fmla="*/ 4402196 h 6186174"/>
              <a:gd name="connsiteX61" fmla="*/ 5517215 w 8636594"/>
              <a:gd name="connsiteY61" fmla="*/ 4331098 h 6186174"/>
              <a:gd name="connsiteX62" fmla="*/ 5565637 w 8636594"/>
              <a:gd name="connsiteY62" fmla="*/ 4259503 h 6186174"/>
              <a:gd name="connsiteX63" fmla="*/ 5613684 w 8636594"/>
              <a:gd name="connsiteY63" fmla="*/ 4187441 h 6186174"/>
              <a:gd name="connsiteX64" fmla="*/ 5685160 w 8636594"/>
              <a:gd name="connsiteY64" fmla="*/ 4078531 h 6186174"/>
              <a:gd name="connsiteX65" fmla="*/ 5756074 w 8636594"/>
              <a:gd name="connsiteY65" fmla="*/ 3968727 h 6186174"/>
              <a:gd name="connsiteX66" fmla="*/ 5873483 w 8636594"/>
              <a:gd name="connsiteY66" fmla="*/ 3783989 h 6186174"/>
              <a:gd name="connsiteX67" fmla="*/ 6203209 w 8636594"/>
              <a:gd name="connsiteY67" fmla="*/ 3258640 h 6186174"/>
              <a:gd name="connsiteX68" fmla="*/ 6299430 w 8636594"/>
              <a:gd name="connsiteY68" fmla="*/ 3107321 h 6186174"/>
              <a:gd name="connsiteX69" fmla="*/ 6372650 w 8636594"/>
              <a:gd name="connsiteY69" fmla="*/ 2993735 h 6186174"/>
              <a:gd name="connsiteX70" fmla="*/ 6453197 w 8636594"/>
              <a:gd name="connsiteY70" fmla="*/ 2869788 h 6186174"/>
              <a:gd name="connsiteX71" fmla="*/ 6564167 w 8636594"/>
              <a:gd name="connsiteY71" fmla="*/ 2696807 h 6186174"/>
              <a:gd name="connsiteX72" fmla="*/ 6976233 w 8636594"/>
              <a:gd name="connsiteY72" fmla="*/ 2045274 h 6186174"/>
              <a:gd name="connsiteX73" fmla="*/ 7086755 w 8636594"/>
              <a:gd name="connsiteY73" fmla="*/ 1872743 h 6186174"/>
              <a:gd name="connsiteX74" fmla="*/ 7170279 w 8636594"/>
              <a:gd name="connsiteY74" fmla="*/ 1744202 h 6186174"/>
              <a:gd name="connsiteX75" fmla="*/ 7226351 w 8636594"/>
              <a:gd name="connsiteY75" fmla="*/ 1659017 h 6186174"/>
              <a:gd name="connsiteX76" fmla="*/ 7282789 w 8636594"/>
              <a:gd name="connsiteY76" fmla="*/ 1574303 h 6186174"/>
              <a:gd name="connsiteX77" fmla="*/ 7339643 w 8636594"/>
              <a:gd name="connsiteY77" fmla="*/ 1490113 h 6186174"/>
              <a:gd name="connsiteX78" fmla="*/ 7396957 w 8636594"/>
              <a:gd name="connsiteY78" fmla="*/ 1406503 h 6186174"/>
              <a:gd name="connsiteX79" fmla="*/ 7454781 w 8636594"/>
              <a:gd name="connsiteY79" fmla="*/ 1323526 h 6186174"/>
              <a:gd name="connsiteX80" fmla="*/ 7513161 w 8636594"/>
              <a:gd name="connsiteY80" fmla="*/ 1241237 h 6186174"/>
              <a:gd name="connsiteX81" fmla="*/ 7572144 w 8636594"/>
              <a:gd name="connsiteY81" fmla="*/ 1159689 h 6186174"/>
              <a:gd name="connsiteX82" fmla="*/ 7601877 w 8636594"/>
              <a:gd name="connsiteY82" fmla="*/ 1119210 h 6186174"/>
              <a:gd name="connsiteX83" fmla="*/ 7631779 w 8636594"/>
              <a:gd name="connsiteY83" fmla="*/ 1078937 h 6186174"/>
              <a:gd name="connsiteX84" fmla="*/ 7661855 w 8636594"/>
              <a:gd name="connsiteY84" fmla="*/ 1038876 h 6186174"/>
              <a:gd name="connsiteX85" fmla="*/ 7692111 w 8636594"/>
              <a:gd name="connsiteY85" fmla="*/ 999035 h 6186174"/>
              <a:gd name="connsiteX86" fmla="*/ 7722554 w 8636594"/>
              <a:gd name="connsiteY86" fmla="*/ 959419 h 6186174"/>
              <a:gd name="connsiteX87" fmla="*/ 7753190 w 8636594"/>
              <a:gd name="connsiteY87" fmla="*/ 920037 h 6186174"/>
              <a:gd name="connsiteX88" fmla="*/ 7784023 w 8636594"/>
              <a:gd name="connsiteY88" fmla="*/ 880894 h 6186174"/>
              <a:gd name="connsiteX89" fmla="*/ 7815061 w 8636594"/>
              <a:gd name="connsiteY89" fmla="*/ 841997 h 6186174"/>
              <a:gd name="connsiteX90" fmla="*/ 7846308 w 8636594"/>
              <a:gd name="connsiteY90" fmla="*/ 803354 h 6186174"/>
              <a:gd name="connsiteX91" fmla="*/ 7877772 w 8636594"/>
              <a:gd name="connsiteY91" fmla="*/ 764970 h 6186174"/>
              <a:gd name="connsiteX92" fmla="*/ 7909458 w 8636594"/>
              <a:gd name="connsiteY92" fmla="*/ 726853 h 6186174"/>
              <a:gd name="connsiteX93" fmla="*/ 7941371 w 8636594"/>
              <a:gd name="connsiteY93" fmla="*/ 689010 h 6186174"/>
              <a:gd name="connsiteX94" fmla="*/ 7973518 w 8636594"/>
              <a:gd name="connsiteY94" fmla="*/ 651447 h 6186174"/>
              <a:gd name="connsiteX95" fmla="*/ 8005905 w 8636594"/>
              <a:gd name="connsiteY95" fmla="*/ 614171 h 6186174"/>
              <a:gd name="connsiteX96" fmla="*/ 8038538 w 8636594"/>
              <a:gd name="connsiteY96" fmla="*/ 577189 h 6186174"/>
              <a:gd name="connsiteX97" fmla="*/ 8071421 w 8636594"/>
              <a:gd name="connsiteY97" fmla="*/ 540507 h 6186174"/>
              <a:gd name="connsiteX98" fmla="*/ 8104563 w 8636594"/>
              <a:gd name="connsiteY98" fmla="*/ 504132 h 6186174"/>
              <a:gd name="connsiteX99" fmla="*/ 8137967 w 8636594"/>
              <a:gd name="connsiteY99" fmla="*/ 468072 h 6186174"/>
              <a:gd name="connsiteX100" fmla="*/ 8171641 w 8636594"/>
              <a:gd name="connsiteY100" fmla="*/ 432332 h 6186174"/>
              <a:gd name="connsiteX101" fmla="*/ 8205590 w 8636594"/>
              <a:gd name="connsiteY101" fmla="*/ 396920 h 6186174"/>
              <a:gd name="connsiteX102" fmla="*/ 8239820 w 8636594"/>
              <a:gd name="connsiteY102" fmla="*/ 361843 h 6186174"/>
              <a:gd name="connsiteX103" fmla="*/ 8274337 w 8636594"/>
              <a:gd name="connsiteY103" fmla="*/ 327107 h 6186174"/>
              <a:gd name="connsiteX104" fmla="*/ 8309147 w 8636594"/>
              <a:gd name="connsiteY104" fmla="*/ 292718 h 6186174"/>
              <a:gd name="connsiteX105" fmla="*/ 8344256 w 8636594"/>
              <a:gd name="connsiteY105" fmla="*/ 258685 h 6186174"/>
              <a:gd name="connsiteX106" fmla="*/ 8379669 w 8636594"/>
              <a:gd name="connsiteY106" fmla="*/ 225013 h 6186174"/>
              <a:gd name="connsiteX107" fmla="*/ 8415394 w 8636594"/>
              <a:gd name="connsiteY107" fmla="*/ 191709 h 6186174"/>
              <a:gd name="connsiteX108" fmla="*/ 8451434 w 8636594"/>
              <a:gd name="connsiteY108" fmla="*/ 158780 h 6186174"/>
              <a:gd name="connsiteX109" fmla="*/ 8487798 w 8636594"/>
              <a:gd name="connsiteY109" fmla="*/ 126233 h 6186174"/>
              <a:gd name="connsiteX110" fmla="*/ 8524489 w 8636594"/>
              <a:gd name="connsiteY110" fmla="*/ 94075 h 6186174"/>
              <a:gd name="connsiteX111" fmla="*/ 8561515 w 8636594"/>
              <a:gd name="connsiteY111" fmla="*/ 62312 h 6186174"/>
              <a:gd name="connsiteX112" fmla="*/ 8598881 w 8636594"/>
              <a:gd name="connsiteY112" fmla="*/ 30951 h 6186174"/>
              <a:gd name="connsiteX113" fmla="*/ 8636594 w 8636594"/>
              <a:gd name="connsiteY113" fmla="*/ 0 h 6186174"/>
              <a:gd name="connsiteX0" fmla="*/ 8636594 w 8636594"/>
              <a:gd name="connsiteY0" fmla="*/ 0 h 6165110"/>
              <a:gd name="connsiteX1" fmla="*/ 5293 w 8636594"/>
              <a:gd name="connsiteY1" fmla="*/ 0 h 6165110"/>
              <a:gd name="connsiteX2" fmla="*/ 0 w 8636594"/>
              <a:gd name="connsiteY2" fmla="*/ 5587843 h 6165110"/>
              <a:gd name="connsiteX3" fmla="*/ 1594033 w 8636594"/>
              <a:gd name="connsiteY3" fmla="*/ 5600057 h 6165110"/>
              <a:gd name="connsiteX4" fmla="*/ 1686068 w 8636594"/>
              <a:gd name="connsiteY4" fmla="*/ 5599745 h 6165110"/>
              <a:gd name="connsiteX5" fmla="*/ 3552910 w 8636594"/>
              <a:gd name="connsiteY5" fmla="*/ 6165110 h 6165110"/>
              <a:gd name="connsiteX6" fmla="*/ 3595773 w 8636594"/>
              <a:gd name="connsiteY6" fmla="*/ 6143704 h 6165110"/>
              <a:gd name="connsiteX7" fmla="*/ 3638142 w 8636594"/>
              <a:gd name="connsiteY7" fmla="*/ 6121960 h 6165110"/>
              <a:gd name="connsiteX8" fmla="*/ 3680024 w 8636594"/>
              <a:gd name="connsiteY8" fmla="*/ 6099881 h 6165110"/>
              <a:gd name="connsiteX9" fmla="*/ 3721426 w 8636594"/>
              <a:gd name="connsiteY9" fmla="*/ 6077471 h 6165110"/>
              <a:gd name="connsiteX10" fmla="*/ 3762353 w 8636594"/>
              <a:gd name="connsiteY10" fmla="*/ 6054733 h 6165110"/>
              <a:gd name="connsiteX11" fmla="*/ 3802812 w 8636594"/>
              <a:gd name="connsiteY11" fmla="*/ 6031671 h 6165110"/>
              <a:gd name="connsiteX12" fmla="*/ 3842810 w 8636594"/>
              <a:gd name="connsiteY12" fmla="*/ 6008288 h 6165110"/>
              <a:gd name="connsiteX13" fmla="*/ 3882352 w 8636594"/>
              <a:gd name="connsiteY13" fmla="*/ 5984588 h 6165110"/>
              <a:gd name="connsiteX14" fmla="*/ 3921445 w 8636594"/>
              <a:gd name="connsiteY14" fmla="*/ 5960574 h 6165110"/>
              <a:gd name="connsiteX15" fmla="*/ 3960096 w 8636594"/>
              <a:gd name="connsiteY15" fmla="*/ 5936250 h 6165110"/>
              <a:gd name="connsiteX16" fmla="*/ 3998311 w 8636594"/>
              <a:gd name="connsiteY16" fmla="*/ 5911619 h 6165110"/>
              <a:gd name="connsiteX17" fmla="*/ 4036095 w 8636594"/>
              <a:gd name="connsiteY17" fmla="*/ 5886685 h 6165110"/>
              <a:gd name="connsiteX18" fmla="*/ 4073456 w 8636594"/>
              <a:gd name="connsiteY18" fmla="*/ 5861452 h 6165110"/>
              <a:gd name="connsiteX19" fmla="*/ 4110400 w 8636594"/>
              <a:gd name="connsiteY19" fmla="*/ 5835922 h 6165110"/>
              <a:gd name="connsiteX20" fmla="*/ 4146933 w 8636594"/>
              <a:gd name="connsiteY20" fmla="*/ 5810100 h 6165110"/>
              <a:gd name="connsiteX21" fmla="*/ 4183061 w 8636594"/>
              <a:gd name="connsiteY21" fmla="*/ 5783988 h 6165110"/>
              <a:gd name="connsiteX22" fmla="*/ 4218791 w 8636594"/>
              <a:gd name="connsiteY22" fmla="*/ 5757591 h 6165110"/>
              <a:gd name="connsiteX23" fmla="*/ 4254129 w 8636594"/>
              <a:gd name="connsiteY23" fmla="*/ 5730912 h 6165110"/>
              <a:gd name="connsiteX24" fmla="*/ 4289081 w 8636594"/>
              <a:gd name="connsiteY24" fmla="*/ 5703955 h 6165110"/>
              <a:gd name="connsiteX25" fmla="*/ 4323654 w 8636594"/>
              <a:gd name="connsiteY25" fmla="*/ 5676722 h 6165110"/>
              <a:gd name="connsiteX26" fmla="*/ 4357854 w 8636594"/>
              <a:gd name="connsiteY26" fmla="*/ 5649218 h 6165110"/>
              <a:gd name="connsiteX27" fmla="*/ 4391688 w 8636594"/>
              <a:gd name="connsiteY27" fmla="*/ 5621446 h 6165110"/>
              <a:gd name="connsiteX28" fmla="*/ 4425162 w 8636594"/>
              <a:gd name="connsiteY28" fmla="*/ 5593409 h 6165110"/>
              <a:gd name="connsiteX29" fmla="*/ 4458281 w 8636594"/>
              <a:gd name="connsiteY29" fmla="*/ 5565111 h 6165110"/>
              <a:gd name="connsiteX30" fmla="*/ 4491053 w 8636594"/>
              <a:gd name="connsiteY30" fmla="*/ 5536556 h 6165110"/>
              <a:gd name="connsiteX31" fmla="*/ 4523484 w 8636594"/>
              <a:gd name="connsiteY31" fmla="*/ 5507747 h 6165110"/>
              <a:gd name="connsiteX32" fmla="*/ 4555580 w 8636594"/>
              <a:gd name="connsiteY32" fmla="*/ 5478687 h 6165110"/>
              <a:gd name="connsiteX33" fmla="*/ 4587347 w 8636594"/>
              <a:gd name="connsiteY33" fmla="*/ 5449380 h 6165110"/>
              <a:gd name="connsiteX34" fmla="*/ 4618793 w 8636594"/>
              <a:gd name="connsiteY34" fmla="*/ 5419830 h 6165110"/>
              <a:gd name="connsiteX35" fmla="*/ 4649922 w 8636594"/>
              <a:gd name="connsiteY35" fmla="*/ 5390040 h 6165110"/>
              <a:gd name="connsiteX36" fmla="*/ 4680742 w 8636594"/>
              <a:gd name="connsiteY36" fmla="*/ 5360014 h 6165110"/>
              <a:gd name="connsiteX37" fmla="*/ 4711259 w 8636594"/>
              <a:gd name="connsiteY37" fmla="*/ 5329755 h 6165110"/>
              <a:gd name="connsiteX38" fmla="*/ 4741478 w 8636594"/>
              <a:gd name="connsiteY38" fmla="*/ 5299266 h 6165110"/>
              <a:gd name="connsiteX39" fmla="*/ 4771408 w 8636594"/>
              <a:gd name="connsiteY39" fmla="*/ 5268551 h 6165110"/>
              <a:gd name="connsiteX40" fmla="*/ 4801053 w 8636594"/>
              <a:gd name="connsiteY40" fmla="*/ 5237614 h 6165110"/>
              <a:gd name="connsiteX41" fmla="*/ 4830420 w 8636594"/>
              <a:gd name="connsiteY41" fmla="*/ 5206458 h 6165110"/>
              <a:gd name="connsiteX42" fmla="*/ 4859516 w 8636594"/>
              <a:gd name="connsiteY42" fmla="*/ 5175087 h 6165110"/>
              <a:gd name="connsiteX43" fmla="*/ 4888347 w 8636594"/>
              <a:gd name="connsiteY43" fmla="*/ 5143504 h 6165110"/>
              <a:gd name="connsiteX44" fmla="*/ 4916919 w 8636594"/>
              <a:gd name="connsiteY44" fmla="*/ 5111713 h 6165110"/>
              <a:gd name="connsiteX45" fmla="*/ 4945238 w 8636594"/>
              <a:gd name="connsiteY45" fmla="*/ 5079717 h 6165110"/>
              <a:gd name="connsiteX46" fmla="*/ 4973311 w 8636594"/>
              <a:gd name="connsiteY46" fmla="*/ 5047519 h 6165110"/>
              <a:gd name="connsiteX47" fmla="*/ 5001145 w 8636594"/>
              <a:gd name="connsiteY47" fmla="*/ 5015124 h 6165110"/>
              <a:gd name="connsiteX48" fmla="*/ 5028745 w 8636594"/>
              <a:gd name="connsiteY48" fmla="*/ 4982535 h 6165110"/>
              <a:gd name="connsiteX49" fmla="*/ 5056117 w 8636594"/>
              <a:gd name="connsiteY49" fmla="*/ 4949755 h 6165110"/>
              <a:gd name="connsiteX50" fmla="*/ 5083269 w 8636594"/>
              <a:gd name="connsiteY50" fmla="*/ 4916787 h 6165110"/>
              <a:gd name="connsiteX51" fmla="*/ 5110207 w 8636594"/>
              <a:gd name="connsiteY51" fmla="*/ 4883636 h 6165110"/>
              <a:gd name="connsiteX52" fmla="*/ 5136937 w 8636594"/>
              <a:gd name="connsiteY52" fmla="*/ 4850305 h 6165110"/>
              <a:gd name="connsiteX53" fmla="*/ 5163464 w 8636594"/>
              <a:gd name="connsiteY53" fmla="*/ 4816797 h 6165110"/>
              <a:gd name="connsiteX54" fmla="*/ 5215940 w 8636594"/>
              <a:gd name="connsiteY54" fmla="*/ 4749265 h 6165110"/>
              <a:gd name="connsiteX55" fmla="*/ 5267684 w 8636594"/>
              <a:gd name="connsiteY55" fmla="*/ 4681068 h 6165110"/>
              <a:gd name="connsiteX56" fmla="*/ 5318748 w 8636594"/>
              <a:gd name="connsiteY56" fmla="*/ 4612234 h 6165110"/>
              <a:gd name="connsiteX57" fmla="*/ 5369182 w 8636594"/>
              <a:gd name="connsiteY57" fmla="*/ 4542793 h 6165110"/>
              <a:gd name="connsiteX58" fmla="*/ 5419038 w 8636594"/>
              <a:gd name="connsiteY58" fmla="*/ 4472771 h 6165110"/>
              <a:gd name="connsiteX59" fmla="*/ 5468365 w 8636594"/>
              <a:gd name="connsiteY59" fmla="*/ 4402196 h 6165110"/>
              <a:gd name="connsiteX60" fmla="*/ 5517215 w 8636594"/>
              <a:gd name="connsiteY60" fmla="*/ 4331098 h 6165110"/>
              <a:gd name="connsiteX61" fmla="*/ 5565637 w 8636594"/>
              <a:gd name="connsiteY61" fmla="*/ 4259503 h 6165110"/>
              <a:gd name="connsiteX62" fmla="*/ 5613684 w 8636594"/>
              <a:gd name="connsiteY62" fmla="*/ 4187441 h 6165110"/>
              <a:gd name="connsiteX63" fmla="*/ 5685160 w 8636594"/>
              <a:gd name="connsiteY63" fmla="*/ 4078531 h 6165110"/>
              <a:gd name="connsiteX64" fmla="*/ 5756074 w 8636594"/>
              <a:gd name="connsiteY64" fmla="*/ 3968727 h 6165110"/>
              <a:gd name="connsiteX65" fmla="*/ 5873483 w 8636594"/>
              <a:gd name="connsiteY65" fmla="*/ 3783989 h 6165110"/>
              <a:gd name="connsiteX66" fmla="*/ 6203209 w 8636594"/>
              <a:gd name="connsiteY66" fmla="*/ 3258640 h 6165110"/>
              <a:gd name="connsiteX67" fmla="*/ 6299430 w 8636594"/>
              <a:gd name="connsiteY67" fmla="*/ 3107321 h 6165110"/>
              <a:gd name="connsiteX68" fmla="*/ 6372650 w 8636594"/>
              <a:gd name="connsiteY68" fmla="*/ 2993735 h 6165110"/>
              <a:gd name="connsiteX69" fmla="*/ 6453197 w 8636594"/>
              <a:gd name="connsiteY69" fmla="*/ 2869788 h 6165110"/>
              <a:gd name="connsiteX70" fmla="*/ 6564167 w 8636594"/>
              <a:gd name="connsiteY70" fmla="*/ 2696807 h 6165110"/>
              <a:gd name="connsiteX71" fmla="*/ 6976233 w 8636594"/>
              <a:gd name="connsiteY71" fmla="*/ 2045274 h 6165110"/>
              <a:gd name="connsiteX72" fmla="*/ 7086755 w 8636594"/>
              <a:gd name="connsiteY72" fmla="*/ 1872743 h 6165110"/>
              <a:gd name="connsiteX73" fmla="*/ 7170279 w 8636594"/>
              <a:gd name="connsiteY73" fmla="*/ 1744202 h 6165110"/>
              <a:gd name="connsiteX74" fmla="*/ 7226351 w 8636594"/>
              <a:gd name="connsiteY74" fmla="*/ 1659017 h 6165110"/>
              <a:gd name="connsiteX75" fmla="*/ 7282789 w 8636594"/>
              <a:gd name="connsiteY75" fmla="*/ 1574303 h 6165110"/>
              <a:gd name="connsiteX76" fmla="*/ 7339643 w 8636594"/>
              <a:gd name="connsiteY76" fmla="*/ 1490113 h 6165110"/>
              <a:gd name="connsiteX77" fmla="*/ 7396957 w 8636594"/>
              <a:gd name="connsiteY77" fmla="*/ 1406503 h 6165110"/>
              <a:gd name="connsiteX78" fmla="*/ 7454781 w 8636594"/>
              <a:gd name="connsiteY78" fmla="*/ 1323526 h 6165110"/>
              <a:gd name="connsiteX79" fmla="*/ 7513161 w 8636594"/>
              <a:gd name="connsiteY79" fmla="*/ 1241237 h 6165110"/>
              <a:gd name="connsiteX80" fmla="*/ 7572144 w 8636594"/>
              <a:gd name="connsiteY80" fmla="*/ 1159689 h 6165110"/>
              <a:gd name="connsiteX81" fmla="*/ 7601877 w 8636594"/>
              <a:gd name="connsiteY81" fmla="*/ 1119210 h 6165110"/>
              <a:gd name="connsiteX82" fmla="*/ 7631779 w 8636594"/>
              <a:gd name="connsiteY82" fmla="*/ 1078937 h 6165110"/>
              <a:gd name="connsiteX83" fmla="*/ 7661855 w 8636594"/>
              <a:gd name="connsiteY83" fmla="*/ 1038876 h 6165110"/>
              <a:gd name="connsiteX84" fmla="*/ 7692111 w 8636594"/>
              <a:gd name="connsiteY84" fmla="*/ 999035 h 6165110"/>
              <a:gd name="connsiteX85" fmla="*/ 7722554 w 8636594"/>
              <a:gd name="connsiteY85" fmla="*/ 959419 h 6165110"/>
              <a:gd name="connsiteX86" fmla="*/ 7753190 w 8636594"/>
              <a:gd name="connsiteY86" fmla="*/ 920037 h 6165110"/>
              <a:gd name="connsiteX87" fmla="*/ 7784023 w 8636594"/>
              <a:gd name="connsiteY87" fmla="*/ 880894 h 6165110"/>
              <a:gd name="connsiteX88" fmla="*/ 7815061 w 8636594"/>
              <a:gd name="connsiteY88" fmla="*/ 841997 h 6165110"/>
              <a:gd name="connsiteX89" fmla="*/ 7846308 w 8636594"/>
              <a:gd name="connsiteY89" fmla="*/ 803354 h 6165110"/>
              <a:gd name="connsiteX90" fmla="*/ 7877772 w 8636594"/>
              <a:gd name="connsiteY90" fmla="*/ 764970 h 6165110"/>
              <a:gd name="connsiteX91" fmla="*/ 7909458 w 8636594"/>
              <a:gd name="connsiteY91" fmla="*/ 726853 h 6165110"/>
              <a:gd name="connsiteX92" fmla="*/ 7941371 w 8636594"/>
              <a:gd name="connsiteY92" fmla="*/ 689010 h 6165110"/>
              <a:gd name="connsiteX93" fmla="*/ 7973518 w 8636594"/>
              <a:gd name="connsiteY93" fmla="*/ 651447 h 6165110"/>
              <a:gd name="connsiteX94" fmla="*/ 8005905 w 8636594"/>
              <a:gd name="connsiteY94" fmla="*/ 614171 h 6165110"/>
              <a:gd name="connsiteX95" fmla="*/ 8038538 w 8636594"/>
              <a:gd name="connsiteY95" fmla="*/ 577189 h 6165110"/>
              <a:gd name="connsiteX96" fmla="*/ 8071421 w 8636594"/>
              <a:gd name="connsiteY96" fmla="*/ 540507 h 6165110"/>
              <a:gd name="connsiteX97" fmla="*/ 8104563 w 8636594"/>
              <a:gd name="connsiteY97" fmla="*/ 504132 h 6165110"/>
              <a:gd name="connsiteX98" fmla="*/ 8137967 w 8636594"/>
              <a:gd name="connsiteY98" fmla="*/ 468072 h 6165110"/>
              <a:gd name="connsiteX99" fmla="*/ 8171641 w 8636594"/>
              <a:gd name="connsiteY99" fmla="*/ 432332 h 6165110"/>
              <a:gd name="connsiteX100" fmla="*/ 8205590 w 8636594"/>
              <a:gd name="connsiteY100" fmla="*/ 396920 h 6165110"/>
              <a:gd name="connsiteX101" fmla="*/ 8239820 w 8636594"/>
              <a:gd name="connsiteY101" fmla="*/ 361843 h 6165110"/>
              <a:gd name="connsiteX102" fmla="*/ 8274337 w 8636594"/>
              <a:gd name="connsiteY102" fmla="*/ 327107 h 6165110"/>
              <a:gd name="connsiteX103" fmla="*/ 8309147 w 8636594"/>
              <a:gd name="connsiteY103" fmla="*/ 292718 h 6165110"/>
              <a:gd name="connsiteX104" fmla="*/ 8344256 w 8636594"/>
              <a:gd name="connsiteY104" fmla="*/ 258685 h 6165110"/>
              <a:gd name="connsiteX105" fmla="*/ 8379669 w 8636594"/>
              <a:gd name="connsiteY105" fmla="*/ 225013 h 6165110"/>
              <a:gd name="connsiteX106" fmla="*/ 8415394 w 8636594"/>
              <a:gd name="connsiteY106" fmla="*/ 191709 h 6165110"/>
              <a:gd name="connsiteX107" fmla="*/ 8451434 w 8636594"/>
              <a:gd name="connsiteY107" fmla="*/ 158780 h 6165110"/>
              <a:gd name="connsiteX108" fmla="*/ 8487798 w 8636594"/>
              <a:gd name="connsiteY108" fmla="*/ 126233 h 6165110"/>
              <a:gd name="connsiteX109" fmla="*/ 8524489 w 8636594"/>
              <a:gd name="connsiteY109" fmla="*/ 94075 h 6165110"/>
              <a:gd name="connsiteX110" fmla="*/ 8561515 w 8636594"/>
              <a:gd name="connsiteY110" fmla="*/ 62312 h 6165110"/>
              <a:gd name="connsiteX111" fmla="*/ 8598881 w 8636594"/>
              <a:gd name="connsiteY111" fmla="*/ 30951 h 6165110"/>
              <a:gd name="connsiteX112" fmla="*/ 8636594 w 8636594"/>
              <a:gd name="connsiteY112" fmla="*/ 0 h 6165110"/>
              <a:gd name="connsiteX0" fmla="*/ 8636594 w 8636594"/>
              <a:gd name="connsiteY0" fmla="*/ 0 h 6143704"/>
              <a:gd name="connsiteX1" fmla="*/ 5293 w 8636594"/>
              <a:gd name="connsiteY1" fmla="*/ 0 h 6143704"/>
              <a:gd name="connsiteX2" fmla="*/ 0 w 8636594"/>
              <a:gd name="connsiteY2" fmla="*/ 5587843 h 6143704"/>
              <a:gd name="connsiteX3" fmla="*/ 1594033 w 8636594"/>
              <a:gd name="connsiteY3" fmla="*/ 5600057 h 6143704"/>
              <a:gd name="connsiteX4" fmla="*/ 1686068 w 8636594"/>
              <a:gd name="connsiteY4" fmla="*/ 5599745 h 6143704"/>
              <a:gd name="connsiteX5" fmla="*/ 3595773 w 8636594"/>
              <a:gd name="connsiteY5" fmla="*/ 6143704 h 6143704"/>
              <a:gd name="connsiteX6" fmla="*/ 3638142 w 8636594"/>
              <a:gd name="connsiteY6" fmla="*/ 6121960 h 6143704"/>
              <a:gd name="connsiteX7" fmla="*/ 3680024 w 8636594"/>
              <a:gd name="connsiteY7" fmla="*/ 6099881 h 6143704"/>
              <a:gd name="connsiteX8" fmla="*/ 3721426 w 8636594"/>
              <a:gd name="connsiteY8" fmla="*/ 6077471 h 6143704"/>
              <a:gd name="connsiteX9" fmla="*/ 3762353 w 8636594"/>
              <a:gd name="connsiteY9" fmla="*/ 6054733 h 6143704"/>
              <a:gd name="connsiteX10" fmla="*/ 3802812 w 8636594"/>
              <a:gd name="connsiteY10" fmla="*/ 6031671 h 6143704"/>
              <a:gd name="connsiteX11" fmla="*/ 3842810 w 8636594"/>
              <a:gd name="connsiteY11" fmla="*/ 6008288 h 6143704"/>
              <a:gd name="connsiteX12" fmla="*/ 3882352 w 8636594"/>
              <a:gd name="connsiteY12" fmla="*/ 5984588 h 6143704"/>
              <a:gd name="connsiteX13" fmla="*/ 3921445 w 8636594"/>
              <a:gd name="connsiteY13" fmla="*/ 5960574 h 6143704"/>
              <a:gd name="connsiteX14" fmla="*/ 3960096 w 8636594"/>
              <a:gd name="connsiteY14" fmla="*/ 5936250 h 6143704"/>
              <a:gd name="connsiteX15" fmla="*/ 3998311 w 8636594"/>
              <a:gd name="connsiteY15" fmla="*/ 5911619 h 6143704"/>
              <a:gd name="connsiteX16" fmla="*/ 4036095 w 8636594"/>
              <a:gd name="connsiteY16" fmla="*/ 5886685 h 6143704"/>
              <a:gd name="connsiteX17" fmla="*/ 4073456 w 8636594"/>
              <a:gd name="connsiteY17" fmla="*/ 5861452 h 6143704"/>
              <a:gd name="connsiteX18" fmla="*/ 4110400 w 8636594"/>
              <a:gd name="connsiteY18" fmla="*/ 5835922 h 6143704"/>
              <a:gd name="connsiteX19" fmla="*/ 4146933 w 8636594"/>
              <a:gd name="connsiteY19" fmla="*/ 5810100 h 6143704"/>
              <a:gd name="connsiteX20" fmla="*/ 4183061 w 8636594"/>
              <a:gd name="connsiteY20" fmla="*/ 5783988 h 6143704"/>
              <a:gd name="connsiteX21" fmla="*/ 4218791 w 8636594"/>
              <a:gd name="connsiteY21" fmla="*/ 5757591 h 6143704"/>
              <a:gd name="connsiteX22" fmla="*/ 4254129 w 8636594"/>
              <a:gd name="connsiteY22" fmla="*/ 5730912 h 6143704"/>
              <a:gd name="connsiteX23" fmla="*/ 4289081 w 8636594"/>
              <a:gd name="connsiteY23" fmla="*/ 5703955 h 6143704"/>
              <a:gd name="connsiteX24" fmla="*/ 4323654 w 8636594"/>
              <a:gd name="connsiteY24" fmla="*/ 5676722 h 6143704"/>
              <a:gd name="connsiteX25" fmla="*/ 4357854 w 8636594"/>
              <a:gd name="connsiteY25" fmla="*/ 5649218 h 6143704"/>
              <a:gd name="connsiteX26" fmla="*/ 4391688 w 8636594"/>
              <a:gd name="connsiteY26" fmla="*/ 5621446 h 6143704"/>
              <a:gd name="connsiteX27" fmla="*/ 4425162 w 8636594"/>
              <a:gd name="connsiteY27" fmla="*/ 5593409 h 6143704"/>
              <a:gd name="connsiteX28" fmla="*/ 4458281 w 8636594"/>
              <a:gd name="connsiteY28" fmla="*/ 5565111 h 6143704"/>
              <a:gd name="connsiteX29" fmla="*/ 4491053 w 8636594"/>
              <a:gd name="connsiteY29" fmla="*/ 5536556 h 6143704"/>
              <a:gd name="connsiteX30" fmla="*/ 4523484 w 8636594"/>
              <a:gd name="connsiteY30" fmla="*/ 5507747 h 6143704"/>
              <a:gd name="connsiteX31" fmla="*/ 4555580 w 8636594"/>
              <a:gd name="connsiteY31" fmla="*/ 5478687 h 6143704"/>
              <a:gd name="connsiteX32" fmla="*/ 4587347 w 8636594"/>
              <a:gd name="connsiteY32" fmla="*/ 5449380 h 6143704"/>
              <a:gd name="connsiteX33" fmla="*/ 4618793 w 8636594"/>
              <a:gd name="connsiteY33" fmla="*/ 5419830 h 6143704"/>
              <a:gd name="connsiteX34" fmla="*/ 4649922 w 8636594"/>
              <a:gd name="connsiteY34" fmla="*/ 5390040 h 6143704"/>
              <a:gd name="connsiteX35" fmla="*/ 4680742 w 8636594"/>
              <a:gd name="connsiteY35" fmla="*/ 5360014 h 6143704"/>
              <a:gd name="connsiteX36" fmla="*/ 4711259 w 8636594"/>
              <a:gd name="connsiteY36" fmla="*/ 5329755 h 6143704"/>
              <a:gd name="connsiteX37" fmla="*/ 4741478 w 8636594"/>
              <a:gd name="connsiteY37" fmla="*/ 5299266 h 6143704"/>
              <a:gd name="connsiteX38" fmla="*/ 4771408 w 8636594"/>
              <a:gd name="connsiteY38" fmla="*/ 5268551 h 6143704"/>
              <a:gd name="connsiteX39" fmla="*/ 4801053 w 8636594"/>
              <a:gd name="connsiteY39" fmla="*/ 5237614 h 6143704"/>
              <a:gd name="connsiteX40" fmla="*/ 4830420 w 8636594"/>
              <a:gd name="connsiteY40" fmla="*/ 5206458 h 6143704"/>
              <a:gd name="connsiteX41" fmla="*/ 4859516 w 8636594"/>
              <a:gd name="connsiteY41" fmla="*/ 5175087 h 6143704"/>
              <a:gd name="connsiteX42" fmla="*/ 4888347 w 8636594"/>
              <a:gd name="connsiteY42" fmla="*/ 5143504 h 6143704"/>
              <a:gd name="connsiteX43" fmla="*/ 4916919 w 8636594"/>
              <a:gd name="connsiteY43" fmla="*/ 5111713 h 6143704"/>
              <a:gd name="connsiteX44" fmla="*/ 4945238 w 8636594"/>
              <a:gd name="connsiteY44" fmla="*/ 5079717 h 6143704"/>
              <a:gd name="connsiteX45" fmla="*/ 4973311 w 8636594"/>
              <a:gd name="connsiteY45" fmla="*/ 5047519 h 6143704"/>
              <a:gd name="connsiteX46" fmla="*/ 5001145 w 8636594"/>
              <a:gd name="connsiteY46" fmla="*/ 5015124 h 6143704"/>
              <a:gd name="connsiteX47" fmla="*/ 5028745 w 8636594"/>
              <a:gd name="connsiteY47" fmla="*/ 4982535 h 6143704"/>
              <a:gd name="connsiteX48" fmla="*/ 5056117 w 8636594"/>
              <a:gd name="connsiteY48" fmla="*/ 4949755 h 6143704"/>
              <a:gd name="connsiteX49" fmla="*/ 5083269 w 8636594"/>
              <a:gd name="connsiteY49" fmla="*/ 4916787 h 6143704"/>
              <a:gd name="connsiteX50" fmla="*/ 5110207 w 8636594"/>
              <a:gd name="connsiteY50" fmla="*/ 4883636 h 6143704"/>
              <a:gd name="connsiteX51" fmla="*/ 5136937 w 8636594"/>
              <a:gd name="connsiteY51" fmla="*/ 4850305 h 6143704"/>
              <a:gd name="connsiteX52" fmla="*/ 5163464 w 8636594"/>
              <a:gd name="connsiteY52" fmla="*/ 4816797 h 6143704"/>
              <a:gd name="connsiteX53" fmla="*/ 5215940 w 8636594"/>
              <a:gd name="connsiteY53" fmla="*/ 4749265 h 6143704"/>
              <a:gd name="connsiteX54" fmla="*/ 5267684 w 8636594"/>
              <a:gd name="connsiteY54" fmla="*/ 4681068 h 6143704"/>
              <a:gd name="connsiteX55" fmla="*/ 5318748 w 8636594"/>
              <a:gd name="connsiteY55" fmla="*/ 4612234 h 6143704"/>
              <a:gd name="connsiteX56" fmla="*/ 5369182 w 8636594"/>
              <a:gd name="connsiteY56" fmla="*/ 4542793 h 6143704"/>
              <a:gd name="connsiteX57" fmla="*/ 5419038 w 8636594"/>
              <a:gd name="connsiteY57" fmla="*/ 4472771 h 6143704"/>
              <a:gd name="connsiteX58" fmla="*/ 5468365 w 8636594"/>
              <a:gd name="connsiteY58" fmla="*/ 4402196 h 6143704"/>
              <a:gd name="connsiteX59" fmla="*/ 5517215 w 8636594"/>
              <a:gd name="connsiteY59" fmla="*/ 4331098 h 6143704"/>
              <a:gd name="connsiteX60" fmla="*/ 5565637 w 8636594"/>
              <a:gd name="connsiteY60" fmla="*/ 4259503 h 6143704"/>
              <a:gd name="connsiteX61" fmla="*/ 5613684 w 8636594"/>
              <a:gd name="connsiteY61" fmla="*/ 4187441 h 6143704"/>
              <a:gd name="connsiteX62" fmla="*/ 5685160 w 8636594"/>
              <a:gd name="connsiteY62" fmla="*/ 4078531 h 6143704"/>
              <a:gd name="connsiteX63" fmla="*/ 5756074 w 8636594"/>
              <a:gd name="connsiteY63" fmla="*/ 3968727 h 6143704"/>
              <a:gd name="connsiteX64" fmla="*/ 5873483 w 8636594"/>
              <a:gd name="connsiteY64" fmla="*/ 3783989 h 6143704"/>
              <a:gd name="connsiteX65" fmla="*/ 6203209 w 8636594"/>
              <a:gd name="connsiteY65" fmla="*/ 3258640 h 6143704"/>
              <a:gd name="connsiteX66" fmla="*/ 6299430 w 8636594"/>
              <a:gd name="connsiteY66" fmla="*/ 3107321 h 6143704"/>
              <a:gd name="connsiteX67" fmla="*/ 6372650 w 8636594"/>
              <a:gd name="connsiteY67" fmla="*/ 2993735 h 6143704"/>
              <a:gd name="connsiteX68" fmla="*/ 6453197 w 8636594"/>
              <a:gd name="connsiteY68" fmla="*/ 2869788 h 6143704"/>
              <a:gd name="connsiteX69" fmla="*/ 6564167 w 8636594"/>
              <a:gd name="connsiteY69" fmla="*/ 2696807 h 6143704"/>
              <a:gd name="connsiteX70" fmla="*/ 6976233 w 8636594"/>
              <a:gd name="connsiteY70" fmla="*/ 2045274 h 6143704"/>
              <a:gd name="connsiteX71" fmla="*/ 7086755 w 8636594"/>
              <a:gd name="connsiteY71" fmla="*/ 1872743 h 6143704"/>
              <a:gd name="connsiteX72" fmla="*/ 7170279 w 8636594"/>
              <a:gd name="connsiteY72" fmla="*/ 1744202 h 6143704"/>
              <a:gd name="connsiteX73" fmla="*/ 7226351 w 8636594"/>
              <a:gd name="connsiteY73" fmla="*/ 1659017 h 6143704"/>
              <a:gd name="connsiteX74" fmla="*/ 7282789 w 8636594"/>
              <a:gd name="connsiteY74" fmla="*/ 1574303 h 6143704"/>
              <a:gd name="connsiteX75" fmla="*/ 7339643 w 8636594"/>
              <a:gd name="connsiteY75" fmla="*/ 1490113 h 6143704"/>
              <a:gd name="connsiteX76" fmla="*/ 7396957 w 8636594"/>
              <a:gd name="connsiteY76" fmla="*/ 1406503 h 6143704"/>
              <a:gd name="connsiteX77" fmla="*/ 7454781 w 8636594"/>
              <a:gd name="connsiteY77" fmla="*/ 1323526 h 6143704"/>
              <a:gd name="connsiteX78" fmla="*/ 7513161 w 8636594"/>
              <a:gd name="connsiteY78" fmla="*/ 1241237 h 6143704"/>
              <a:gd name="connsiteX79" fmla="*/ 7572144 w 8636594"/>
              <a:gd name="connsiteY79" fmla="*/ 1159689 h 6143704"/>
              <a:gd name="connsiteX80" fmla="*/ 7601877 w 8636594"/>
              <a:gd name="connsiteY80" fmla="*/ 1119210 h 6143704"/>
              <a:gd name="connsiteX81" fmla="*/ 7631779 w 8636594"/>
              <a:gd name="connsiteY81" fmla="*/ 1078937 h 6143704"/>
              <a:gd name="connsiteX82" fmla="*/ 7661855 w 8636594"/>
              <a:gd name="connsiteY82" fmla="*/ 1038876 h 6143704"/>
              <a:gd name="connsiteX83" fmla="*/ 7692111 w 8636594"/>
              <a:gd name="connsiteY83" fmla="*/ 999035 h 6143704"/>
              <a:gd name="connsiteX84" fmla="*/ 7722554 w 8636594"/>
              <a:gd name="connsiteY84" fmla="*/ 959419 h 6143704"/>
              <a:gd name="connsiteX85" fmla="*/ 7753190 w 8636594"/>
              <a:gd name="connsiteY85" fmla="*/ 920037 h 6143704"/>
              <a:gd name="connsiteX86" fmla="*/ 7784023 w 8636594"/>
              <a:gd name="connsiteY86" fmla="*/ 880894 h 6143704"/>
              <a:gd name="connsiteX87" fmla="*/ 7815061 w 8636594"/>
              <a:gd name="connsiteY87" fmla="*/ 841997 h 6143704"/>
              <a:gd name="connsiteX88" fmla="*/ 7846308 w 8636594"/>
              <a:gd name="connsiteY88" fmla="*/ 803354 h 6143704"/>
              <a:gd name="connsiteX89" fmla="*/ 7877772 w 8636594"/>
              <a:gd name="connsiteY89" fmla="*/ 764970 h 6143704"/>
              <a:gd name="connsiteX90" fmla="*/ 7909458 w 8636594"/>
              <a:gd name="connsiteY90" fmla="*/ 726853 h 6143704"/>
              <a:gd name="connsiteX91" fmla="*/ 7941371 w 8636594"/>
              <a:gd name="connsiteY91" fmla="*/ 689010 h 6143704"/>
              <a:gd name="connsiteX92" fmla="*/ 7973518 w 8636594"/>
              <a:gd name="connsiteY92" fmla="*/ 651447 h 6143704"/>
              <a:gd name="connsiteX93" fmla="*/ 8005905 w 8636594"/>
              <a:gd name="connsiteY93" fmla="*/ 614171 h 6143704"/>
              <a:gd name="connsiteX94" fmla="*/ 8038538 w 8636594"/>
              <a:gd name="connsiteY94" fmla="*/ 577189 h 6143704"/>
              <a:gd name="connsiteX95" fmla="*/ 8071421 w 8636594"/>
              <a:gd name="connsiteY95" fmla="*/ 540507 h 6143704"/>
              <a:gd name="connsiteX96" fmla="*/ 8104563 w 8636594"/>
              <a:gd name="connsiteY96" fmla="*/ 504132 h 6143704"/>
              <a:gd name="connsiteX97" fmla="*/ 8137967 w 8636594"/>
              <a:gd name="connsiteY97" fmla="*/ 468072 h 6143704"/>
              <a:gd name="connsiteX98" fmla="*/ 8171641 w 8636594"/>
              <a:gd name="connsiteY98" fmla="*/ 432332 h 6143704"/>
              <a:gd name="connsiteX99" fmla="*/ 8205590 w 8636594"/>
              <a:gd name="connsiteY99" fmla="*/ 396920 h 6143704"/>
              <a:gd name="connsiteX100" fmla="*/ 8239820 w 8636594"/>
              <a:gd name="connsiteY100" fmla="*/ 361843 h 6143704"/>
              <a:gd name="connsiteX101" fmla="*/ 8274337 w 8636594"/>
              <a:gd name="connsiteY101" fmla="*/ 327107 h 6143704"/>
              <a:gd name="connsiteX102" fmla="*/ 8309147 w 8636594"/>
              <a:gd name="connsiteY102" fmla="*/ 292718 h 6143704"/>
              <a:gd name="connsiteX103" fmla="*/ 8344256 w 8636594"/>
              <a:gd name="connsiteY103" fmla="*/ 258685 h 6143704"/>
              <a:gd name="connsiteX104" fmla="*/ 8379669 w 8636594"/>
              <a:gd name="connsiteY104" fmla="*/ 225013 h 6143704"/>
              <a:gd name="connsiteX105" fmla="*/ 8415394 w 8636594"/>
              <a:gd name="connsiteY105" fmla="*/ 191709 h 6143704"/>
              <a:gd name="connsiteX106" fmla="*/ 8451434 w 8636594"/>
              <a:gd name="connsiteY106" fmla="*/ 158780 h 6143704"/>
              <a:gd name="connsiteX107" fmla="*/ 8487798 w 8636594"/>
              <a:gd name="connsiteY107" fmla="*/ 126233 h 6143704"/>
              <a:gd name="connsiteX108" fmla="*/ 8524489 w 8636594"/>
              <a:gd name="connsiteY108" fmla="*/ 94075 h 6143704"/>
              <a:gd name="connsiteX109" fmla="*/ 8561515 w 8636594"/>
              <a:gd name="connsiteY109" fmla="*/ 62312 h 6143704"/>
              <a:gd name="connsiteX110" fmla="*/ 8598881 w 8636594"/>
              <a:gd name="connsiteY110" fmla="*/ 30951 h 6143704"/>
              <a:gd name="connsiteX111" fmla="*/ 8636594 w 8636594"/>
              <a:gd name="connsiteY111" fmla="*/ 0 h 6143704"/>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1686068 w 8636594"/>
              <a:gd name="connsiteY4" fmla="*/ 5599745 h 6121960"/>
              <a:gd name="connsiteX5" fmla="*/ 3638142 w 8636594"/>
              <a:gd name="connsiteY5" fmla="*/ 6121960 h 6121960"/>
              <a:gd name="connsiteX6" fmla="*/ 3680024 w 8636594"/>
              <a:gd name="connsiteY6" fmla="*/ 6099881 h 6121960"/>
              <a:gd name="connsiteX7" fmla="*/ 3721426 w 8636594"/>
              <a:gd name="connsiteY7" fmla="*/ 6077471 h 6121960"/>
              <a:gd name="connsiteX8" fmla="*/ 3762353 w 8636594"/>
              <a:gd name="connsiteY8" fmla="*/ 6054733 h 6121960"/>
              <a:gd name="connsiteX9" fmla="*/ 3802812 w 8636594"/>
              <a:gd name="connsiteY9" fmla="*/ 6031671 h 6121960"/>
              <a:gd name="connsiteX10" fmla="*/ 3842810 w 8636594"/>
              <a:gd name="connsiteY10" fmla="*/ 6008288 h 6121960"/>
              <a:gd name="connsiteX11" fmla="*/ 3882352 w 8636594"/>
              <a:gd name="connsiteY11" fmla="*/ 5984588 h 6121960"/>
              <a:gd name="connsiteX12" fmla="*/ 3921445 w 8636594"/>
              <a:gd name="connsiteY12" fmla="*/ 5960574 h 6121960"/>
              <a:gd name="connsiteX13" fmla="*/ 3960096 w 8636594"/>
              <a:gd name="connsiteY13" fmla="*/ 5936250 h 6121960"/>
              <a:gd name="connsiteX14" fmla="*/ 3998311 w 8636594"/>
              <a:gd name="connsiteY14" fmla="*/ 5911619 h 6121960"/>
              <a:gd name="connsiteX15" fmla="*/ 4036095 w 8636594"/>
              <a:gd name="connsiteY15" fmla="*/ 5886685 h 6121960"/>
              <a:gd name="connsiteX16" fmla="*/ 4073456 w 8636594"/>
              <a:gd name="connsiteY16" fmla="*/ 5861452 h 6121960"/>
              <a:gd name="connsiteX17" fmla="*/ 4110400 w 8636594"/>
              <a:gd name="connsiteY17" fmla="*/ 5835922 h 6121960"/>
              <a:gd name="connsiteX18" fmla="*/ 4146933 w 8636594"/>
              <a:gd name="connsiteY18" fmla="*/ 5810100 h 6121960"/>
              <a:gd name="connsiteX19" fmla="*/ 4183061 w 8636594"/>
              <a:gd name="connsiteY19" fmla="*/ 5783988 h 6121960"/>
              <a:gd name="connsiteX20" fmla="*/ 4218791 w 8636594"/>
              <a:gd name="connsiteY20" fmla="*/ 5757591 h 6121960"/>
              <a:gd name="connsiteX21" fmla="*/ 4254129 w 8636594"/>
              <a:gd name="connsiteY21" fmla="*/ 5730912 h 6121960"/>
              <a:gd name="connsiteX22" fmla="*/ 4289081 w 8636594"/>
              <a:gd name="connsiteY22" fmla="*/ 5703955 h 6121960"/>
              <a:gd name="connsiteX23" fmla="*/ 4323654 w 8636594"/>
              <a:gd name="connsiteY23" fmla="*/ 5676722 h 6121960"/>
              <a:gd name="connsiteX24" fmla="*/ 4357854 w 8636594"/>
              <a:gd name="connsiteY24" fmla="*/ 5649218 h 6121960"/>
              <a:gd name="connsiteX25" fmla="*/ 4391688 w 8636594"/>
              <a:gd name="connsiteY25" fmla="*/ 5621446 h 6121960"/>
              <a:gd name="connsiteX26" fmla="*/ 4425162 w 8636594"/>
              <a:gd name="connsiteY26" fmla="*/ 5593409 h 6121960"/>
              <a:gd name="connsiteX27" fmla="*/ 4458281 w 8636594"/>
              <a:gd name="connsiteY27" fmla="*/ 5565111 h 6121960"/>
              <a:gd name="connsiteX28" fmla="*/ 4491053 w 8636594"/>
              <a:gd name="connsiteY28" fmla="*/ 5536556 h 6121960"/>
              <a:gd name="connsiteX29" fmla="*/ 4523484 w 8636594"/>
              <a:gd name="connsiteY29" fmla="*/ 5507747 h 6121960"/>
              <a:gd name="connsiteX30" fmla="*/ 4555580 w 8636594"/>
              <a:gd name="connsiteY30" fmla="*/ 5478687 h 6121960"/>
              <a:gd name="connsiteX31" fmla="*/ 4587347 w 8636594"/>
              <a:gd name="connsiteY31" fmla="*/ 5449380 h 6121960"/>
              <a:gd name="connsiteX32" fmla="*/ 4618793 w 8636594"/>
              <a:gd name="connsiteY32" fmla="*/ 5419830 h 6121960"/>
              <a:gd name="connsiteX33" fmla="*/ 4649922 w 8636594"/>
              <a:gd name="connsiteY33" fmla="*/ 5390040 h 6121960"/>
              <a:gd name="connsiteX34" fmla="*/ 4680742 w 8636594"/>
              <a:gd name="connsiteY34" fmla="*/ 5360014 h 6121960"/>
              <a:gd name="connsiteX35" fmla="*/ 4711259 w 8636594"/>
              <a:gd name="connsiteY35" fmla="*/ 5329755 h 6121960"/>
              <a:gd name="connsiteX36" fmla="*/ 4741478 w 8636594"/>
              <a:gd name="connsiteY36" fmla="*/ 5299266 h 6121960"/>
              <a:gd name="connsiteX37" fmla="*/ 4771408 w 8636594"/>
              <a:gd name="connsiteY37" fmla="*/ 5268551 h 6121960"/>
              <a:gd name="connsiteX38" fmla="*/ 4801053 w 8636594"/>
              <a:gd name="connsiteY38" fmla="*/ 5237614 h 6121960"/>
              <a:gd name="connsiteX39" fmla="*/ 4830420 w 8636594"/>
              <a:gd name="connsiteY39" fmla="*/ 5206458 h 6121960"/>
              <a:gd name="connsiteX40" fmla="*/ 4859516 w 8636594"/>
              <a:gd name="connsiteY40" fmla="*/ 5175087 h 6121960"/>
              <a:gd name="connsiteX41" fmla="*/ 4888347 w 8636594"/>
              <a:gd name="connsiteY41" fmla="*/ 5143504 h 6121960"/>
              <a:gd name="connsiteX42" fmla="*/ 4916919 w 8636594"/>
              <a:gd name="connsiteY42" fmla="*/ 5111713 h 6121960"/>
              <a:gd name="connsiteX43" fmla="*/ 4945238 w 8636594"/>
              <a:gd name="connsiteY43" fmla="*/ 5079717 h 6121960"/>
              <a:gd name="connsiteX44" fmla="*/ 4973311 w 8636594"/>
              <a:gd name="connsiteY44" fmla="*/ 5047519 h 6121960"/>
              <a:gd name="connsiteX45" fmla="*/ 5001145 w 8636594"/>
              <a:gd name="connsiteY45" fmla="*/ 5015124 h 6121960"/>
              <a:gd name="connsiteX46" fmla="*/ 5028745 w 8636594"/>
              <a:gd name="connsiteY46" fmla="*/ 4982535 h 6121960"/>
              <a:gd name="connsiteX47" fmla="*/ 5056117 w 8636594"/>
              <a:gd name="connsiteY47" fmla="*/ 4949755 h 6121960"/>
              <a:gd name="connsiteX48" fmla="*/ 5083269 w 8636594"/>
              <a:gd name="connsiteY48" fmla="*/ 4916787 h 6121960"/>
              <a:gd name="connsiteX49" fmla="*/ 5110207 w 8636594"/>
              <a:gd name="connsiteY49" fmla="*/ 4883636 h 6121960"/>
              <a:gd name="connsiteX50" fmla="*/ 5136937 w 8636594"/>
              <a:gd name="connsiteY50" fmla="*/ 4850305 h 6121960"/>
              <a:gd name="connsiteX51" fmla="*/ 5163464 w 8636594"/>
              <a:gd name="connsiteY51" fmla="*/ 4816797 h 6121960"/>
              <a:gd name="connsiteX52" fmla="*/ 5215940 w 8636594"/>
              <a:gd name="connsiteY52" fmla="*/ 4749265 h 6121960"/>
              <a:gd name="connsiteX53" fmla="*/ 5267684 w 8636594"/>
              <a:gd name="connsiteY53" fmla="*/ 4681068 h 6121960"/>
              <a:gd name="connsiteX54" fmla="*/ 5318748 w 8636594"/>
              <a:gd name="connsiteY54" fmla="*/ 4612234 h 6121960"/>
              <a:gd name="connsiteX55" fmla="*/ 5369182 w 8636594"/>
              <a:gd name="connsiteY55" fmla="*/ 4542793 h 6121960"/>
              <a:gd name="connsiteX56" fmla="*/ 5419038 w 8636594"/>
              <a:gd name="connsiteY56" fmla="*/ 4472771 h 6121960"/>
              <a:gd name="connsiteX57" fmla="*/ 5468365 w 8636594"/>
              <a:gd name="connsiteY57" fmla="*/ 4402196 h 6121960"/>
              <a:gd name="connsiteX58" fmla="*/ 5517215 w 8636594"/>
              <a:gd name="connsiteY58" fmla="*/ 4331098 h 6121960"/>
              <a:gd name="connsiteX59" fmla="*/ 5565637 w 8636594"/>
              <a:gd name="connsiteY59" fmla="*/ 4259503 h 6121960"/>
              <a:gd name="connsiteX60" fmla="*/ 5613684 w 8636594"/>
              <a:gd name="connsiteY60" fmla="*/ 4187441 h 6121960"/>
              <a:gd name="connsiteX61" fmla="*/ 5685160 w 8636594"/>
              <a:gd name="connsiteY61" fmla="*/ 4078531 h 6121960"/>
              <a:gd name="connsiteX62" fmla="*/ 5756074 w 8636594"/>
              <a:gd name="connsiteY62" fmla="*/ 3968727 h 6121960"/>
              <a:gd name="connsiteX63" fmla="*/ 5873483 w 8636594"/>
              <a:gd name="connsiteY63" fmla="*/ 3783989 h 6121960"/>
              <a:gd name="connsiteX64" fmla="*/ 6203209 w 8636594"/>
              <a:gd name="connsiteY64" fmla="*/ 3258640 h 6121960"/>
              <a:gd name="connsiteX65" fmla="*/ 6299430 w 8636594"/>
              <a:gd name="connsiteY65" fmla="*/ 3107321 h 6121960"/>
              <a:gd name="connsiteX66" fmla="*/ 6372650 w 8636594"/>
              <a:gd name="connsiteY66" fmla="*/ 2993735 h 6121960"/>
              <a:gd name="connsiteX67" fmla="*/ 6453197 w 8636594"/>
              <a:gd name="connsiteY67" fmla="*/ 2869788 h 6121960"/>
              <a:gd name="connsiteX68" fmla="*/ 6564167 w 8636594"/>
              <a:gd name="connsiteY68" fmla="*/ 2696807 h 6121960"/>
              <a:gd name="connsiteX69" fmla="*/ 6976233 w 8636594"/>
              <a:gd name="connsiteY69" fmla="*/ 2045274 h 6121960"/>
              <a:gd name="connsiteX70" fmla="*/ 7086755 w 8636594"/>
              <a:gd name="connsiteY70" fmla="*/ 1872743 h 6121960"/>
              <a:gd name="connsiteX71" fmla="*/ 7170279 w 8636594"/>
              <a:gd name="connsiteY71" fmla="*/ 1744202 h 6121960"/>
              <a:gd name="connsiteX72" fmla="*/ 7226351 w 8636594"/>
              <a:gd name="connsiteY72" fmla="*/ 1659017 h 6121960"/>
              <a:gd name="connsiteX73" fmla="*/ 7282789 w 8636594"/>
              <a:gd name="connsiteY73" fmla="*/ 1574303 h 6121960"/>
              <a:gd name="connsiteX74" fmla="*/ 7339643 w 8636594"/>
              <a:gd name="connsiteY74" fmla="*/ 1490113 h 6121960"/>
              <a:gd name="connsiteX75" fmla="*/ 7396957 w 8636594"/>
              <a:gd name="connsiteY75" fmla="*/ 1406503 h 6121960"/>
              <a:gd name="connsiteX76" fmla="*/ 7454781 w 8636594"/>
              <a:gd name="connsiteY76" fmla="*/ 1323526 h 6121960"/>
              <a:gd name="connsiteX77" fmla="*/ 7513161 w 8636594"/>
              <a:gd name="connsiteY77" fmla="*/ 1241237 h 6121960"/>
              <a:gd name="connsiteX78" fmla="*/ 7572144 w 8636594"/>
              <a:gd name="connsiteY78" fmla="*/ 1159689 h 6121960"/>
              <a:gd name="connsiteX79" fmla="*/ 7601877 w 8636594"/>
              <a:gd name="connsiteY79" fmla="*/ 1119210 h 6121960"/>
              <a:gd name="connsiteX80" fmla="*/ 7631779 w 8636594"/>
              <a:gd name="connsiteY80" fmla="*/ 1078937 h 6121960"/>
              <a:gd name="connsiteX81" fmla="*/ 7661855 w 8636594"/>
              <a:gd name="connsiteY81" fmla="*/ 1038876 h 6121960"/>
              <a:gd name="connsiteX82" fmla="*/ 7692111 w 8636594"/>
              <a:gd name="connsiteY82" fmla="*/ 999035 h 6121960"/>
              <a:gd name="connsiteX83" fmla="*/ 7722554 w 8636594"/>
              <a:gd name="connsiteY83" fmla="*/ 959419 h 6121960"/>
              <a:gd name="connsiteX84" fmla="*/ 7753190 w 8636594"/>
              <a:gd name="connsiteY84" fmla="*/ 920037 h 6121960"/>
              <a:gd name="connsiteX85" fmla="*/ 7784023 w 8636594"/>
              <a:gd name="connsiteY85" fmla="*/ 880894 h 6121960"/>
              <a:gd name="connsiteX86" fmla="*/ 7815061 w 8636594"/>
              <a:gd name="connsiteY86" fmla="*/ 841997 h 6121960"/>
              <a:gd name="connsiteX87" fmla="*/ 7846308 w 8636594"/>
              <a:gd name="connsiteY87" fmla="*/ 803354 h 6121960"/>
              <a:gd name="connsiteX88" fmla="*/ 7877772 w 8636594"/>
              <a:gd name="connsiteY88" fmla="*/ 764970 h 6121960"/>
              <a:gd name="connsiteX89" fmla="*/ 7909458 w 8636594"/>
              <a:gd name="connsiteY89" fmla="*/ 726853 h 6121960"/>
              <a:gd name="connsiteX90" fmla="*/ 7941371 w 8636594"/>
              <a:gd name="connsiteY90" fmla="*/ 689010 h 6121960"/>
              <a:gd name="connsiteX91" fmla="*/ 7973518 w 8636594"/>
              <a:gd name="connsiteY91" fmla="*/ 651447 h 6121960"/>
              <a:gd name="connsiteX92" fmla="*/ 8005905 w 8636594"/>
              <a:gd name="connsiteY92" fmla="*/ 614171 h 6121960"/>
              <a:gd name="connsiteX93" fmla="*/ 8038538 w 8636594"/>
              <a:gd name="connsiteY93" fmla="*/ 577189 h 6121960"/>
              <a:gd name="connsiteX94" fmla="*/ 8071421 w 8636594"/>
              <a:gd name="connsiteY94" fmla="*/ 540507 h 6121960"/>
              <a:gd name="connsiteX95" fmla="*/ 8104563 w 8636594"/>
              <a:gd name="connsiteY95" fmla="*/ 504132 h 6121960"/>
              <a:gd name="connsiteX96" fmla="*/ 8137967 w 8636594"/>
              <a:gd name="connsiteY96" fmla="*/ 468072 h 6121960"/>
              <a:gd name="connsiteX97" fmla="*/ 8171641 w 8636594"/>
              <a:gd name="connsiteY97" fmla="*/ 432332 h 6121960"/>
              <a:gd name="connsiteX98" fmla="*/ 8205590 w 8636594"/>
              <a:gd name="connsiteY98" fmla="*/ 396920 h 6121960"/>
              <a:gd name="connsiteX99" fmla="*/ 8239820 w 8636594"/>
              <a:gd name="connsiteY99" fmla="*/ 361843 h 6121960"/>
              <a:gd name="connsiteX100" fmla="*/ 8274337 w 8636594"/>
              <a:gd name="connsiteY100" fmla="*/ 327107 h 6121960"/>
              <a:gd name="connsiteX101" fmla="*/ 8309147 w 8636594"/>
              <a:gd name="connsiteY101" fmla="*/ 292718 h 6121960"/>
              <a:gd name="connsiteX102" fmla="*/ 8344256 w 8636594"/>
              <a:gd name="connsiteY102" fmla="*/ 258685 h 6121960"/>
              <a:gd name="connsiteX103" fmla="*/ 8379669 w 8636594"/>
              <a:gd name="connsiteY103" fmla="*/ 225013 h 6121960"/>
              <a:gd name="connsiteX104" fmla="*/ 8415394 w 8636594"/>
              <a:gd name="connsiteY104" fmla="*/ 191709 h 6121960"/>
              <a:gd name="connsiteX105" fmla="*/ 8451434 w 8636594"/>
              <a:gd name="connsiteY105" fmla="*/ 158780 h 6121960"/>
              <a:gd name="connsiteX106" fmla="*/ 8487798 w 8636594"/>
              <a:gd name="connsiteY106" fmla="*/ 126233 h 6121960"/>
              <a:gd name="connsiteX107" fmla="*/ 8524489 w 8636594"/>
              <a:gd name="connsiteY107" fmla="*/ 94075 h 6121960"/>
              <a:gd name="connsiteX108" fmla="*/ 8561515 w 8636594"/>
              <a:gd name="connsiteY108" fmla="*/ 62312 h 6121960"/>
              <a:gd name="connsiteX109" fmla="*/ 8598881 w 8636594"/>
              <a:gd name="connsiteY109" fmla="*/ 30951 h 6121960"/>
              <a:gd name="connsiteX110" fmla="*/ 8636594 w 8636594"/>
              <a:gd name="connsiteY110" fmla="*/ 0 h 6121960"/>
              <a:gd name="connsiteX0" fmla="*/ 8636594 w 8636594"/>
              <a:gd name="connsiteY0" fmla="*/ 0 h 6121960"/>
              <a:gd name="connsiteX1" fmla="*/ 5293 w 8636594"/>
              <a:gd name="connsiteY1" fmla="*/ 0 h 6121960"/>
              <a:gd name="connsiteX2" fmla="*/ 0 w 8636594"/>
              <a:gd name="connsiteY2" fmla="*/ 5587843 h 6121960"/>
              <a:gd name="connsiteX3" fmla="*/ 1594033 w 8636594"/>
              <a:gd name="connsiteY3" fmla="*/ 5600057 h 6121960"/>
              <a:gd name="connsiteX4" fmla="*/ 3638142 w 8636594"/>
              <a:gd name="connsiteY4" fmla="*/ 6121960 h 6121960"/>
              <a:gd name="connsiteX5" fmla="*/ 3680024 w 8636594"/>
              <a:gd name="connsiteY5" fmla="*/ 6099881 h 6121960"/>
              <a:gd name="connsiteX6" fmla="*/ 3721426 w 8636594"/>
              <a:gd name="connsiteY6" fmla="*/ 6077471 h 6121960"/>
              <a:gd name="connsiteX7" fmla="*/ 3762353 w 8636594"/>
              <a:gd name="connsiteY7" fmla="*/ 6054733 h 6121960"/>
              <a:gd name="connsiteX8" fmla="*/ 3802812 w 8636594"/>
              <a:gd name="connsiteY8" fmla="*/ 6031671 h 6121960"/>
              <a:gd name="connsiteX9" fmla="*/ 3842810 w 8636594"/>
              <a:gd name="connsiteY9" fmla="*/ 6008288 h 6121960"/>
              <a:gd name="connsiteX10" fmla="*/ 3882352 w 8636594"/>
              <a:gd name="connsiteY10" fmla="*/ 5984588 h 6121960"/>
              <a:gd name="connsiteX11" fmla="*/ 3921445 w 8636594"/>
              <a:gd name="connsiteY11" fmla="*/ 5960574 h 6121960"/>
              <a:gd name="connsiteX12" fmla="*/ 3960096 w 8636594"/>
              <a:gd name="connsiteY12" fmla="*/ 5936250 h 6121960"/>
              <a:gd name="connsiteX13" fmla="*/ 3998311 w 8636594"/>
              <a:gd name="connsiteY13" fmla="*/ 5911619 h 6121960"/>
              <a:gd name="connsiteX14" fmla="*/ 4036095 w 8636594"/>
              <a:gd name="connsiteY14" fmla="*/ 5886685 h 6121960"/>
              <a:gd name="connsiteX15" fmla="*/ 4073456 w 8636594"/>
              <a:gd name="connsiteY15" fmla="*/ 5861452 h 6121960"/>
              <a:gd name="connsiteX16" fmla="*/ 4110400 w 8636594"/>
              <a:gd name="connsiteY16" fmla="*/ 5835922 h 6121960"/>
              <a:gd name="connsiteX17" fmla="*/ 4146933 w 8636594"/>
              <a:gd name="connsiteY17" fmla="*/ 5810100 h 6121960"/>
              <a:gd name="connsiteX18" fmla="*/ 4183061 w 8636594"/>
              <a:gd name="connsiteY18" fmla="*/ 5783988 h 6121960"/>
              <a:gd name="connsiteX19" fmla="*/ 4218791 w 8636594"/>
              <a:gd name="connsiteY19" fmla="*/ 5757591 h 6121960"/>
              <a:gd name="connsiteX20" fmla="*/ 4254129 w 8636594"/>
              <a:gd name="connsiteY20" fmla="*/ 5730912 h 6121960"/>
              <a:gd name="connsiteX21" fmla="*/ 4289081 w 8636594"/>
              <a:gd name="connsiteY21" fmla="*/ 5703955 h 6121960"/>
              <a:gd name="connsiteX22" fmla="*/ 4323654 w 8636594"/>
              <a:gd name="connsiteY22" fmla="*/ 5676722 h 6121960"/>
              <a:gd name="connsiteX23" fmla="*/ 4357854 w 8636594"/>
              <a:gd name="connsiteY23" fmla="*/ 5649218 h 6121960"/>
              <a:gd name="connsiteX24" fmla="*/ 4391688 w 8636594"/>
              <a:gd name="connsiteY24" fmla="*/ 5621446 h 6121960"/>
              <a:gd name="connsiteX25" fmla="*/ 4425162 w 8636594"/>
              <a:gd name="connsiteY25" fmla="*/ 5593409 h 6121960"/>
              <a:gd name="connsiteX26" fmla="*/ 4458281 w 8636594"/>
              <a:gd name="connsiteY26" fmla="*/ 5565111 h 6121960"/>
              <a:gd name="connsiteX27" fmla="*/ 4491053 w 8636594"/>
              <a:gd name="connsiteY27" fmla="*/ 5536556 h 6121960"/>
              <a:gd name="connsiteX28" fmla="*/ 4523484 w 8636594"/>
              <a:gd name="connsiteY28" fmla="*/ 5507747 h 6121960"/>
              <a:gd name="connsiteX29" fmla="*/ 4555580 w 8636594"/>
              <a:gd name="connsiteY29" fmla="*/ 5478687 h 6121960"/>
              <a:gd name="connsiteX30" fmla="*/ 4587347 w 8636594"/>
              <a:gd name="connsiteY30" fmla="*/ 5449380 h 6121960"/>
              <a:gd name="connsiteX31" fmla="*/ 4618793 w 8636594"/>
              <a:gd name="connsiteY31" fmla="*/ 5419830 h 6121960"/>
              <a:gd name="connsiteX32" fmla="*/ 4649922 w 8636594"/>
              <a:gd name="connsiteY32" fmla="*/ 5390040 h 6121960"/>
              <a:gd name="connsiteX33" fmla="*/ 4680742 w 8636594"/>
              <a:gd name="connsiteY33" fmla="*/ 5360014 h 6121960"/>
              <a:gd name="connsiteX34" fmla="*/ 4711259 w 8636594"/>
              <a:gd name="connsiteY34" fmla="*/ 5329755 h 6121960"/>
              <a:gd name="connsiteX35" fmla="*/ 4741478 w 8636594"/>
              <a:gd name="connsiteY35" fmla="*/ 5299266 h 6121960"/>
              <a:gd name="connsiteX36" fmla="*/ 4771408 w 8636594"/>
              <a:gd name="connsiteY36" fmla="*/ 5268551 h 6121960"/>
              <a:gd name="connsiteX37" fmla="*/ 4801053 w 8636594"/>
              <a:gd name="connsiteY37" fmla="*/ 5237614 h 6121960"/>
              <a:gd name="connsiteX38" fmla="*/ 4830420 w 8636594"/>
              <a:gd name="connsiteY38" fmla="*/ 5206458 h 6121960"/>
              <a:gd name="connsiteX39" fmla="*/ 4859516 w 8636594"/>
              <a:gd name="connsiteY39" fmla="*/ 5175087 h 6121960"/>
              <a:gd name="connsiteX40" fmla="*/ 4888347 w 8636594"/>
              <a:gd name="connsiteY40" fmla="*/ 5143504 h 6121960"/>
              <a:gd name="connsiteX41" fmla="*/ 4916919 w 8636594"/>
              <a:gd name="connsiteY41" fmla="*/ 5111713 h 6121960"/>
              <a:gd name="connsiteX42" fmla="*/ 4945238 w 8636594"/>
              <a:gd name="connsiteY42" fmla="*/ 5079717 h 6121960"/>
              <a:gd name="connsiteX43" fmla="*/ 4973311 w 8636594"/>
              <a:gd name="connsiteY43" fmla="*/ 5047519 h 6121960"/>
              <a:gd name="connsiteX44" fmla="*/ 5001145 w 8636594"/>
              <a:gd name="connsiteY44" fmla="*/ 5015124 h 6121960"/>
              <a:gd name="connsiteX45" fmla="*/ 5028745 w 8636594"/>
              <a:gd name="connsiteY45" fmla="*/ 4982535 h 6121960"/>
              <a:gd name="connsiteX46" fmla="*/ 5056117 w 8636594"/>
              <a:gd name="connsiteY46" fmla="*/ 4949755 h 6121960"/>
              <a:gd name="connsiteX47" fmla="*/ 5083269 w 8636594"/>
              <a:gd name="connsiteY47" fmla="*/ 4916787 h 6121960"/>
              <a:gd name="connsiteX48" fmla="*/ 5110207 w 8636594"/>
              <a:gd name="connsiteY48" fmla="*/ 4883636 h 6121960"/>
              <a:gd name="connsiteX49" fmla="*/ 5136937 w 8636594"/>
              <a:gd name="connsiteY49" fmla="*/ 4850305 h 6121960"/>
              <a:gd name="connsiteX50" fmla="*/ 5163464 w 8636594"/>
              <a:gd name="connsiteY50" fmla="*/ 4816797 h 6121960"/>
              <a:gd name="connsiteX51" fmla="*/ 5215940 w 8636594"/>
              <a:gd name="connsiteY51" fmla="*/ 4749265 h 6121960"/>
              <a:gd name="connsiteX52" fmla="*/ 5267684 w 8636594"/>
              <a:gd name="connsiteY52" fmla="*/ 4681068 h 6121960"/>
              <a:gd name="connsiteX53" fmla="*/ 5318748 w 8636594"/>
              <a:gd name="connsiteY53" fmla="*/ 4612234 h 6121960"/>
              <a:gd name="connsiteX54" fmla="*/ 5369182 w 8636594"/>
              <a:gd name="connsiteY54" fmla="*/ 4542793 h 6121960"/>
              <a:gd name="connsiteX55" fmla="*/ 5419038 w 8636594"/>
              <a:gd name="connsiteY55" fmla="*/ 4472771 h 6121960"/>
              <a:gd name="connsiteX56" fmla="*/ 5468365 w 8636594"/>
              <a:gd name="connsiteY56" fmla="*/ 4402196 h 6121960"/>
              <a:gd name="connsiteX57" fmla="*/ 5517215 w 8636594"/>
              <a:gd name="connsiteY57" fmla="*/ 4331098 h 6121960"/>
              <a:gd name="connsiteX58" fmla="*/ 5565637 w 8636594"/>
              <a:gd name="connsiteY58" fmla="*/ 4259503 h 6121960"/>
              <a:gd name="connsiteX59" fmla="*/ 5613684 w 8636594"/>
              <a:gd name="connsiteY59" fmla="*/ 4187441 h 6121960"/>
              <a:gd name="connsiteX60" fmla="*/ 5685160 w 8636594"/>
              <a:gd name="connsiteY60" fmla="*/ 4078531 h 6121960"/>
              <a:gd name="connsiteX61" fmla="*/ 5756074 w 8636594"/>
              <a:gd name="connsiteY61" fmla="*/ 3968727 h 6121960"/>
              <a:gd name="connsiteX62" fmla="*/ 5873483 w 8636594"/>
              <a:gd name="connsiteY62" fmla="*/ 3783989 h 6121960"/>
              <a:gd name="connsiteX63" fmla="*/ 6203209 w 8636594"/>
              <a:gd name="connsiteY63" fmla="*/ 3258640 h 6121960"/>
              <a:gd name="connsiteX64" fmla="*/ 6299430 w 8636594"/>
              <a:gd name="connsiteY64" fmla="*/ 3107321 h 6121960"/>
              <a:gd name="connsiteX65" fmla="*/ 6372650 w 8636594"/>
              <a:gd name="connsiteY65" fmla="*/ 2993735 h 6121960"/>
              <a:gd name="connsiteX66" fmla="*/ 6453197 w 8636594"/>
              <a:gd name="connsiteY66" fmla="*/ 2869788 h 6121960"/>
              <a:gd name="connsiteX67" fmla="*/ 6564167 w 8636594"/>
              <a:gd name="connsiteY67" fmla="*/ 2696807 h 6121960"/>
              <a:gd name="connsiteX68" fmla="*/ 6976233 w 8636594"/>
              <a:gd name="connsiteY68" fmla="*/ 2045274 h 6121960"/>
              <a:gd name="connsiteX69" fmla="*/ 7086755 w 8636594"/>
              <a:gd name="connsiteY69" fmla="*/ 1872743 h 6121960"/>
              <a:gd name="connsiteX70" fmla="*/ 7170279 w 8636594"/>
              <a:gd name="connsiteY70" fmla="*/ 1744202 h 6121960"/>
              <a:gd name="connsiteX71" fmla="*/ 7226351 w 8636594"/>
              <a:gd name="connsiteY71" fmla="*/ 1659017 h 6121960"/>
              <a:gd name="connsiteX72" fmla="*/ 7282789 w 8636594"/>
              <a:gd name="connsiteY72" fmla="*/ 1574303 h 6121960"/>
              <a:gd name="connsiteX73" fmla="*/ 7339643 w 8636594"/>
              <a:gd name="connsiteY73" fmla="*/ 1490113 h 6121960"/>
              <a:gd name="connsiteX74" fmla="*/ 7396957 w 8636594"/>
              <a:gd name="connsiteY74" fmla="*/ 1406503 h 6121960"/>
              <a:gd name="connsiteX75" fmla="*/ 7454781 w 8636594"/>
              <a:gd name="connsiteY75" fmla="*/ 1323526 h 6121960"/>
              <a:gd name="connsiteX76" fmla="*/ 7513161 w 8636594"/>
              <a:gd name="connsiteY76" fmla="*/ 1241237 h 6121960"/>
              <a:gd name="connsiteX77" fmla="*/ 7572144 w 8636594"/>
              <a:gd name="connsiteY77" fmla="*/ 1159689 h 6121960"/>
              <a:gd name="connsiteX78" fmla="*/ 7601877 w 8636594"/>
              <a:gd name="connsiteY78" fmla="*/ 1119210 h 6121960"/>
              <a:gd name="connsiteX79" fmla="*/ 7631779 w 8636594"/>
              <a:gd name="connsiteY79" fmla="*/ 1078937 h 6121960"/>
              <a:gd name="connsiteX80" fmla="*/ 7661855 w 8636594"/>
              <a:gd name="connsiteY80" fmla="*/ 1038876 h 6121960"/>
              <a:gd name="connsiteX81" fmla="*/ 7692111 w 8636594"/>
              <a:gd name="connsiteY81" fmla="*/ 999035 h 6121960"/>
              <a:gd name="connsiteX82" fmla="*/ 7722554 w 8636594"/>
              <a:gd name="connsiteY82" fmla="*/ 959419 h 6121960"/>
              <a:gd name="connsiteX83" fmla="*/ 7753190 w 8636594"/>
              <a:gd name="connsiteY83" fmla="*/ 920037 h 6121960"/>
              <a:gd name="connsiteX84" fmla="*/ 7784023 w 8636594"/>
              <a:gd name="connsiteY84" fmla="*/ 880894 h 6121960"/>
              <a:gd name="connsiteX85" fmla="*/ 7815061 w 8636594"/>
              <a:gd name="connsiteY85" fmla="*/ 841997 h 6121960"/>
              <a:gd name="connsiteX86" fmla="*/ 7846308 w 8636594"/>
              <a:gd name="connsiteY86" fmla="*/ 803354 h 6121960"/>
              <a:gd name="connsiteX87" fmla="*/ 7877772 w 8636594"/>
              <a:gd name="connsiteY87" fmla="*/ 764970 h 6121960"/>
              <a:gd name="connsiteX88" fmla="*/ 7909458 w 8636594"/>
              <a:gd name="connsiteY88" fmla="*/ 726853 h 6121960"/>
              <a:gd name="connsiteX89" fmla="*/ 7941371 w 8636594"/>
              <a:gd name="connsiteY89" fmla="*/ 689010 h 6121960"/>
              <a:gd name="connsiteX90" fmla="*/ 7973518 w 8636594"/>
              <a:gd name="connsiteY90" fmla="*/ 651447 h 6121960"/>
              <a:gd name="connsiteX91" fmla="*/ 8005905 w 8636594"/>
              <a:gd name="connsiteY91" fmla="*/ 614171 h 6121960"/>
              <a:gd name="connsiteX92" fmla="*/ 8038538 w 8636594"/>
              <a:gd name="connsiteY92" fmla="*/ 577189 h 6121960"/>
              <a:gd name="connsiteX93" fmla="*/ 8071421 w 8636594"/>
              <a:gd name="connsiteY93" fmla="*/ 540507 h 6121960"/>
              <a:gd name="connsiteX94" fmla="*/ 8104563 w 8636594"/>
              <a:gd name="connsiteY94" fmla="*/ 504132 h 6121960"/>
              <a:gd name="connsiteX95" fmla="*/ 8137967 w 8636594"/>
              <a:gd name="connsiteY95" fmla="*/ 468072 h 6121960"/>
              <a:gd name="connsiteX96" fmla="*/ 8171641 w 8636594"/>
              <a:gd name="connsiteY96" fmla="*/ 432332 h 6121960"/>
              <a:gd name="connsiteX97" fmla="*/ 8205590 w 8636594"/>
              <a:gd name="connsiteY97" fmla="*/ 396920 h 6121960"/>
              <a:gd name="connsiteX98" fmla="*/ 8239820 w 8636594"/>
              <a:gd name="connsiteY98" fmla="*/ 361843 h 6121960"/>
              <a:gd name="connsiteX99" fmla="*/ 8274337 w 8636594"/>
              <a:gd name="connsiteY99" fmla="*/ 327107 h 6121960"/>
              <a:gd name="connsiteX100" fmla="*/ 8309147 w 8636594"/>
              <a:gd name="connsiteY100" fmla="*/ 292718 h 6121960"/>
              <a:gd name="connsiteX101" fmla="*/ 8344256 w 8636594"/>
              <a:gd name="connsiteY101" fmla="*/ 258685 h 6121960"/>
              <a:gd name="connsiteX102" fmla="*/ 8379669 w 8636594"/>
              <a:gd name="connsiteY102" fmla="*/ 225013 h 6121960"/>
              <a:gd name="connsiteX103" fmla="*/ 8415394 w 8636594"/>
              <a:gd name="connsiteY103" fmla="*/ 191709 h 6121960"/>
              <a:gd name="connsiteX104" fmla="*/ 8451434 w 8636594"/>
              <a:gd name="connsiteY104" fmla="*/ 158780 h 6121960"/>
              <a:gd name="connsiteX105" fmla="*/ 8487798 w 8636594"/>
              <a:gd name="connsiteY105" fmla="*/ 126233 h 6121960"/>
              <a:gd name="connsiteX106" fmla="*/ 8524489 w 8636594"/>
              <a:gd name="connsiteY106" fmla="*/ 94075 h 6121960"/>
              <a:gd name="connsiteX107" fmla="*/ 8561515 w 8636594"/>
              <a:gd name="connsiteY107" fmla="*/ 62312 h 6121960"/>
              <a:gd name="connsiteX108" fmla="*/ 8598881 w 8636594"/>
              <a:gd name="connsiteY108" fmla="*/ 30951 h 6121960"/>
              <a:gd name="connsiteX109" fmla="*/ 8636594 w 8636594"/>
              <a:gd name="connsiteY109" fmla="*/ 0 h 6121960"/>
              <a:gd name="connsiteX0" fmla="*/ 8636594 w 8636594"/>
              <a:gd name="connsiteY0" fmla="*/ 0 h 6121960"/>
              <a:gd name="connsiteX1" fmla="*/ 5293 w 8636594"/>
              <a:gd name="connsiteY1" fmla="*/ 0 h 6121960"/>
              <a:gd name="connsiteX2" fmla="*/ 0 w 8636594"/>
              <a:gd name="connsiteY2" fmla="*/ 5587843 h 6121960"/>
              <a:gd name="connsiteX3" fmla="*/ 3638142 w 8636594"/>
              <a:gd name="connsiteY3" fmla="*/ 6121960 h 6121960"/>
              <a:gd name="connsiteX4" fmla="*/ 3680024 w 8636594"/>
              <a:gd name="connsiteY4" fmla="*/ 6099881 h 6121960"/>
              <a:gd name="connsiteX5" fmla="*/ 3721426 w 8636594"/>
              <a:gd name="connsiteY5" fmla="*/ 6077471 h 6121960"/>
              <a:gd name="connsiteX6" fmla="*/ 3762353 w 8636594"/>
              <a:gd name="connsiteY6" fmla="*/ 6054733 h 6121960"/>
              <a:gd name="connsiteX7" fmla="*/ 3802812 w 8636594"/>
              <a:gd name="connsiteY7" fmla="*/ 6031671 h 6121960"/>
              <a:gd name="connsiteX8" fmla="*/ 3842810 w 8636594"/>
              <a:gd name="connsiteY8" fmla="*/ 6008288 h 6121960"/>
              <a:gd name="connsiteX9" fmla="*/ 3882352 w 8636594"/>
              <a:gd name="connsiteY9" fmla="*/ 5984588 h 6121960"/>
              <a:gd name="connsiteX10" fmla="*/ 3921445 w 8636594"/>
              <a:gd name="connsiteY10" fmla="*/ 5960574 h 6121960"/>
              <a:gd name="connsiteX11" fmla="*/ 3960096 w 8636594"/>
              <a:gd name="connsiteY11" fmla="*/ 5936250 h 6121960"/>
              <a:gd name="connsiteX12" fmla="*/ 3998311 w 8636594"/>
              <a:gd name="connsiteY12" fmla="*/ 5911619 h 6121960"/>
              <a:gd name="connsiteX13" fmla="*/ 4036095 w 8636594"/>
              <a:gd name="connsiteY13" fmla="*/ 5886685 h 6121960"/>
              <a:gd name="connsiteX14" fmla="*/ 4073456 w 8636594"/>
              <a:gd name="connsiteY14" fmla="*/ 5861452 h 6121960"/>
              <a:gd name="connsiteX15" fmla="*/ 4110400 w 8636594"/>
              <a:gd name="connsiteY15" fmla="*/ 5835922 h 6121960"/>
              <a:gd name="connsiteX16" fmla="*/ 4146933 w 8636594"/>
              <a:gd name="connsiteY16" fmla="*/ 5810100 h 6121960"/>
              <a:gd name="connsiteX17" fmla="*/ 4183061 w 8636594"/>
              <a:gd name="connsiteY17" fmla="*/ 5783988 h 6121960"/>
              <a:gd name="connsiteX18" fmla="*/ 4218791 w 8636594"/>
              <a:gd name="connsiteY18" fmla="*/ 5757591 h 6121960"/>
              <a:gd name="connsiteX19" fmla="*/ 4254129 w 8636594"/>
              <a:gd name="connsiteY19" fmla="*/ 5730912 h 6121960"/>
              <a:gd name="connsiteX20" fmla="*/ 4289081 w 8636594"/>
              <a:gd name="connsiteY20" fmla="*/ 5703955 h 6121960"/>
              <a:gd name="connsiteX21" fmla="*/ 4323654 w 8636594"/>
              <a:gd name="connsiteY21" fmla="*/ 5676722 h 6121960"/>
              <a:gd name="connsiteX22" fmla="*/ 4357854 w 8636594"/>
              <a:gd name="connsiteY22" fmla="*/ 5649218 h 6121960"/>
              <a:gd name="connsiteX23" fmla="*/ 4391688 w 8636594"/>
              <a:gd name="connsiteY23" fmla="*/ 5621446 h 6121960"/>
              <a:gd name="connsiteX24" fmla="*/ 4425162 w 8636594"/>
              <a:gd name="connsiteY24" fmla="*/ 5593409 h 6121960"/>
              <a:gd name="connsiteX25" fmla="*/ 4458281 w 8636594"/>
              <a:gd name="connsiteY25" fmla="*/ 5565111 h 6121960"/>
              <a:gd name="connsiteX26" fmla="*/ 4491053 w 8636594"/>
              <a:gd name="connsiteY26" fmla="*/ 5536556 h 6121960"/>
              <a:gd name="connsiteX27" fmla="*/ 4523484 w 8636594"/>
              <a:gd name="connsiteY27" fmla="*/ 5507747 h 6121960"/>
              <a:gd name="connsiteX28" fmla="*/ 4555580 w 8636594"/>
              <a:gd name="connsiteY28" fmla="*/ 5478687 h 6121960"/>
              <a:gd name="connsiteX29" fmla="*/ 4587347 w 8636594"/>
              <a:gd name="connsiteY29" fmla="*/ 5449380 h 6121960"/>
              <a:gd name="connsiteX30" fmla="*/ 4618793 w 8636594"/>
              <a:gd name="connsiteY30" fmla="*/ 5419830 h 6121960"/>
              <a:gd name="connsiteX31" fmla="*/ 4649922 w 8636594"/>
              <a:gd name="connsiteY31" fmla="*/ 5390040 h 6121960"/>
              <a:gd name="connsiteX32" fmla="*/ 4680742 w 8636594"/>
              <a:gd name="connsiteY32" fmla="*/ 5360014 h 6121960"/>
              <a:gd name="connsiteX33" fmla="*/ 4711259 w 8636594"/>
              <a:gd name="connsiteY33" fmla="*/ 5329755 h 6121960"/>
              <a:gd name="connsiteX34" fmla="*/ 4741478 w 8636594"/>
              <a:gd name="connsiteY34" fmla="*/ 5299266 h 6121960"/>
              <a:gd name="connsiteX35" fmla="*/ 4771408 w 8636594"/>
              <a:gd name="connsiteY35" fmla="*/ 5268551 h 6121960"/>
              <a:gd name="connsiteX36" fmla="*/ 4801053 w 8636594"/>
              <a:gd name="connsiteY36" fmla="*/ 5237614 h 6121960"/>
              <a:gd name="connsiteX37" fmla="*/ 4830420 w 8636594"/>
              <a:gd name="connsiteY37" fmla="*/ 5206458 h 6121960"/>
              <a:gd name="connsiteX38" fmla="*/ 4859516 w 8636594"/>
              <a:gd name="connsiteY38" fmla="*/ 5175087 h 6121960"/>
              <a:gd name="connsiteX39" fmla="*/ 4888347 w 8636594"/>
              <a:gd name="connsiteY39" fmla="*/ 5143504 h 6121960"/>
              <a:gd name="connsiteX40" fmla="*/ 4916919 w 8636594"/>
              <a:gd name="connsiteY40" fmla="*/ 5111713 h 6121960"/>
              <a:gd name="connsiteX41" fmla="*/ 4945238 w 8636594"/>
              <a:gd name="connsiteY41" fmla="*/ 5079717 h 6121960"/>
              <a:gd name="connsiteX42" fmla="*/ 4973311 w 8636594"/>
              <a:gd name="connsiteY42" fmla="*/ 5047519 h 6121960"/>
              <a:gd name="connsiteX43" fmla="*/ 5001145 w 8636594"/>
              <a:gd name="connsiteY43" fmla="*/ 5015124 h 6121960"/>
              <a:gd name="connsiteX44" fmla="*/ 5028745 w 8636594"/>
              <a:gd name="connsiteY44" fmla="*/ 4982535 h 6121960"/>
              <a:gd name="connsiteX45" fmla="*/ 5056117 w 8636594"/>
              <a:gd name="connsiteY45" fmla="*/ 4949755 h 6121960"/>
              <a:gd name="connsiteX46" fmla="*/ 5083269 w 8636594"/>
              <a:gd name="connsiteY46" fmla="*/ 4916787 h 6121960"/>
              <a:gd name="connsiteX47" fmla="*/ 5110207 w 8636594"/>
              <a:gd name="connsiteY47" fmla="*/ 4883636 h 6121960"/>
              <a:gd name="connsiteX48" fmla="*/ 5136937 w 8636594"/>
              <a:gd name="connsiteY48" fmla="*/ 4850305 h 6121960"/>
              <a:gd name="connsiteX49" fmla="*/ 5163464 w 8636594"/>
              <a:gd name="connsiteY49" fmla="*/ 4816797 h 6121960"/>
              <a:gd name="connsiteX50" fmla="*/ 5215940 w 8636594"/>
              <a:gd name="connsiteY50" fmla="*/ 4749265 h 6121960"/>
              <a:gd name="connsiteX51" fmla="*/ 5267684 w 8636594"/>
              <a:gd name="connsiteY51" fmla="*/ 4681068 h 6121960"/>
              <a:gd name="connsiteX52" fmla="*/ 5318748 w 8636594"/>
              <a:gd name="connsiteY52" fmla="*/ 4612234 h 6121960"/>
              <a:gd name="connsiteX53" fmla="*/ 5369182 w 8636594"/>
              <a:gd name="connsiteY53" fmla="*/ 4542793 h 6121960"/>
              <a:gd name="connsiteX54" fmla="*/ 5419038 w 8636594"/>
              <a:gd name="connsiteY54" fmla="*/ 4472771 h 6121960"/>
              <a:gd name="connsiteX55" fmla="*/ 5468365 w 8636594"/>
              <a:gd name="connsiteY55" fmla="*/ 4402196 h 6121960"/>
              <a:gd name="connsiteX56" fmla="*/ 5517215 w 8636594"/>
              <a:gd name="connsiteY56" fmla="*/ 4331098 h 6121960"/>
              <a:gd name="connsiteX57" fmla="*/ 5565637 w 8636594"/>
              <a:gd name="connsiteY57" fmla="*/ 4259503 h 6121960"/>
              <a:gd name="connsiteX58" fmla="*/ 5613684 w 8636594"/>
              <a:gd name="connsiteY58" fmla="*/ 4187441 h 6121960"/>
              <a:gd name="connsiteX59" fmla="*/ 5685160 w 8636594"/>
              <a:gd name="connsiteY59" fmla="*/ 4078531 h 6121960"/>
              <a:gd name="connsiteX60" fmla="*/ 5756074 w 8636594"/>
              <a:gd name="connsiteY60" fmla="*/ 3968727 h 6121960"/>
              <a:gd name="connsiteX61" fmla="*/ 5873483 w 8636594"/>
              <a:gd name="connsiteY61" fmla="*/ 3783989 h 6121960"/>
              <a:gd name="connsiteX62" fmla="*/ 6203209 w 8636594"/>
              <a:gd name="connsiteY62" fmla="*/ 3258640 h 6121960"/>
              <a:gd name="connsiteX63" fmla="*/ 6299430 w 8636594"/>
              <a:gd name="connsiteY63" fmla="*/ 3107321 h 6121960"/>
              <a:gd name="connsiteX64" fmla="*/ 6372650 w 8636594"/>
              <a:gd name="connsiteY64" fmla="*/ 2993735 h 6121960"/>
              <a:gd name="connsiteX65" fmla="*/ 6453197 w 8636594"/>
              <a:gd name="connsiteY65" fmla="*/ 2869788 h 6121960"/>
              <a:gd name="connsiteX66" fmla="*/ 6564167 w 8636594"/>
              <a:gd name="connsiteY66" fmla="*/ 2696807 h 6121960"/>
              <a:gd name="connsiteX67" fmla="*/ 6976233 w 8636594"/>
              <a:gd name="connsiteY67" fmla="*/ 2045274 h 6121960"/>
              <a:gd name="connsiteX68" fmla="*/ 7086755 w 8636594"/>
              <a:gd name="connsiteY68" fmla="*/ 1872743 h 6121960"/>
              <a:gd name="connsiteX69" fmla="*/ 7170279 w 8636594"/>
              <a:gd name="connsiteY69" fmla="*/ 1744202 h 6121960"/>
              <a:gd name="connsiteX70" fmla="*/ 7226351 w 8636594"/>
              <a:gd name="connsiteY70" fmla="*/ 1659017 h 6121960"/>
              <a:gd name="connsiteX71" fmla="*/ 7282789 w 8636594"/>
              <a:gd name="connsiteY71" fmla="*/ 1574303 h 6121960"/>
              <a:gd name="connsiteX72" fmla="*/ 7339643 w 8636594"/>
              <a:gd name="connsiteY72" fmla="*/ 1490113 h 6121960"/>
              <a:gd name="connsiteX73" fmla="*/ 7396957 w 8636594"/>
              <a:gd name="connsiteY73" fmla="*/ 1406503 h 6121960"/>
              <a:gd name="connsiteX74" fmla="*/ 7454781 w 8636594"/>
              <a:gd name="connsiteY74" fmla="*/ 1323526 h 6121960"/>
              <a:gd name="connsiteX75" fmla="*/ 7513161 w 8636594"/>
              <a:gd name="connsiteY75" fmla="*/ 1241237 h 6121960"/>
              <a:gd name="connsiteX76" fmla="*/ 7572144 w 8636594"/>
              <a:gd name="connsiteY76" fmla="*/ 1159689 h 6121960"/>
              <a:gd name="connsiteX77" fmla="*/ 7601877 w 8636594"/>
              <a:gd name="connsiteY77" fmla="*/ 1119210 h 6121960"/>
              <a:gd name="connsiteX78" fmla="*/ 7631779 w 8636594"/>
              <a:gd name="connsiteY78" fmla="*/ 1078937 h 6121960"/>
              <a:gd name="connsiteX79" fmla="*/ 7661855 w 8636594"/>
              <a:gd name="connsiteY79" fmla="*/ 1038876 h 6121960"/>
              <a:gd name="connsiteX80" fmla="*/ 7692111 w 8636594"/>
              <a:gd name="connsiteY80" fmla="*/ 999035 h 6121960"/>
              <a:gd name="connsiteX81" fmla="*/ 7722554 w 8636594"/>
              <a:gd name="connsiteY81" fmla="*/ 959419 h 6121960"/>
              <a:gd name="connsiteX82" fmla="*/ 7753190 w 8636594"/>
              <a:gd name="connsiteY82" fmla="*/ 920037 h 6121960"/>
              <a:gd name="connsiteX83" fmla="*/ 7784023 w 8636594"/>
              <a:gd name="connsiteY83" fmla="*/ 880894 h 6121960"/>
              <a:gd name="connsiteX84" fmla="*/ 7815061 w 8636594"/>
              <a:gd name="connsiteY84" fmla="*/ 841997 h 6121960"/>
              <a:gd name="connsiteX85" fmla="*/ 7846308 w 8636594"/>
              <a:gd name="connsiteY85" fmla="*/ 803354 h 6121960"/>
              <a:gd name="connsiteX86" fmla="*/ 7877772 w 8636594"/>
              <a:gd name="connsiteY86" fmla="*/ 764970 h 6121960"/>
              <a:gd name="connsiteX87" fmla="*/ 7909458 w 8636594"/>
              <a:gd name="connsiteY87" fmla="*/ 726853 h 6121960"/>
              <a:gd name="connsiteX88" fmla="*/ 7941371 w 8636594"/>
              <a:gd name="connsiteY88" fmla="*/ 689010 h 6121960"/>
              <a:gd name="connsiteX89" fmla="*/ 7973518 w 8636594"/>
              <a:gd name="connsiteY89" fmla="*/ 651447 h 6121960"/>
              <a:gd name="connsiteX90" fmla="*/ 8005905 w 8636594"/>
              <a:gd name="connsiteY90" fmla="*/ 614171 h 6121960"/>
              <a:gd name="connsiteX91" fmla="*/ 8038538 w 8636594"/>
              <a:gd name="connsiteY91" fmla="*/ 577189 h 6121960"/>
              <a:gd name="connsiteX92" fmla="*/ 8071421 w 8636594"/>
              <a:gd name="connsiteY92" fmla="*/ 540507 h 6121960"/>
              <a:gd name="connsiteX93" fmla="*/ 8104563 w 8636594"/>
              <a:gd name="connsiteY93" fmla="*/ 504132 h 6121960"/>
              <a:gd name="connsiteX94" fmla="*/ 8137967 w 8636594"/>
              <a:gd name="connsiteY94" fmla="*/ 468072 h 6121960"/>
              <a:gd name="connsiteX95" fmla="*/ 8171641 w 8636594"/>
              <a:gd name="connsiteY95" fmla="*/ 432332 h 6121960"/>
              <a:gd name="connsiteX96" fmla="*/ 8205590 w 8636594"/>
              <a:gd name="connsiteY96" fmla="*/ 396920 h 6121960"/>
              <a:gd name="connsiteX97" fmla="*/ 8239820 w 8636594"/>
              <a:gd name="connsiteY97" fmla="*/ 361843 h 6121960"/>
              <a:gd name="connsiteX98" fmla="*/ 8274337 w 8636594"/>
              <a:gd name="connsiteY98" fmla="*/ 327107 h 6121960"/>
              <a:gd name="connsiteX99" fmla="*/ 8309147 w 8636594"/>
              <a:gd name="connsiteY99" fmla="*/ 292718 h 6121960"/>
              <a:gd name="connsiteX100" fmla="*/ 8344256 w 8636594"/>
              <a:gd name="connsiteY100" fmla="*/ 258685 h 6121960"/>
              <a:gd name="connsiteX101" fmla="*/ 8379669 w 8636594"/>
              <a:gd name="connsiteY101" fmla="*/ 225013 h 6121960"/>
              <a:gd name="connsiteX102" fmla="*/ 8415394 w 8636594"/>
              <a:gd name="connsiteY102" fmla="*/ 191709 h 6121960"/>
              <a:gd name="connsiteX103" fmla="*/ 8451434 w 8636594"/>
              <a:gd name="connsiteY103" fmla="*/ 158780 h 6121960"/>
              <a:gd name="connsiteX104" fmla="*/ 8487798 w 8636594"/>
              <a:gd name="connsiteY104" fmla="*/ 126233 h 6121960"/>
              <a:gd name="connsiteX105" fmla="*/ 8524489 w 8636594"/>
              <a:gd name="connsiteY105" fmla="*/ 94075 h 6121960"/>
              <a:gd name="connsiteX106" fmla="*/ 8561515 w 8636594"/>
              <a:gd name="connsiteY106" fmla="*/ 62312 h 6121960"/>
              <a:gd name="connsiteX107" fmla="*/ 8598881 w 8636594"/>
              <a:gd name="connsiteY107" fmla="*/ 30951 h 6121960"/>
              <a:gd name="connsiteX108" fmla="*/ 8636594 w 8636594"/>
              <a:gd name="connsiteY108" fmla="*/ 0 h 6121960"/>
              <a:gd name="connsiteX0" fmla="*/ 8636594 w 8636594"/>
              <a:gd name="connsiteY0" fmla="*/ 0 h 6099881"/>
              <a:gd name="connsiteX1" fmla="*/ 5293 w 8636594"/>
              <a:gd name="connsiteY1" fmla="*/ 0 h 6099881"/>
              <a:gd name="connsiteX2" fmla="*/ 0 w 8636594"/>
              <a:gd name="connsiteY2" fmla="*/ 5587843 h 6099881"/>
              <a:gd name="connsiteX3" fmla="*/ 3680024 w 8636594"/>
              <a:gd name="connsiteY3" fmla="*/ 6099881 h 6099881"/>
              <a:gd name="connsiteX4" fmla="*/ 3721426 w 8636594"/>
              <a:gd name="connsiteY4" fmla="*/ 6077471 h 6099881"/>
              <a:gd name="connsiteX5" fmla="*/ 3762353 w 8636594"/>
              <a:gd name="connsiteY5" fmla="*/ 6054733 h 6099881"/>
              <a:gd name="connsiteX6" fmla="*/ 3802812 w 8636594"/>
              <a:gd name="connsiteY6" fmla="*/ 6031671 h 6099881"/>
              <a:gd name="connsiteX7" fmla="*/ 3842810 w 8636594"/>
              <a:gd name="connsiteY7" fmla="*/ 6008288 h 6099881"/>
              <a:gd name="connsiteX8" fmla="*/ 3882352 w 8636594"/>
              <a:gd name="connsiteY8" fmla="*/ 5984588 h 6099881"/>
              <a:gd name="connsiteX9" fmla="*/ 3921445 w 8636594"/>
              <a:gd name="connsiteY9" fmla="*/ 5960574 h 6099881"/>
              <a:gd name="connsiteX10" fmla="*/ 3960096 w 8636594"/>
              <a:gd name="connsiteY10" fmla="*/ 5936250 h 6099881"/>
              <a:gd name="connsiteX11" fmla="*/ 3998311 w 8636594"/>
              <a:gd name="connsiteY11" fmla="*/ 5911619 h 6099881"/>
              <a:gd name="connsiteX12" fmla="*/ 4036095 w 8636594"/>
              <a:gd name="connsiteY12" fmla="*/ 5886685 h 6099881"/>
              <a:gd name="connsiteX13" fmla="*/ 4073456 w 8636594"/>
              <a:gd name="connsiteY13" fmla="*/ 5861452 h 6099881"/>
              <a:gd name="connsiteX14" fmla="*/ 4110400 w 8636594"/>
              <a:gd name="connsiteY14" fmla="*/ 5835922 h 6099881"/>
              <a:gd name="connsiteX15" fmla="*/ 4146933 w 8636594"/>
              <a:gd name="connsiteY15" fmla="*/ 5810100 h 6099881"/>
              <a:gd name="connsiteX16" fmla="*/ 4183061 w 8636594"/>
              <a:gd name="connsiteY16" fmla="*/ 5783988 h 6099881"/>
              <a:gd name="connsiteX17" fmla="*/ 4218791 w 8636594"/>
              <a:gd name="connsiteY17" fmla="*/ 5757591 h 6099881"/>
              <a:gd name="connsiteX18" fmla="*/ 4254129 w 8636594"/>
              <a:gd name="connsiteY18" fmla="*/ 5730912 h 6099881"/>
              <a:gd name="connsiteX19" fmla="*/ 4289081 w 8636594"/>
              <a:gd name="connsiteY19" fmla="*/ 5703955 h 6099881"/>
              <a:gd name="connsiteX20" fmla="*/ 4323654 w 8636594"/>
              <a:gd name="connsiteY20" fmla="*/ 5676722 h 6099881"/>
              <a:gd name="connsiteX21" fmla="*/ 4357854 w 8636594"/>
              <a:gd name="connsiteY21" fmla="*/ 5649218 h 6099881"/>
              <a:gd name="connsiteX22" fmla="*/ 4391688 w 8636594"/>
              <a:gd name="connsiteY22" fmla="*/ 5621446 h 6099881"/>
              <a:gd name="connsiteX23" fmla="*/ 4425162 w 8636594"/>
              <a:gd name="connsiteY23" fmla="*/ 5593409 h 6099881"/>
              <a:gd name="connsiteX24" fmla="*/ 4458281 w 8636594"/>
              <a:gd name="connsiteY24" fmla="*/ 5565111 h 6099881"/>
              <a:gd name="connsiteX25" fmla="*/ 4491053 w 8636594"/>
              <a:gd name="connsiteY25" fmla="*/ 5536556 h 6099881"/>
              <a:gd name="connsiteX26" fmla="*/ 4523484 w 8636594"/>
              <a:gd name="connsiteY26" fmla="*/ 5507747 h 6099881"/>
              <a:gd name="connsiteX27" fmla="*/ 4555580 w 8636594"/>
              <a:gd name="connsiteY27" fmla="*/ 5478687 h 6099881"/>
              <a:gd name="connsiteX28" fmla="*/ 4587347 w 8636594"/>
              <a:gd name="connsiteY28" fmla="*/ 5449380 h 6099881"/>
              <a:gd name="connsiteX29" fmla="*/ 4618793 w 8636594"/>
              <a:gd name="connsiteY29" fmla="*/ 5419830 h 6099881"/>
              <a:gd name="connsiteX30" fmla="*/ 4649922 w 8636594"/>
              <a:gd name="connsiteY30" fmla="*/ 5390040 h 6099881"/>
              <a:gd name="connsiteX31" fmla="*/ 4680742 w 8636594"/>
              <a:gd name="connsiteY31" fmla="*/ 5360014 h 6099881"/>
              <a:gd name="connsiteX32" fmla="*/ 4711259 w 8636594"/>
              <a:gd name="connsiteY32" fmla="*/ 5329755 h 6099881"/>
              <a:gd name="connsiteX33" fmla="*/ 4741478 w 8636594"/>
              <a:gd name="connsiteY33" fmla="*/ 5299266 h 6099881"/>
              <a:gd name="connsiteX34" fmla="*/ 4771408 w 8636594"/>
              <a:gd name="connsiteY34" fmla="*/ 5268551 h 6099881"/>
              <a:gd name="connsiteX35" fmla="*/ 4801053 w 8636594"/>
              <a:gd name="connsiteY35" fmla="*/ 5237614 h 6099881"/>
              <a:gd name="connsiteX36" fmla="*/ 4830420 w 8636594"/>
              <a:gd name="connsiteY36" fmla="*/ 5206458 h 6099881"/>
              <a:gd name="connsiteX37" fmla="*/ 4859516 w 8636594"/>
              <a:gd name="connsiteY37" fmla="*/ 5175087 h 6099881"/>
              <a:gd name="connsiteX38" fmla="*/ 4888347 w 8636594"/>
              <a:gd name="connsiteY38" fmla="*/ 5143504 h 6099881"/>
              <a:gd name="connsiteX39" fmla="*/ 4916919 w 8636594"/>
              <a:gd name="connsiteY39" fmla="*/ 5111713 h 6099881"/>
              <a:gd name="connsiteX40" fmla="*/ 4945238 w 8636594"/>
              <a:gd name="connsiteY40" fmla="*/ 5079717 h 6099881"/>
              <a:gd name="connsiteX41" fmla="*/ 4973311 w 8636594"/>
              <a:gd name="connsiteY41" fmla="*/ 5047519 h 6099881"/>
              <a:gd name="connsiteX42" fmla="*/ 5001145 w 8636594"/>
              <a:gd name="connsiteY42" fmla="*/ 5015124 h 6099881"/>
              <a:gd name="connsiteX43" fmla="*/ 5028745 w 8636594"/>
              <a:gd name="connsiteY43" fmla="*/ 4982535 h 6099881"/>
              <a:gd name="connsiteX44" fmla="*/ 5056117 w 8636594"/>
              <a:gd name="connsiteY44" fmla="*/ 4949755 h 6099881"/>
              <a:gd name="connsiteX45" fmla="*/ 5083269 w 8636594"/>
              <a:gd name="connsiteY45" fmla="*/ 4916787 h 6099881"/>
              <a:gd name="connsiteX46" fmla="*/ 5110207 w 8636594"/>
              <a:gd name="connsiteY46" fmla="*/ 4883636 h 6099881"/>
              <a:gd name="connsiteX47" fmla="*/ 5136937 w 8636594"/>
              <a:gd name="connsiteY47" fmla="*/ 4850305 h 6099881"/>
              <a:gd name="connsiteX48" fmla="*/ 5163464 w 8636594"/>
              <a:gd name="connsiteY48" fmla="*/ 4816797 h 6099881"/>
              <a:gd name="connsiteX49" fmla="*/ 5215940 w 8636594"/>
              <a:gd name="connsiteY49" fmla="*/ 4749265 h 6099881"/>
              <a:gd name="connsiteX50" fmla="*/ 5267684 w 8636594"/>
              <a:gd name="connsiteY50" fmla="*/ 4681068 h 6099881"/>
              <a:gd name="connsiteX51" fmla="*/ 5318748 w 8636594"/>
              <a:gd name="connsiteY51" fmla="*/ 4612234 h 6099881"/>
              <a:gd name="connsiteX52" fmla="*/ 5369182 w 8636594"/>
              <a:gd name="connsiteY52" fmla="*/ 4542793 h 6099881"/>
              <a:gd name="connsiteX53" fmla="*/ 5419038 w 8636594"/>
              <a:gd name="connsiteY53" fmla="*/ 4472771 h 6099881"/>
              <a:gd name="connsiteX54" fmla="*/ 5468365 w 8636594"/>
              <a:gd name="connsiteY54" fmla="*/ 4402196 h 6099881"/>
              <a:gd name="connsiteX55" fmla="*/ 5517215 w 8636594"/>
              <a:gd name="connsiteY55" fmla="*/ 4331098 h 6099881"/>
              <a:gd name="connsiteX56" fmla="*/ 5565637 w 8636594"/>
              <a:gd name="connsiteY56" fmla="*/ 4259503 h 6099881"/>
              <a:gd name="connsiteX57" fmla="*/ 5613684 w 8636594"/>
              <a:gd name="connsiteY57" fmla="*/ 4187441 h 6099881"/>
              <a:gd name="connsiteX58" fmla="*/ 5685160 w 8636594"/>
              <a:gd name="connsiteY58" fmla="*/ 4078531 h 6099881"/>
              <a:gd name="connsiteX59" fmla="*/ 5756074 w 8636594"/>
              <a:gd name="connsiteY59" fmla="*/ 3968727 h 6099881"/>
              <a:gd name="connsiteX60" fmla="*/ 5873483 w 8636594"/>
              <a:gd name="connsiteY60" fmla="*/ 3783989 h 6099881"/>
              <a:gd name="connsiteX61" fmla="*/ 6203209 w 8636594"/>
              <a:gd name="connsiteY61" fmla="*/ 3258640 h 6099881"/>
              <a:gd name="connsiteX62" fmla="*/ 6299430 w 8636594"/>
              <a:gd name="connsiteY62" fmla="*/ 3107321 h 6099881"/>
              <a:gd name="connsiteX63" fmla="*/ 6372650 w 8636594"/>
              <a:gd name="connsiteY63" fmla="*/ 2993735 h 6099881"/>
              <a:gd name="connsiteX64" fmla="*/ 6453197 w 8636594"/>
              <a:gd name="connsiteY64" fmla="*/ 2869788 h 6099881"/>
              <a:gd name="connsiteX65" fmla="*/ 6564167 w 8636594"/>
              <a:gd name="connsiteY65" fmla="*/ 2696807 h 6099881"/>
              <a:gd name="connsiteX66" fmla="*/ 6976233 w 8636594"/>
              <a:gd name="connsiteY66" fmla="*/ 2045274 h 6099881"/>
              <a:gd name="connsiteX67" fmla="*/ 7086755 w 8636594"/>
              <a:gd name="connsiteY67" fmla="*/ 1872743 h 6099881"/>
              <a:gd name="connsiteX68" fmla="*/ 7170279 w 8636594"/>
              <a:gd name="connsiteY68" fmla="*/ 1744202 h 6099881"/>
              <a:gd name="connsiteX69" fmla="*/ 7226351 w 8636594"/>
              <a:gd name="connsiteY69" fmla="*/ 1659017 h 6099881"/>
              <a:gd name="connsiteX70" fmla="*/ 7282789 w 8636594"/>
              <a:gd name="connsiteY70" fmla="*/ 1574303 h 6099881"/>
              <a:gd name="connsiteX71" fmla="*/ 7339643 w 8636594"/>
              <a:gd name="connsiteY71" fmla="*/ 1490113 h 6099881"/>
              <a:gd name="connsiteX72" fmla="*/ 7396957 w 8636594"/>
              <a:gd name="connsiteY72" fmla="*/ 1406503 h 6099881"/>
              <a:gd name="connsiteX73" fmla="*/ 7454781 w 8636594"/>
              <a:gd name="connsiteY73" fmla="*/ 1323526 h 6099881"/>
              <a:gd name="connsiteX74" fmla="*/ 7513161 w 8636594"/>
              <a:gd name="connsiteY74" fmla="*/ 1241237 h 6099881"/>
              <a:gd name="connsiteX75" fmla="*/ 7572144 w 8636594"/>
              <a:gd name="connsiteY75" fmla="*/ 1159689 h 6099881"/>
              <a:gd name="connsiteX76" fmla="*/ 7601877 w 8636594"/>
              <a:gd name="connsiteY76" fmla="*/ 1119210 h 6099881"/>
              <a:gd name="connsiteX77" fmla="*/ 7631779 w 8636594"/>
              <a:gd name="connsiteY77" fmla="*/ 1078937 h 6099881"/>
              <a:gd name="connsiteX78" fmla="*/ 7661855 w 8636594"/>
              <a:gd name="connsiteY78" fmla="*/ 1038876 h 6099881"/>
              <a:gd name="connsiteX79" fmla="*/ 7692111 w 8636594"/>
              <a:gd name="connsiteY79" fmla="*/ 999035 h 6099881"/>
              <a:gd name="connsiteX80" fmla="*/ 7722554 w 8636594"/>
              <a:gd name="connsiteY80" fmla="*/ 959419 h 6099881"/>
              <a:gd name="connsiteX81" fmla="*/ 7753190 w 8636594"/>
              <a:gd name="connsiteY81" fmla="*/ 920037 h 6099881"/>
              <a:gd name="connsiteX82" fmla="*/ 7784023 w 8636594"/>
              <a:gd name="connsiteY82" fmla="*/ 880894 h 6099881"/>
              <a:gd name="connsiteX83" fmla="*/ 7815061 w 8636594"/>
              <a:gd name="connsiteY83" fmla="*/ 841997 h 6099881"/>
              <a:gd name="connsiteX84" fmla="*/ 7846308 w 8636594"/>
              <a:gd name="connsiteY84" fmla="*/ 803354 h 6099881"/>
              <a:gd name="connsiteX85" fmla="*/ 7877772 w 8636594"/>
              <a:gd name="connsiteY85" fmla="*/ 764970 h 6099881"/>
              <a:gd name="connsiteX86" fmla="*/ 7909458 w 8636594"/>
              <a:gd name="connsiteY86" fmla="*/ 726853 h 6099881"/>
              <a:gd name="connsiteX87" fmla="*/ 7941371 w 8636594"/>
              <a:gd name="connsiteY87" fmla="*/ 689010 h 6099881"/>
              <a:gd name="connsiteX88" fmla="*/ 7973518 w 8636594"/>
              <a:gd name="connsiteY88" fmla="*/ 651447 h 6099881"/>
              <a:gd name="connsiteX89" fmla="*/ 8005905 w 8636594"/>
              <a:gd name="connsiteY89" fmla="*/ 614171 h 6099881"/>
              <a:gd name="connsiteX90" fmla="*/ 8038538 w 8636594"/>
              <a:gd name="connsiteY90" fmla="*/ 577189 h 6099881"/>
              <a:gd name="connsiteX91" fmla="*/ 8071421 w 8636594"/>
              <a:gd name="connsiteY91" fmla="*/ 540507 h 6099881"/>
              <a:gd name="connsiteX92" fmla="*/ 8104563 w 8636594"/>
              <a:gd name="connsiteY92" fmla="*/ 504132 h 6099881"/>
              <a:gd name="connsiteX93" fmla="*/ 8137967 w 8636594"/>
              <a:gd name="connsiteY93" fmla="*/ 468072 h 6099881"/>
              <a:gd name="connsiteX94" fmla="*/ 8171641 w 8636594"/>
              <a:gd name="connsiteY94" fmla="*/ 432332 h 6099881"/>
              <a:gd name="connsiteX95" fmla="*/ 8205590 w 8636594"/>
              <a:gd name="connsiteY95" fmla="*/ 396920 h 6099881"/>
              <a:gd name="connsiteX96" fmla="*/ 8239820 w 8636594"/>
              <a:gd name="connsiteY96" fmla="*/ 361843 h 6099881"/>
              <a:gd name="connsiteX97" fmla="*/ 8274337 w 8636594"/>
              <a:gd name="connsiteY97" fmla="*/ 327107 h 6099881"/>
              <a:gd name="connsiteX98" fmla="*/ 8309147 w 8636594"/>
              <a:gd name="connsiteY98" fmla="*/ 292718 h 6099881"/>
              <a:gd name="connsiteX99" fmla="*/ 8344256 w 8636594"/>
              <a:gd name="connsiteY99" fmla="*/ 258685 h 6099881"/>
              <a:gd name="connsiteX100" fmla="*/ 8379669 w 8636594"/>
              <a:gd name="connsiteY100" fmla="*/ 225013 h 6099881"/>
              <a:gd name="connsiteX101" fmla="*/ 8415394 w 8636594"/>
              <a:gd name="connsiteY101" fmla="*/ 191709 h 6099881"/>
              <a:gd name="connsiteX102" fmla="*/ 8451434 w 8636594"/>
              <a:gd name="connsiteY102" fmla="*/ 158780 h 6099881"/>
              <a:gd name="connsiteX103" fmla="*/ 8487798 w 8636594"/>
              <a:gd name="connsiteY103" fmla="*/ 126233 h 6099881"/>
              <a:gd name="connsiteX104" fmla="*/ 8524489 w 8636594"/>
              <a:gd name="connsiteY104" fmla="*/ 94075 h 6099881"/>
              <a:gd name="connsiteX105" fmla="*/ 8561515 w 8636594"/>
              <a:gd name="connsiteY105" fmla="*/ 62312 h 6099881"/>
              <a:gd name="connsiteX106" fmla="*/ 8598881 w 8636594"/>
              <a:gd name="connsiteY106" fmla="*/ 30951 h 6099881"/>
              <a:gd name="connsiteX107" fmla="*/ 8636594 w 8636594"/>
              <a:gd name="connsiteY107" fmla="*/ 0 h 6099881"/>
              <a:gd name="connsiteX0" fmla="*/ 8636594 w 8636594"/>
              <a:gd name="connsiteY0" fmla="*/ 0 h 6077471"/>
              <a:gd name="connsiteX1" fmla="*/ 5293 w 8636594"/>
              <a:gd name="connsiteY1" fmla="*/ 0 h 6077471"/>
              <a:gd name="connsiteX2" fmla="*/ 0 w 8636594"/>
              <a:gd name="connsiteY2" fmla="*/ 5587843 h 6077471"/>
              <a:gd name="connsiteX3" fmla="*/ 3721426 w 8636594"/>
              <a:gd name="connsiteY3" fmla="*/ 6077471 h 6077471"/>
              <a:gd name="connsiteX4" fmla="*/ 3762353 w 8636594"/>
              <a:gd name="connsiteY4" fmla="*/ 6054733 h 6077471"/>
              <a:gd name="connsiteX5" fmla="*/ 3802812 w 8636594"/>
              <a:gd name="connsiteY5" fmla="*/ 6031671 h 6077471"/>
              <a:gd name="connsiteX6" fmla="*/ 3842810 w 8636594"/>
              <a:gd name="connsiteY6" fmla="*/ 6008288 h 6077471"/>
              <a:gd name="connsiteX7" fmla="*/ 3882352 w 8636594"/>
              <a:gd name="connsiteY7" fmla="*/ 5984588 h 6077471"/>
              <a:gd name="connsiteX8" fmla="*/ 3921445 w 8636594"/>
              <a:gd name="connsiteY8" fmla="*/ 5960574 h 6077471"/>
              <a:gd name="connsiteX9" fmla="*/ 3960096 w 8636594"/>
              <a:gd name="connsiteY9" fmla="*/ 5936250 h 6077471"/>
              <a:gd name="connsiteX10" fmla="*/ 3998311 w 8636594"/>
              <a:gd name="connsiteY10" fmla="*/ 5911619 h 6077471"/>
              <a:gd name="connsiteX11" fmla="*/ 4036095 w 8636594"/>
              <a:gd name="connsiteY11" fmla="*/ 5886685 h 6077471"/>
              <a:gd name="connsiteX12" fmla="*/ 4073456 w 8636594"/>
              <a:gd name="connsiteY12" fmla="*/ 5861452 h 6077471"/>
              <a:gd name="connsiteX13" fmla="*/ 4110400 w 8636594"/>
              <a:gd name="connsiteY13" fmla="*/ 5835922 h 6077471"/>
              <a:gd name="connsiteX14" fmla="*/ 4146933 w 8636594"/>
              <a:gd name="connsiteY14" fmla="*/ 5810100 h 6077471"/>
              <a:gd name="connsiteX15" fmla="*/ 4183061 w 8636594"/>
              <a:gd name="connsiteY15" fmla="*/ 5783988 h 6077471"/>
              <a:gd name="connsiteX16" fmla="*/ 4218791 w 8636594"/>
              <a:gd name="connsiteY16" fmla="*/ 5757591 h 6077471"/>
              <a:gd name="connsiteX17" fmla="*/ 4254129 w 8636594"/>
              <a:gd name="connsiteY17" fmla="*/ 5730912 h 6077471"/>
              <a:gd name="connsiteX18" fmla="*/ 4289081 w 8636594"/>
              <a:gd name="connsiteY18" fmla="*/ 5703955 h 6077471"/>
              <a:gd name="connsiteX19" fmla="*/ 4323654 w 8636594"/>
              <a:gd name="connsiteY19" fmla="*/ 5676722 h 6077471"/>
              <a:gd name="connsiteX20" fmla="*/ 4357854 w 8636594"/>
              <a:gd name="connsiteY20" fmla="*/ 5649218 h 6077471"/>
              <a:gd name="connsiteX21" fmla="*/ 4391688 w 8636594"/>
              <a:gd name="connsiteY21" fmla="*/ 5621446 h 6077471"/>
              <a:gd name="connsiteX22" fmla="*/ 4425162 w 8636594"/>
              <a:gd name="connsiteY22" fmla="*/ 5593409 h 6077471"/>
              <a:gd name="connsiteX23" fmla="*/ 4458281 w 8636594"/>
              <a:gd name="connsiteY23" fmla="*/ 5565111 h 6077471"/>
              <a:gd name="connsiteX24" fmla="*/ 4491053 w 8636594"/>
              <a:gd name="connsiteY24" fmla="*/ 5536556 h 6077471"/>
              <a:gd name="connsiteX25" fmla="*/ 4523484 w 8636594"/>
              <a:gd name="connsiteY25" fmla="*/ 5507747 h 6077471"/>
              <a:gd name="connsiteX26" fmla="*/ 4555580 w 8636594"/>
              <a:gd name="connsiteY26" fmla="*/ 5478687 h 6077471"/>
              <a:gd name="connsiteX27" fmla="*/ 4587347 w 8636594"/>
              <a:gd name="connsiteY27" fmla="*/ 5449380 h 6077471"/>
              <a:gd name="connsiteX28" fmla="*/ 4618793 w 8636594"/>
              <a:gd name="connsiteY28" fmla="*/ 5419830 h 6077471"/>
              <a:gd name="connsiteX29" fmla="*/ 4649922 w 8636594"/>
              <a:gd name="connsiteY29" fmla="*/ 5390040 h 6077471"/>
              <a:gd name="connsiteX30" fmla="*/ 4680742 w 8636594"/>
              <a:gd name="connsiteY30" fmla="*/ 5360014 h 6077471"/>
              <a:gd name="connsiteX31" fmla="*/ 4711259 w 8636594"/>
              <a:gd name="connsiteY31" fmla="*/ 5329755 h 6077471"/>
              <a:gd name="connsiteX32" fmla="*/ 4741478 w 8636594"/>
              <a:gd name="connsiteY32" fmla="*/ 5299266 h 6077471"/>
              <a:gd name="connsiteX33" fmla="*/ 4771408 w 8636594"/>
              <a:gd name="connsiteY33" fmla="*/ 5268551 h 6077471"/>
              <a:gd name="connsiteX34" fmla="*/ 4801053 w 8636594"/>
              <a:gd name="connsiteY34" fmla="*/ 5237614 h 6077471"/>
              <a:gd name="connsiteX35" fmla="*/ 4830420 w 8636594"/>
              <a:gd name="connsiteY35" fmla="*/ 5206458 h 6077471"/>
              <a:gd name="connsiteX36" fmla="*/ 4859516 w 8636594"/>
              <a:gd name="connsiteY36" fmla="*/ 5175087 h 6077471"/>
              <a:gd name="connsiteX37" fmla="*/ 4888347 w 8636594"/>
              <a:gd name="connsiteY37" fmla="*/ 5143504 h 6077471"/>
              <a:gd name="connsiteX38" fmla="*/ 4916919 w 8636594"/>
              <a:gd name="connsiteY38" fmla="*/ 5111713 h 6077471"/>
              <a:gd name="connsiteX39" fmla="*/ 4945238 w 8636594"/>
              <a:gd name="connsiteY39" fmla="*/ 5079717 h 6077471"/>
              <a:gd name="connsiteX40" fmla="*/ 4973311 w 8636594"/>
              <a:gd name="connsiteY40" fmla="*/ 5047519 h 6077471"/>
              <a:gd name="connsiteX41" fmla="*/ 5001145 w 8636594"/>
              <a:gd name="connsiteY41" fmla="*/ 5015124 h 6077471"/>
              <a:gd name="connsiteX42" fmla="*/ 5028745 w 8636594"/>
              <a:gd name="connsiteY42" fmla="*/ 4982535 h 6077471"/>
              <a:gd name="connsiteX43" fmla="*/ 5056117 w 8636594"/>
              <a:gd name="connsiteY43" fmla="*/ 4949755 h 6077471"/>
              <a:gd name="connsiteX44" fmla="*/ 5083269 w 8636594"/>
              <a:gd name="connsiteY44" fmla="*/ 4916787 h 6077471"/>
              <a:gd name="connsiteX45" fmla="*/ 5110207 w 8636594"/>
              <a:gd name="connsiteY45" fmla="*/ 4883636 h 6077471"/>
              <a:gd name="connsiteX46" fmla="*/ 5136937 w 8636594"/>
              <a:gd name="connsiteY46" fmla="*/ 4850305 h 6077471"/>
              <a:gd name="connsiteX47" fmla="*/ 5163464 w 8636594"/>
              <a:gd name="connsiteY47" fmla="*/ 4816797 h 6077471"/>
              <a:gd name="connsiteX48" fmla="*/ 5215940 w 8636594"/>
              <a:gd name="connsiteY48" fmla="*/ 4749265 h 6077471"/>
              <a:gd name="connsiteX49" fmla="*/ 5267684 w 8636594"/>
              <a:gd name="connsiteY49" fmla="*/ 4681068 h 6077471"/>
              <a:gd name="connsiteX50" fmla="*/ 5318748 w 8636594"/>
              <a:gd name="connsiteY50" fmla="*/ 4612234 h 6077471"/>
              <a:gd name="connsiteX51" fmla="*/ 5369182 w 8636594"/>
              <a:gd name="connsiteY51" fmla="*/ 4542793 h 6077471"/>
              <a:gd name="connsiteX52" fmla="*/ 5419038 w 8636594"/>
              <a:gd name="connsiteY52" fmla="*/ 4472771 h 6077471"/>
              <a:gd name="connsiteX53" fmla="*/ 5468365 w 8636594"/>
              <a:gd name="connsiteY53" fmla="*/ 4402196 h 6077471"/>
              <a:gd name="connsiteX54" fmla="*/ 5517215 w 8636594"/>
              <a:gd name="connsiteY54" fmla="*/ 4331098 h 6077471"/>
              <a:gd name="connsiteX55" fmla="*/ 5565637 w 8636594"/>
              <a:gd name="connsiteY55" fmla="*/ 4259503 h 6077471"/>
              <a:gd name="connsiteX56" fmla="*/ 5613684 w 8636594"/>
              <a:gd name="connsiteY56" fmla="*/ 4187441 h 6077471"/>
              <a:gd name="connsiteX57" fmla="*/ 5685160 w 8636594"/>
              <a:gd name="connsiteY57" fmla="*/ 4078531 h 6077471"/>
              <a:gd name="connsiteX58" fmla="*/ 5756074 w 8636594"/>
              <a:gd name="connsiteY58" fmla="*/ 3968727 h 6077471"/>
              <a:gd name="connsiteX59" fmla="*/ 5873483 w 8636594"/>
              <a:gd name="connsiteY59" fmla="*/ 3783989 h 6077471"/>
              <a:gd name="connsiteX60" fmla="*/ 6203209 w 8636594"/>
              <a:gd name="connsiteY60" fmla="*/ 3258640 h 6077471"/>
              <a:gd name="connsiteX61" fmla="*/ 6299430 w 8636594"/>
              <a:gd name="connsiteY61" fmla="*/ 3107321 h 6077471"/>
              <a:gd name="connsiteX62" fmla="*/ 6372650 w 8636594"/>
              <a:gd name="connsiteY62" fmla="*/ 2993735 h 6077471"/>
              <a:gd name="connsiteX63" fmla="*/ 6453197 w 8636594"/>
              <a:gd name="connsiteY63" fmla="*/ 2869788 h 6077471"/>
              <a:gd name="connsiteX64" fmla="*/ 6564167 w 8636594"/>
              <a:gd name="connsiteY64" fmla="*/ 2696807 h 6077471"/>
              <a:gd name="connsiteX65" fmla="*/ 6976233 w 8636594"/>
              <a:gd name="connsiteY65" fmla="*/ 2045274 h 6077471"/>
              <a:gd name="connsiteX66" fmla="*/ 7086755 w 8636594"/>
              <a:gd name="connsiteY66" fmla="*/ 1872743 h 6077471"/>
              <a:gd name="connsiteX67" fmla="*/ 7170279 w 8636594"/>
              <a:gd name="connsiteY67" fmla="*/ 1744202 h 6077471"/>
              <a:gd name="connsiteX68" fmla="*/ 7226351 w 8636594"/>
              <a:gd name="connsiteY68" fmla="*/ 1659017 h 6077471"/>
              <a:gd name="connsiteX69" fmla="*/ 7282789 w 8636594"/>
              <a:gd name="connsiteY69" fmla="*/ 1574303 h 6077471"/>
              <a:gd name="connsiteX70" fmla="*/ 7339643 w 8636594"/>
              <a:gd name="connsiteY70" fmla="*/ 1490113 h 6077471"/>
              <a:gd name="connsiteX71" fmla="*/ 7396957 w 8636594"/>
              <a:gd name="connsiteY71" fmla="*/ 1406503 h 6077471"/>
              <a:gd name="connsiteX72" fmla="*/ 7454781 w 8636594"/>
              <a:gd name="connsiteY72" fmla="*/ 1323526 h 6077471"/>
              <a:gd name="connsiteX73" fmla="*/ 7513161 w 8636594"/>
              <a:gd name="connsiteY73" fmla="*/ 1241237 h 6077471"/>
              <a:gd name="connsiteX74" fmla="*/ 7572144 w 8636594"/>
              <a:gd name="connsiteY74" fmla="*/ 1159689 h 6077471"/>
              <a:gd name="connsiteX75" fmla="*/ 7601877 w 8636594"/>
              <a:gd name="connsiteY75" fmla="*/ 1119210 h 6077471"/>
              <a:gd name="connsiteX76" fmla="*/ 7631779 w 8636594"/>
              <a:gd name="connsiteY76" fmla="*/ 1078937 h 6077471"/>
              <a:gd name="connsiteX77" fmla="*/ 7661855 w 8636594"/>
              <a:gd name="connsiteY77" fmla="*/ 1038876 h 6077471"/>
              <a:gd name="connsiteX78" fmla="*/ 7692111 w 8636594"/>
              <a:gd name="connsiteY78" fmla="*/ 999035 h 6077471"/>
              <a:gd name="connsiteX79" fmla="*/ 7722554 w 8636594"/>
              <a:gd name="connsiteY79" fmla="*/ 959419 h 6077471"/>
              <a:gd name="connsiteX80" fmla="*/ 7753190 w 8636594"/>
              <a:gd name="connsiteY80" fmla="*/ 920037 h 6077471"/>
              <a:gd name="connsiteX81" fmla="*/ 7784023 w 8636594"/>
              <a:gd name="connsiteY81" fmla="*/ 880894 h 6077471"/>
              <a:gd name="connsiteX82" fmla="*/ 7815061 w 8636594"/>
              <a:gd name="connsiteY82" fmla="*/ 841997 h 6077471"/>
              <a:gd name="connsiteX83" fmla="*/ 7846308 w 8636594"/>
              <a:gd name="connsiteY83" fmla="*/ 803354 h 6077471"/>
              <a:gd name="connsiteX84" fmla="*/ 7877772 w 8636594"/>
              <a:gd name="connsiteY84" fmla="*/ 764970 h 6077471"/>
              <a:gd name="connsiteX85" fmla="*/ 7909458 w 8636594"/>
              <a:gd name="connsiteY85" fmla="*/ 726853 h 6077471"/>
              <a:gd name="connsiteX86" fmla="*/ 7941371 w 8636594"/>
              <a:gd name="connsiteY86" fmla="*/ 689010 h 6077471"/>
              <a:gd name="connsiteX87" fmla="*/ 7973518 w 8636594"/>
              <a:gd name="connsiteY87" fmla="*/ 651447 h 6077471"/>
              <a:gd name="connsiteX88" fmla="*/ 8005905 w 8636594"/>
              <a:gd name="connsiteY88" fmla="*/ 614171 h 6077471"/>
              <a:gd name="connsiteX89" fmla="*/ 8038538 w 8636594"/>
              <a:gd name="connsiteY89" fmla="*/ 577189 h 6077471"/>
              <a:gd name="connsiteX90" fmla="*/ 8071421 w 8636594"/>
              <a:gd name="connsiteY90" fmla="*/ 540507 h 6077471"/>
              <a:gd name="connsiteX91" fmla="*/ 8104563 w 8636594"/>
              <a:gd name="connsiteY91" fmla="*/ 504132 h 6077471"/>
              <a:gd name="connsiteX92" fmla="*/ 8137967 w 8636594"/>
              <a:gd name="connsiteY92" fmla="*/ 468072 h 6077471"/>
              <a:gd name="connsiteX93" fmla="*/ 8171641 w 8636594"/>
              <a:gd name="connsiteY93" fmla="*/ 432332 h 6077471"/>
              <a:gd name="connsiteX94" fmla="*/ 8205590 w 8636594"/>
              <a:gd name="connsiteY94" fmla="*/ 396920 h 6077471"/>
              <a:gd name="connsiteX95" fmla="*/ 8239820 w 8636594"/>
              <a:gd name="connsiteY95" fmla="*/ 361843 h 6077471"/>
              <a:gd name="connsiteX96" fmla="*/ 8274337 w 8636594"/>
              <a:gd name="connsiteY96" fmla="*/ 327107 h 6077471"/>
              <a:gd name="connsiteX97" fmla="*/ 8309147 w 8636594"/>
              <a:gd name="connsiteY97" fmla="*/ 292718 h 6077471"/>
              <a:gd name="connsiteX98" fmla="*/ 8344256 w 8636594"/>
              <a:gd name="connsiteY98" fmla="*/ 258685 h 6077471"/>
              <a:gd name="connsiteX99" fmla="*/ 8379669 w 8636594"/>
              <a:gd name="connsiteY99" fmla="*/ 225013 h 6077471"/>
              <a:gd name="connsiteX100" fmla="*/ 8415394 w 8636594"/>
              <a:gd name="connsiteY100" fmla="*/ 191709 h 6077471"/>
              <a:gd name="connsiteX101" fmla="*/ 8451434 w 8636594"/>
              <a:gd name="connsiteY101" fmla="*/ 158780 h 6077471"/>
              <a:gd name="connsiteX102" fmla="*/ 8487798 w 8636594"/>
              <a:gd name="connsiteY102" fmla="*/ 126233 h 6077471"/>
              <a:gd name="connsiteX103" fmla="*/ 8524489 w 8636594"/>
              <a:gd name="connsiteY103" fmla="*/ 94075 h 6077471"/>
              <a:gd name="connsiteX104" fmla="*/ 8561515 w 8636594"/>
              <a:gd name="connsiteY104" fmla="*/ 62312 h 6077471"/>
              <a:gd name="connsiteX105" fmla="*/ 8598881 w 8636594"/>
              <a:gd name="connsiteY105" fmla="*/ 30951 h 6077471"/>
              <a:gd name="connsiteX106" fmla="*/ 8636594 w 8636594"/>
              <a:gd name="connsiteY106" fmla="*/ 0 h 6077471"/>
              <a:gd name="connsiteX0" fmla="*/ 8636594 w 8636594"/>
              <a:gd name="connsiteY0" fmla="*/ 0 h 6054733"/>
              <a:gd name="connsiteX1" fmla="*/ 5293 w 8636594"/>
              <a:gd name="connsiteY1" fmla="*/ 0 h 6054733"/>
              <a:gd name="connsiteX2" fmla="*/ 0 w 8636594"/>
              <a:gd name="connsiteY2" fmla="*/ 5587843 h 6054733"/>
              <a:gd name="connsiteX3" fmla="*/ 3762353 w 8636594"/>
              <a:gd name="connsiteY3" fmla="*/ 6054733 h 6054733"/>
              <a:gd name="connsiteX4" fmla="*/ 3802812 w 8636594"/>
              <a:gd name="connsiteY4" fmla="*/ 6031671 h 6054733"/>
              <a:gd name="connsiteX5" fmla="*/ 3842810 w 8636594"/>
              <a:gd name="connsiteY5" fmla="*/ 6008288 h 6054733"/>
              <a:gd name="connsiteX6" fmla="*/ 3882352 w 8636594"/>
              <a:gd name="connsiteY6" fmla="*/ 5984588 h 6054733"/>
              <a:gd name="connsiteX7" fmla="*/ 3921445 w 8636594"/>
              <a:gd name="connsiteY7" fmla="*/ 5960574 h 6054733"/>
              <a:gd name="connsiteX8" fmla="*/ 3960096 w 8636594"/>
              <a:gd name="connsiteY8" fmla="*/ 5936250 h 6054733"/>
              <a:gd name="connsiteX9" fmla="*/ 3998311 w 8636594"/>
              <a:gd name="connsiteY9" fmla="*/ 5911619 h 6054733"/>
              <a:gd name="connsiteX10" fmla="*/ 4036095 w 8636594"/>
              <a:gd name="connsiteY10" fmla="*/ 5886685 h 6054733"/>
              <a:gd name="connsiteX11" fmla="*/ 4073456 w 8636594"/>
              <a:gd name="connsiteY11" fmla="*/ 5861452 h 6054733"/>
              <a:gd name="connsiteX12" fmla="*/ 4110400 w 8636594"/>
              <a:gd name="connsiteY12" fmla="*/ 5835922 h 6054733"/>
              <a:gd name="connsiteX13" fmla="*/ 4146933 w 8636594"/>
              <a:gd name="connsiteY13" fmla="*/ 5810100 h 6054733"/>
              <a:gd name="connsiteX14" fmla="*/ 4183061 w 8636594"/>
              <a:gd name="connsiteY14" fmla="*/ 5783988 h 6054733"/>
              <a:gd name="connsiteX15" fmla="*/ 4218791 w 8636594"/>
              <a:gd name="connsiteY15" fmla="*/ 5757591 h 6054733"/>
              <a:gd name="connsiteX16" fmla="*/ 4254129 w 8636594"/>
              <a:gd name="connsiteY16" fmla="*/ 5730912 h 6054733"/>
              <a:gd name="connsiteX17" fmla="*/ 4289081 w 8636594"/>
              <a:gd name="connsiteY17" fmla="*/ 5703955 h 6054733"/>
              <a:gd name="connsiteX18" fmla="*/ 4323654 w 8636594"/>
              <a:gd name="connsiteY18" fmla="*/ 5676722 h 6054733"/>
              <a:gd name="connsiteX19" fmla="*/ 4357854 w 8636594"/>
              <a:gd name="connsiteY19" fmla="*/ 5649218 h 6054733"/>
              <a:gd name="connsiteX20" fmla="*/ 4391688 w 8636594"/>
              <a:gd name="connsiteY20" fmla="*/ 5621446 h 6054733"/>
              <a:gd name="connsiteX21" fmla="*/ 4425162 w 8636594"/>
              <a:gd name="connsiteY21" fmla="*/ 5593409 h 6054733"/>
              <a:gd name="connsiteX22" fmla="*/ 4458281 w 8636594"/>
              <a:gd name="connsiteY22" fmla="*/ 5565111 h 6054733"/>
              <a:gd name="connsiteX23" fmla="*/ 4491053 w 8636594"/>
              <a:gd name="connsiteY23" fmla="*/ 5536556 h 6054733"/>
              <a:gd name="connsiteX24" fmla="*/ 4523484 w 8636594"/>
              <a:gd name="connsiteY24" fmla="*/ 5507747 h 6054733"/>
              <a:gd name="connsiteX25" fmla="*/ 4555580 w 8636594"/>
              <a:gd name="connsiteY25" fmla="*/ 5478687 h 6054733"/>
              <a:gd name="connsiteX26" fmla="*/ 4587347 w 8636594"/>
              <a:gd name="connsiteY26" fmla="*/ 5449380 h 6054733"/>
              <a:gd name="connsiteX27" fmla="*/ 4618793 w 8636594"/>
              <a:gd name="connsiteY27" fmla="*/ 5419830 h 6054733"/>
              <a:gd name="connsiteX28" fmla="*/ 4649922 w 8636594"/>
              <a:gd name="connsiteY28" fmla="*/ 5390040 h 6054733"/>
              <a:gd name="connsiteX29" fmla="*/ 4680742 w 8636594"/>
              <a:gd name="connsiteY29" fmla="*/ 5360014 h 6054733"/>
              <a:gd name="connsiteX30" fmla="*/ 4711259 w 8636594"/>
              <a:gd name="connsiteY30" fmla="*/ 5329755 h 6054733"/>
              <a:gd name="connsiteX31" fmla="*/ 4741478 w 8636594"/>
              <a:gd name="connsiteY31" fmla="*/ 5299266 h 6054733"/>
              <a:gd name="connsiteX32" fmla="*/ 4771408 w 8636594"/>
              <a:gd name="connsiteY32" fmla="*/ 5268551 h 6054733"/>
              <a:gd name="connsiteX33" fmla="*/ 4801053 w 8636594"/>
              <a:gd name="connsiteY33" fmla="*/ 5237614 h 6054733"/>
              <a:gd name="connsiteX34" fmla="*/ 4830420 w 8636594"/>
              <a:gd name="connsiteY34" fmla="*/ 5206458 h 6054733"/>
              <a:gd name="connsiteX35" fmla="*/ 4859516 w 8636594"/>
              <a:gd name="connsiteY35" fmla="*/ 5175087 h 6054733"/>
              <a:gd name="connsiteX36" fmla="*/ 4888347 w 8636594"/>
              <a:gd name="connsiteY36" fmla="*/ 5143504 h 6054733"/>
              <a:gd name="connsiteX37" fmla="*/ 4916919 w 8636594"/>
              <a:gd name="connsiteY37" fmla="*/ 5111713 h 6054733"/>
              <a:gd name="connsiteX38" fmla="*/ 4945238 w 8636594"/>
              <a:gd name="connsiteY38" fmla="*/ 5079717 h 6054733"/>
              <a:gd name="connsiteX39" fmla="*/ 4973311 w 8636594"/>
              <a:gd name="connsiteY39" fmla="*/ 5047519 h 6054733"/>
              <a:gd name="connsiteX40" fmla="*/ 5001145 w 8636594"/>
              <a:gd name="connsiteY40" fmla="*/ 5015124 h 6054733"/>
              <a:gd name="connsiteX41" fmla="*/ 5028745 w 8636594"/>
              <a:gd name="connsiteY41" fmla="*/ 4982535 h 6054733"/>
              <a:gd name="connsiteX42" fmla="*/ 5056117 w 8636594"/>
              <a:gd name="connsiteY42" fmla="*/ 4949755 h 6054733"/>
              <a:gd name="connsiteX43" fmla="*/ 5083269 w 8636594"/>
              <a:gd name="connsiteY43" fmla="*/ 4916787 h 6054733"/>
              <a:gd name="connsiteX44" fmla="*/ 5110207 w 8636594"/>
              <a:gd name="connsiteY44" fmla="*/ 4883636 h 6054733"/>
              <a:gd name="connsiteX45" fmla="*/ 5136937 w 8636594"/>
              <a:gd name="connsiteY45" fmla="*/ 4850305 h 6054733"/>
              <a:gd name="connsiteX46" fmla="*/ 5163464 w 8636594"/>
              <a:gd name="connsiteY46" fmla="*/ 4816797 h 6054733"/>
              <a:gd name="connsiteX47" fmla="*/ 5215940 w 8636594"/>
              <a:gd name="connsiteY47" fmla="*/ 4749265 h 6054733"/>
              <a:gd name="connsiteX48" fmla="*/ 5267684 w 8636594"/>
              <a:gd name="connsiteY48" fmla="*/ 4681068 h 6054733"/>
              <a:gd name="connsiteX49" fmla="*/ 5318748 w 8636594"/>
              <a:gd name="connsiteY49" fmla="*/ 4612234 h 6054733"/>
              <a:gd name="connsiteX50" fmla="*/ 5369182 w 8636594"/>
              <a:gd name="connsiteY50" fmla="*/ 4542793 h 6054733"/>
              <a:gd name="connsiteX51" fmla="*/ 5419038 w 8636594"/>
              <a:gd name="connsiteY51" fmla="*/ 4472771 h 6054733"/>
              <a:gd name="connsiteX52" fmla="*/ 5468365 w 8636594"/>
              <a:gd name="connsiteY52" fmla="*/ 4402196 h 6054733"/>
              <a:gd name="connsiteX53" fmla="*/ 5517215 w 8636594"/>
              <a:gd name="connsiteY53" fmla="*/ 4331098 h 6054733"/>
              <a:gd name="connsiteX54" fmla="*/ 5565637 w 8636594"/>
              <a:gd name="connsiteY54" fmla="*/ 4259503 h 6054733"/>
              <a:gd name="connsiteX55" fmla="*/ 5613684 w 8636594"/>
              <a:gd name="connsiteY55" fmla="*/ 4187441 h 6054733"/>
              <a:gd name="connsiteX56" fmla="*/ 5685160 w 8636594"/>
              <a:gd name="connsiteY56" fmla="*/ 4078531 h 6054733"/>
              <a:gd name="connsiteX57" fmla="*/ 5756074 w 8636594"/>
              <a:gd name="connsiteY57" fmla="*/ 3968727 h 6054733"/>
              <a:gd name="connsiteX58" fmla="*/ 5873483 w 8636594"/>
              <a:gd name="connsiteY58" fmla="*/ 3783989 h 6054733"/>
              <a:gd name="connsiteX59" fmla="*/ 6203209 w 8636594"/>
              <a:gd name="connsiteY59" fmla="*/ 3258640 h 6054733"/>
              <a:gd name="connsiteX60" fmla="*/ 6299430 w 8636594"/>
              <a:gd name="connsiteY60" fmla="*/ 3107321 h 6054733"/>
              <a:gd name="connsiteX61" fmla="*/ 6372650 w 8636594"/>
              <a:gd name="connsiteY61" fmla="*/ 2993735 h 6054733"/>
              <a:gd name="connsiteX62" fmla="*/ 6453197 w 8636594"/>
              <a:gd name="connsiteY62" fmla="*/ 2869788 h 6054733"/>
              <a:gd name="connsiteX63" fmla="*/ 6564167 w 8636594"/>
              <a:gd name="connsiteY63" fmla="*/ 2696807 h 6054733"/>
              <a:gd name="connsiteX64" fmla="*/ 6976233 w 8636594"/>
              <a:gd name="connsiteY64" fmla="*/ 2045274 h 6054733"/>
              <a:gd name="connsiteX65" fmla="*/ 7086755 w 8636594"/>
              <a:gd name="connsiteY65" fmla="*/ 1872743 h 6054733"/>
              <a:gd name="connsiteX66" fmla="*/ 7170279 w 8636594"/>
              <a:gd name="connsiteY66" fmla="*/ 1744202 h 6054733"/>
              <a:gd name="connsiteX67" fmla="*/ 7226351 w 8636594"/>
              <a:gd name="connsiteY67" fmla="*/ 1659017 h 6054733"/>
              <a:gd name="connsiteX68" fmla="*/ 7282789 w 8636594"/>
              <a:gd name="connsiteY68" fmla="*/ 1574303 h 6054733"/>
              <a:gd name="connsiteX69" fmla="*/ 7339643 w 8636594"/>
              <a:gd name="connsiteY69" fmla="*/ 1490113 h 6054733"/>
              <a:gd name="connsiteX70" fmla="*/ 7396957 w 8636594"/>
              <a:gd name="connsiteY70" fmla="*/ 1406503 h 6054733"/>
              <a:gd name="connsiteX71" fmla="*/ 7454781 w 8636594"/>
              <a:gd name="connsiteY71" fmla="*/ 1323526 h 6054733"/>
              <a:gd name="connsiteX72" fmla="*/ 7513161 w 8636594"/>
              <a:gd name="connsiteY72" fmla="*/ 1241237 h 6054733"/>
              <a:gd name="connsiteX73" fmla="*/ 7572144 w 8636594"/>
              <a:gd name="connsiteY73" fmla="*/ 1159689 h 6054733"/>
              <a:gd name="connsiteX74" fmla="*/ 7601877 w 8636594"/>
              <a:gd name="connsiteY74" fmla="*/ 1119210 h 6054733"/>
              <a:gd name="connsiteX75" fmla="*/ 7631779 w 8636594"/>
              <a:gd name="connsiteY75" fmla="*/ 1078937 h 6054733"/>
              <a:gd name="connsiteX76" fmla="*/ 7661855 w 8636594"/>
              <a:gd name="connsiteY76" fmla="*/ 1038876 h 6054733"/>
              <a:gd name="connsiteX77" fmla="*/ 7692111 w 8636594"/>
              <a:gd name="connsiteY77" fmla="*/ 999035 h 6054733"/>
              <a:gd name="connsiteX78" fmla="*/ 7722554 w 8636594"/>
              <a:gd name="connsiteY78" fmla="*/ 959419 h 6054733"/>
              <a:gd name="connsiteX79" fmla="*/ 7753190 w 8636594"/>
              <a:gd name="connsiteY79" fmla="*/ 920037 h 6054733"/>
              <a:gd name="connsiteX80" fmla="*/ 7784023 w 8636594"/>
              <a:gd name="connsiteY80" fmla="*/ 880894 h 6054733"/>
              <a:gd name="connsiteX81" fmla="*/ 7815061 w 8636594"/>
              <a:gd name="connsiteY81" fmla="*/ 841997 h 6054733"/>
              <a:gd name="connsiteX82" fmla="*/ 7846308 w 8636594"/>
              <a:gd name="connsiteY82" fmla="*/ 803354 h 6054733"/>
              <a:gd name="connsiteX83" fmla="*/ 7877772 w 8636594"/>
              <a:gd name="connsiteY83" fmla="*/ 764970 h 6054733"/>
              <a:gd name="connsiteX84" fmla="*/ 7909458 w 8636594"/>
              <a:gd name="connsiteY84" fmla="*/ 726853 h 6054733"/>
              <a:gd name="connsiteX85" fmla="*/ 7941371 w 8636594"/>
              <a:gd name="connsiteY85" fmla="*/ 689010 h 6054733"/>
              <a:gd name="connsiteX86" fmla="*/ 7973518 w 8636594"/>
              <a:gd name="connsiteY86" fmla="*/ 651447 h 6054733"/>
              <a:gd name="connsiteX87" fmla="*/ 8005905 w 8636594"/>
              <a:gd name="connsiteY87" fmla="*/ 614171 h 6054733"/>
              <a:gd name="connsiteX88" fmla="*/ 8038538 w 8636594"/>
              <a:gd name="connsiteY88" fmla="*/ 577189 h 6054733"/>
              <a:gd name="connsiteX89" fmla="*/ 8071421 w 8636594"/>
              <a:gd name="connsiteY89" fmla="*/ 540507 h 6054733"/>
              <a:gd name="connsiteX90" fmla="*/ 8104563 w 8636594"/>
              <a:gd name="connsiteY90" fmla="*/ 504132 h 6054733"/>
              <a:gd name="connsiteX91" fmla="*/ 8137967 w 8636594"/>
              <a:gd name="connsiteY91" fmla="*/ 468072 h 6054733"/>
              <a:gd name="connsiteX92" fmla="*/ 8171641 w 8636594"/>
              <a:gd name="connsiteY92" fmla="*/ 432332 h 6054733"/>
              <a:gd name="connsiteX93" fmla="*/ 8205590 w 8636594"/>
              <a:gd name="connsiteY93" fmla="*/ 396920 h 6054733"/>
              <a:gd name="connsiteX94" fmla="*/ 8239820 w 8636594"/>
              <a:gd name="connsiteY94" fmla="*/ 361843 h 6054733"/>
              <a:gd name="connsiteX95" fmla="*/ 8274337 w 8636594"/>
              <a:gd name="connsiteY95" fmla="*/ 327107 h 6054733"/>
              <a:gd name="connsiteX96" fmla="*/ 8309147 w 8636594"/>
              <a:gd name="connsiteY96" fmla="*/ 292718 h 6054733"/>
              <a:gd name="connsiteX97" fmla="*/ 8344256 w 8636594"/>
              <a:gd name="connsiteY97" fmla="*/ 258685 h 6054733"/>
              <a:gd name="connsiteX98" fmla="*/ 8379669 w 8636594"/>
              <a:gd name="connsiteY98" fmla="*/ 225013 h 6054733"/>
              <a:gd name="connsiteX99" fmla="*/ 8415394 w 8636594"/>
              <a:gd name="connsiteY99" fmla="*/ 191709 h 6054733"/>
              <a:gd name="connsiteX100" fmla="*/ 8451434 w 8636594"/>
              <a:gd name="connsiteY100" fmla="*/ 158780 h 6054733"/>
              <a:gd name="connsiteX101" fmla="*/ 8487798 w 8636594"/>
              <a:gd name="connsiteY101" fmla="*/ 126233 h 6054733"/>
              <a:gd name="connsiteX102" fmla="*/ 8524489 w 8636594"/>
              <a:gd name="connsiteY102" fmla="*/ 94075 h 6054733"/>
              <a:gd name="connsiteX103" fmla="*/ 8561515 w 8636594"/>
              <a:gd name="connsiteY103" fmla="*/ 62312 h 6054733"/>
              <a:gd name="connsiteX104" fmla="*/ 8598881 w 8636594"/>
              <a:gd name="connsiteY104" fmla="*/ 30951 h 6054733"/>
              <a:gd name="connsiteX105" fmla="*/ 8636594 w 8636594"/>
              <a:gd name="connsiteY105" fmla="*/ 0 h 6054733"/>
              <a:gd name="connsiteX0" fmla="*/ 8636594 w 8636594"/>
              <a:gd name="connsiteY0" fmla="*/ 0 h 6031671"/>
              <a:gd name="connsiteX1" fmla="*/ 5293 w 8636594"/>
              <a:gd name="connsiteY1" fmla="*/ 0 h 6031671"/>
              <a:gd name="connsiteX2" fmla="*/ 0 w 8636594"/>
              <a:gd name="connsiteY2" fmla="*/ 5587843 h 6031671"/>
              <a:gd name="connsiteX3" fmla="*/ 3802812 w 8636594"/>
              <a:gd name="connsiteY3" fmla="*/ 6031671 h 6031671"/>
              <a:gd name="connsiteX4" fmla="*/ 3842810 w 8636594"/>
              <a:gd name="connsiteY4" fmla="*/ 6008288 h 6031671"/>
              <a:gd name="connsiteX5" fmla="*/ 3882352 w 8636594"/>
              <a:gd name="connsiteY5" fmla="*/ 5984588 h 6031671"/>
              <a:gd name="connsiteX6" fmla="*/ 3921445 w 8636594"/>
              <a:gd name="connsiteY6" fmla="*/ 5960574 h 6031671"/>
              <a:gd name="connsiteX7" fmla="*/ 3960096 w 8636594"/>
              <a:gd name="connsiteY7" fmla="*/ 5936250 h 6031671"/>
              <a:gd name="connsiteX8" fmla="*/ 3998311 w 8636594"/>
              <a:gd name="connsiteY8" fmla="*/ 5911619 h 6031671"/>
              <a:gd name="connsiteX9" fmla="*/ 4036095 w 8636594"/>
              <a:gd name="connsiteY9" fmla="*/ 5886685 h 6031671"/>
              <a:gd name="connsiteX10" fmla="*/ 4073456 w 8636594"/>
              <a:gd name="connsiteY10" fmla="*/ 5861452 h 6031671"/>
              <a:gd name="connsiteX11" fmla="*/ 4110400 w 8636594"/>
              <a:gd name="connsiteY11" fmla="*/ 5835922 h 6031671"/>
              <a:gd name="connsiteX12" fmla="*/ 4146933 w 8636594"/>
              <a:gd name="connsiteY12" fmla="*/ 5810100 h 6031671"/>
              <a:gd name="connsiteX13" fmla="*/ 4183061 w 8636594"/>
              <a:gd name="connsiteY13" fmla="*/ 5783988 h 6031671"/>
              <a:gd name="connsiteX14" fmla="*/ 4218791 w 8636594"/>
              <a:gd name="connsiteY14" fmla="*/ 5757591 h 6031671"/>
              <a:gd name="connsiteX15" fmla="*/ 4254129 w 8636594"/>
              <a:gd name="connsiteY15" fmla="*/ 5730912 h 6031671"/>
              <a:gd name="connsiteX16" fmla="*/ 4289081 w 8636594"/>
              <a:gd name="connsiteY16" fmla="*/ 5703955 h 6031671"/>
              <a:gd name="connsiteX17" fmla="*/ 4323654 w 8636594"/>
              <a:gd name="connsiteY17" fmla="*/ 5676722 h 6031671"/>
              <a:gd name="connsiteX18" fmla="*/ 4357854 w 8636594"/>
              <a:gd name="connsiteY18" fmla="*/ 5649218 h 6031671"/>
              <a:gd name="connsiteX19" fmla="*/ 4391688 w 8636594"/>
              <a:gd name="connsiteY19" fmla="*/ 5621446 h 6031671"/>
              <a:gd name="connsiteX20" fmla="*/ 4425162 w 8636594"/>
              <a:gd name="connsiteY20" fmla="*/ 5593409 h 6031671"/>
              <a:gd name="connsiteX21" fmla="*/ 4458281 w 8636594"/>
              <a:gd name="connsiteY21" fmla="*/ 5565111 h 6031671"/>
              <a:gd name="connsiteX22" fmla="*/ 4491053 w 8636594"/>
              <a:gd name="connsiteY22" fmla="*/ 5536556 h 6031671"/>
              <a:gd name="connsiteX23" fmla="*/ 4523484 w 8636594"/>
              <a:gd name="connsiteY23" fmla="*/ 5507747 h 6031671"/>
              <a:gd name="connsiteX24" fmla="*/ 4555580 w 8636594"/>
              <a:gd name="connsiteY24" fmla="*/ 5478687 h 6031671"/>
              <a:gd name="connsiteX25" fmla="*/ 4587347 w 8636594"/>
              <a:gd name="connsiteY25" fmla="*/ 5449380 h 6031671"/>
              <a:gd name="connsiteX26" fmla="*/ 4618793 w 8636594"/>
              <a:gd name="connsiteY26" fmla="*/ 5419830 h 6031671"/>
              <a:gd name="connsiteX27" fmla="*/ 4649922 w 8636594"/>
              <a:gd name="connsiteY27" fmla="*/ 5390040 h 6031671"/>
              <a:gd name="connsiteX28" fmla="*/ 4680742 w 8636594"/>
              <a:gd name="connsiteY28" fmla="*/ 5360014 h 6031671"/>
              <a:gd name="connsiteX29" fmla="*/ 4711259 w 8636594"/>
              <a:gd name="connsiteY29" fmla="*/ 5329755 h 6031671"/>
              <a:gd name="connsiteX30" fmla="*/ 4741478 w 8636594"/>
              <a:gd name="connsiteY30" fmla="*/ 5299266 h 6031671"/>
              <a:gd name="connsiteX31" fmla="*/ 4771408 w 8636594"/>
              <a:gd name="connsiteY31" fmla="*/ 5268551 h 6031671"/>
              <a:gd name="connsiteX32" fmla="*/ 4801053 w 8636594"/>
              <a:gd name="connsiteY32" fmla="*/ 5237614 h 6031671"/>
              <a:gd name="connsiteX33" fmla="*/ 4830420 w 8636594"/>
              <a:gd name="connsiteY33" fmla="*/ 5206458 h 6031671"/>
              <a:gd name="connsiteX34" fmla="*/ 4859516 w 8636594"/>
              <a:gd name="connsiteY34" fmla="*/ 5175087 h 6031671"/>
              <a:gd name="connsiteX35" fmla="*/ 4888347 w 8636594"/>
              <a:gd name="connsiteY35" fmla="*/ 5143504 h 6031671"/>
              <a:gd name="connsiteX36" fmla="*/ 4916919 w 8636594"/>
              <a:gd name="connsiteY36" fmla="*/ 5111713 h 6031671"/>
              <a:gd name="connsiteX37" fmla="*/ 4945238 w 8636594"/>
              <a:gd name="connsiteY37" fmla="*/ 5079717 h 6031671"/>
              <a:gd name="connsiteX38" fmla="*/ 4973311 w 8636594"/>
              <a:gd name="connsiteY38" fmla="*/ 5047519 h 6031671"/>
              <a:gd name="connsiteX39" fmla="*/ 5001145 w 8636594"/>
              <a:gd name="connsiteY39" fmla="*/ 5015124 h 6031671"/>
              <a:gd name="connsiteX40" fmla="*/ 5028745 w 8636594"/>
              <a:gd name="connsiteY40" fmla="*/ 4982535 h 6031671"/>
              <a:gd name="connsiteX41" fmla="*/ 5056117 w 8636594"/>
              <a:gd name="connsiteY41" fmla="*/ 4949755 h 6031671"/>
              <a:gd name="connsiteX42" fmla="*/ 5083269 w 8636594"/>
              <a:gd name="connsiteY42" fmla="*/ 4916787 h 6031671"/>
              <a:gd name="connsiteX43" fmla="*/ 5110207 w 8636594"/>
              <a:gd name="connsiteY43" fmla="*/ 4883636 h 6031671"/>
              <a:gd name="connsiteX44" fmla="*/ 5136937 w 8636594"/>
              <a:gd name="connsiteY44" fmla="*/ 4850305 h 6031671"/>
              <a:gd name="connsiteX45" fmla="*/ 5163464 w 8636594"/>
              <a:gd name="connsiteY45" fmla="*/ 4816797 h 6031671"/>
              <a:gd name="connsiteX46" fmla="*/ 5215940 w 8636594"/>
              <a:gd name="connsiteY46" fmla="*/ 4749265 h 6031671"/>
              <a:gd name="connsiteX47" fmla="*/ 5267684 w 8636594"/>
              <a:gd name="connsiteY47" fmla="*/ 4681068 h 6031671"/>
              <a:gd name="connsiteX48" fmla="*/ 5318748 w 8636594"/>
              <a:gd name="connsiteY48" fmla="*/ 4612234 h 6031671"/>
              <a:gd name="connsiteX49" fmla="*/ 5369182 w 8636594"/>
              <a:gd name="connsiteY49" fmla="*/ 4542793 h 6031671"/>
              <a:gd name="connsiteX50" fmla="*/ 5419038 w 8636594"/>
              <a:gd name="connsiteY50" fmla="*/ 4472771 h 6031671"/>
              <a:gd name="connsiteX51" fmla="*/ 5468365 w 8636594"/>
              <a:gd name="connsiteY51" fmla="*/ 4402196 h 6031671"/>
              <a:gd name="connsiteX52" fmla="*/ 5517215 w 8636594"/>
              <a:gd name="connsiteY52" fmla="*/ 4331098 h 6031671"/>
              <a:gd name="connsiteX53" fmla="*/ 5565637 w 8636594"/>
              <a:gd name="connsiteY53" fmla="*/ 4259503 h 6031671"/>
              <a:gd name="connsiteX54" fmla="*/ 5613684 w 8636594"/>
              <a:gd name="connsiteY54" fmla="*/ 4187441 h 6031671"/>
              <a:gd name="connsiteX55" fmla="*/ 5685160 w 8636594"/>
              <a:gd name="connsiteY55" fmla="*/ 4078531 h 6031671"/>
              <a:gd name="connsiteX56" fmla="*/ 5756074 w 8636594"/>
              <a:gd name="connsiteY56" fmla="*/ 3968727 h 6031671"/>
              <a:gd name="connsiteX57" fmla="*/ 5873483 w 8636594"/>
              <a:gd name="connsiteY57" fmla="*/ 3783989 h 6031671"/>
              <a:gd name="connsiteX58" fmla="*/ 6203209 w 8636594"/>
              <a:gd name="connsiteY58" fmla="*/ 3258640 h 6031671"/>
              <a:gd name="connsiteX59" fmla="*/ 6299430 w 8636594"/>
              <a:gd name="connsiteY59" fmla="*/ 3107321 h 6031671"/>
              <a:gd name="connsiteX60" fmla="*/ 6372650 w 8636594"/>
              <a:gd name="connsiteY60" fmla="*/ 2993735 h 6031671"/>
              <a:gd name="connsiteX61" fmla="*/ 6453197 w 8636594"/>
              <a:gd name="connsiteY61" fmla="*/ 2869788 h 6031671"/>
              <a:gd name="connsiteX62" fmla="*/ 6564167 w 8636594"/>
              <a:gd name="connsiteY62" fmla="*/ 2696807 h 6031671"/>
              <a:gd name="connsiteX63" fmla="*/ 6976233 w 8636594"/>
              <a:gd name="connsiteY63" fmla="*/ 2045274 h 6031671"/>
              <a:gd name="connsiteX64" fmla="*/ 7086755 w 8636594"/>
              <a:gd name="connsiteY64" fmla="*/ 1872743 h 6031671"/>
              <a:gd name="connsiteX65" fmla="*/ 7170279 w 8636594"/>
              <a:gd name="connsiteY65" fmla="*/ 1744202 h 6031671"/>
              <a:gd name="connsiteX66" fmla="*/ 7226351 w 8636594"/>
              <a:gd name="connsiteY66" fmla="*/ 1659017 h 6031671"/>
              <a:gd name="connsiteX67" fmla="*/ 7282789 w 8636594"/>
              <a:gd name="connsiteY67" fmla="*/ 1574303 h 6031671"/>
              <a:gd name="connsiteX68" fmla="*/ 7339643 w 8636594"/>
              <a:gd name="connsiteY68" fmla="*/ 1490113 h 6031671"/>
              <a:gd name="connsiteX69" fmla="*/ 7396957 w 8636594"/>
              <a:gd name="connsiteY69" fmla="*/ 1406503 h 6031671"/>
              <a:gd name="connsiteX70" fmla="*/ 7454781 w 8636594"/>
              <a:gd name="connsiteY70" fmla="*/ 1323526 h 6031671"/>
              <a:gd name="connsiteX71" fmla="*/ 7513161 w 8636594"/>
              <a:gd name="connsiteY71" fmla="*/ 1241237 h 6031671"/>
              <a:gd name="connsiteX72" fmla="*/ 7572144 w 8636594"/>
              <a:gd name="connsiteY72" fmla="*/ 1159689 h 6031671"/>
              <a:gd name="connsiteX73" fmla="*/ 7601877 w 8636594"/>
              <a:gd name="connsiteY73" fmla="*/ 1119210 h 6031671"/>
              <a:gd name="connsiteX74" fmla="*/ 7631779 w 8636594"/>
              <a:gd name="connsiteY74" fmla="*/ 1078937 h 6031671"/>
              <a:gd name="connsiteX75" fmla="*/ 7661855 w 8636594"/>
              <a:gd name="connsiteY75" fmla="*/ 1038876 h 6031671"/>
              <a:gd name="connsiteX76" fmla="*/ 7692111 w 8636594"/>
              <a:gd name="connsiteY76" fmla="*/ 999035 h 6031671"/>
              <a:gd name="connsiteX77" fmla="*/ 7722554 w 8636594"/>
              <a:gd name="connsiteY77" fmla="*/ 959419 h 6031671"/>
              <a:gd name="connsiteX78" fmla="*/ 7753190 w 8636594"/>
              <a:gd name="connsiteY78" fmla="*/ 920037 h 6031671"/>
              <a:gd name="connsiteX79" fmla="*/ 7784023 w 8636594"/>
              <a:gd name="connsiteY79" fmla="*/ 880894 h 6031671"/>
              <a:gd name="connsiteX80" fmla="*/ 7815061 w 8636594"/>
              <a:gd name="connsiteY80" fmla="*/ 841997 h 6031671"/>
              <a:gd name="connsiteX81" fmla="*/ 7846308 w 8636594"/>
              <a:gd name="connsiteY81" fmla="*/ 803354 h 6031671"/>
              <a:gd name="connsiteX82" fmla="*/ 7877772 w 8636594"/>
              <a:gd name="connsiteY82" fmla="*/ 764970 h 6031671"/>
              <a:gd name="connsiteX83" fmla="*/ 7909458 w 8636594"/>
              <a:gd name="connsiteY83" fmla="*/ 726853 h 6031671"/>
              <a:gd name="connsiteX84" fmla="*/ 7941371 w 8636594"/>
              <a:gd name="connsiteY84" fmla="*/ 689010 h 6031671"/>
              <a:gd name="connsiteX85" fmla="*/ 7973518 w 8636594"/>
              <a:gd name="connsiteY85" fmla="*/ 651447 h 6031671"/>
              <a:gd name="connsiteX86" fmla="*/ 8005905 w 8636594"/>
              <a:gd name="connsiteY86" fmla="*/ 614171 h 6031671"/>
              <a:gd name="connsiteX87" fmla="*/ 8038538 w 8636594"/>
              <a:gd name="connsiteY87" fmla="*/ 577189 h 6031671"/>
              <a:gd name="connsiteX88" fmla="*/ 8071421 w 8636594"/>
              <a:gd name="connsiteY88" fmla="*/ 540507 h 6031671"/>
              <a:gd name="connsiteX89" fmla="*/ 8104563 w 8636594"/>
              <a:gd name="connsiteY89" fmla="*/ 504132 h 6031671"/>
              <a:gd name="connsiteX90" fmla="*/ 8137967 w 8636594"/>
              <a:gd name="connsiteY90" fmla="*/ 468072 h 6031671"/>
              <a:gd name="connsiteX91" fmla="*/ 8171641 w 8636594"/>
              <a:gd name="connsiteY91" fmla="*/ 432332 h 6031671"/>
              <a:gd name="connsiteX92" fmla="*/ 8205590 w 8636594"/>
              <a:gd name="connsiteY92" fmla="*/ 396920 h 6031671"/>
              <a:gd name="connsiteX93" fmla="*/ 8239820 w 8636594"/>
              <a:gd name="connsiteY93" fmla="*/ 361843 h 6031671"/>
              <a:gd name="connsiteX94" fmla="*/ 8274337 w 8636594"/>
              <a:gd name="connsiteY94" fmla="*/ 327107 h 6031671"/>
              <a:gd name="connsiteX95" fmla="*/ 8309147 w 8636594"/>
              <a:gd name="connsiteY95" fmla="*/ 292718 h 6031671"/>
              <a:gd name="connsiteX96" fmla="*/ 8344256 w 8636594"/>
              <a:gd name="connsiteY96" fmla="*/ 258685 h 6031671"/>
              <a:gd name="connsiteX97" fmla="*/ 8379669 w 8636594"/>
              <a:gd name="connsiteY97" fmla="*/ 225013 h 6031671"/>
              <a:gd name="connsiteX98" fmla="*/ 8415394 w 8636594"/>
              <a:gd name="connsiteY98" fmla="*/ 191709 h 6031671"/>
              <a:gd name="connsiteX99" fmla="*/ 8451434 w 8636594"/>
              <a:gd name="connsiteY99" fmla="*/ 158780 h 6031671"/>
              <a:gd name="connsiteX100" fmla="*/ 8487798 w 8636594"/>
              <a:gd name="connsiteY100" fmla="*/ 126233 h 6031671"/>
              <a:gd name="connsiteX101" fmla="*/ 8524489 w 8636594"/>
              <a:gd name="connsiteY101" fmla="*/ 94075 h 6031671"/>
              <a:gd name="connsiteX102" fmla="*/ 8561515 w 8636594"/>
              <a:gd name="connsiteY102" fmla="*/ 62312 h 6031671"/>
              <a:gd name="connsiteX103" fmla="*/ 8598881 w 8636594"/>
              <a:gd name="connsiteY103" fmla="*/ 30951 h 6031671"/>
              <a:gd name="connsiteX104" fmla="*/ 8636594 w 8636594"/>
              <a:gd name="connsiteY104" fmla="*/ 0 h 6031671"/>
              <a:gd name="connsiteX0" fmla="*/ 8636594 w 8636594"/>
              <a:gd name="connsiteY0" fmla="*/ 0 h 6008288"/>
              <a:gd name="connsiteX1" fmla="*/ 5293 w 8636594"/>
              <a:gd name="connsiteY1" fmla="*/ 0 h 6008288"/>
              <a:gd name="connsiteX2" fmla="*/ 0 w 8636594"/>
              <a:gd name="connsiteY2" fmla="*/ 5587843 h 6008288"/>
              <a:gd name="connsiteX3" fmla="*/ 3842810 w 8636594"/>
              <a:gd name="connsiteY3" fmla="*/ 6008288 h 6008288"/>
              <a:gd name="connsiteX4" fmla="*/ 3882352 w 8636594"/>
              <a:gd name="connsiteY4" fmla="*/ 5984588 h 6008288"/>
              <a:gd name="connsiteX5" fmla="*/ 3921445 w 8636594"/>
              <a:gd name="connsiteY5" fmla="*/ 5960574 h 6008288"/>
              <a:gd name="connsiteX6" fmla="*/ 3960096 w 8636594"/>
              <a:gd name="connsiteY6" fmla="*/ 5936250 h 6008288"/>
              <a:gd name="connsiteX7" fmla="*/ 3998311 w 8636594"/>
              <a:gd name="connsiteY7" fmla="*/ 5911619 h 6008288"/>
              <a:gd name="connsiteX8" fmla="*/ 4036095 w 8636594"/>
              <a:gd name="connsiteY8" fmla="*/ 5886685 h 6008288"/>
              <a:gd name="connsiteX9" fmla="*/ 4073456 w 8636594"/>
              <a:gd name="connsiteY9" fmla="*/ 5861452 h 6008288"/>
              <a:gd name="connsiteX10" fmla="*/ 4110400 w 8636594"/>
              <a:gd name="connsiteY10" fmla="*/ 5835922 h 6008288"/>
              <a:gd name="connsiteX11" fmla="*/ 4146933 w 8636594"/>
              <a:gd name="connsiteY11" fmla="*/ 5810100 h 6008288"/>
              <a:gd name="connsiteX12" fmla="*/ 4183061 w 8636594"/>
              <a:gd name="connsiteY12" fmla="*/ 5783988 h 6008288"/>
              <a:gd name="connsiteX13" fmla="*/ 4218791 w 8636594"/>
              <a:gd name="connsiteY13" fmla="*/ 5757591 h 6008288"/>
              <a:gd name="connsiteX14" fmla="*/ 4254129 w 8636594"/>
              <a:gd name="connsiteY14" fmla="*/ 5730912 h 6008288"/>
              <a:gd name="connsiteX15" fmla="*/ 4289081 w 8636594"/>
              <a:gd name="connsiteY15" fmla="*/ 5703955 h 6008288"/>
              <a:gd name="connsiteX16" fmla="*/ 4323654 w 8636594"/>
              <a:gd name="connsiteY16" fmla="*/ 5676722 h 6008288"/>
              <a:gd name="connsiteX17" fmla="*/ 4357854 w 8636594"/>
              <a:gd name="connsiteY17" fmla="*/ 5649218 h 6008288"/>
              <a:gd name="connsiteX18" fmla="*/ 4391688 w 8636594"/>
              <a:gd name="connsiteY18" fmla="*/ 5621446 h 6008288"/>
              <a:gd name="connsiteX19" fmla="*/ 4425162 w 8636594"/>
              <a:gd name="connsiteY19" fmla="*/ 5593409 h 6008288"/>
              <a:gd name="connsiteX20" fmla="*/ 4458281 w 8636594"/>
              <a:gd name="connsiteY20" fmla="*/ 5565111 h 6008288"/>
              <a:gd name="connsiteX21" fmla="*/ 4491053 w 8636594"/>
              <a:gd name="connsiteY21" fmla="*/ 5536556 h 6008288"/>
              <a:gd name="connsiteX22" fmla="*/ 4523484 w 8636594"/>
              <a:gd name="connsiteY22" fmla="*/ 5507747 h 6008288"/>
              <a:gd name="connsiteX23" fmla="*/ 4555580 w 8636594"/>
              <a:gd name="connsiteY23" fmla="*/ 5478687 h 6008288"/>
              <a:gd name="connsiteX24" fmla="*/ 4587347 w 8636594"/>
              <a:gd name="connsiteY24" fmla="*/ 5449380 h 6008288"/>
              <a:gd name="connsiteX25" fmla="*/ 4618793 w 8636594"/>
              <a:gd name="connsiteY25" fmla="*/ 5419830 h 6008288"/>
              <a:gd name="connsiteX26" fmla="*/ 4649922 w 8636594"/>
              <a:gd name="connsiteY26" fmla="*/ 5390040 h 6008288"/>
              <a:gd name="connsiteX27" fmla="*/ 4680742 w 8636594"/>
              <a:gd name="connsiteY27" fmla="*/ 5360014 h 6008288"/>
              <a:gd name="connsiteX28" fmla="*/ 4711259 w 8636594"/>
              <a:gd name="connsiteY28" fmla="*/ 5329755 h 6008288"/>
              <a:gd name="connsiteX29" fmla="*/ 4741478 w 8636594"/>
              <a:gd name="connsiteY29" fmla="*/ 5299266 h 6008288"/>
              <a:gd name="connsiteX30" fmla="*/ 4771408 w 8636594"/>
              <a:gd name="connsiteY30" fmla="*/ 5268551 h 6008288"/>
              <a:gd name="connsiteX31" fmla="*/ 4801053 w 8636594"/>
              <a:gd name="connsiteY31" fmla="*/ 5237614 h 6008288"/>
              <a:gd name="connsiteX32" fmla="*/ 4830420 w 8636594"/>
              <a:gd name="connsiteY32" fmla="*/ 5206458 h 6008288"/>
              <a:gd name="connsiteX33" fmla="*/ 4859516 w 8636594"/>
              <a:gd name="connsiteY33" fmla="*/ 5175087 h 6008288"/>
              <a:gd name="connsiteX34" fmla="*/ 4888347 w 8636594"/>
              <a:gd name="connsiteY34" fmla="*/ 5143504 h 6008288"/>
              <a:gd name="connsiteX35" fmla="*/ 4916919 w 8636594"/>
              <a:gd name="connsiteY35" fmla="*/ 5111713 h 6008288"/>
              <a:gd name="connsiteX36" fmla="*/ 4945238 w 8636594"/>
              <a:gd name="connsiteY36" fmla="*/ 5079717 h 6008288"/>
              <a:gd name="connsiteX37" fmla="*/ 4973311 w 8636594"/>
              <a:gd name="connsiteY37" fmla="*/ 5047519 h 6008288"/>
              <a:gd name="connsiteX38" fmla="*/ 5001145 w 8636594"/>
              <a:gd name="connsiteY38" fmla="*/ 5015124 h 6008288"/>
              <a:gd name="connsiteX39" fmla="*/ 5028745 w 8636594"/>
              <a:gd name="connsiteY39" fmla="*/ 4982535 h 6008288"/>
              <a:gd name="connsiteX40" fmla="*/ 5056117 w 8636594"/>
              <a:gd name="connsiteY40" fmla="*/ 4949755 h 6008288"/>
              <a:gd name="connsiteX41" fmla="*/ 5083269 w 8636594"/>
              <a:gd name="connsiteY41" fmla="*/ 4916787 h 6008288"/>
              <a:gd name="connsiteX42" fmla="*/ 5110207 w 8636594"/>
              <a:gd name="connsiteY42" fmla="*/ 4883636 h 6008288"/>
              <a:gd name="connsiteX43" fmla="*/ 5136937 w 8636594"/>
              <a:gd name="connsiteY43" fmla="*/ 4850305 h 6008288"/>
              <a:gd name="connsiteX44" fmla="*/ 5163464 w 8636594"/>
              <a:gd name="connsiteY44" fmla="*/ 4816797 h 6008288"/>
              <a:gd name="connsiteX45" fmla="*/ 5215940 w 8636594"/>
              <a:gd name="connsiteY45" fmla="*/ 4749265 h 6008288"/>
              <a:gd name="connsiteX46" fmla="*/ 5267684 w 8636594"/>
              <a:gd name="connsiteY46" fmla="*/ 4681068 h 6008288"/>
              <a:gd name="connsiteX47" fmla="*/ 5318748 w 8636594"/>
              <a:gd name="connsiteY47" fmla="*/ 4612234 h 6008288"/>
              <a:gd name="connsiteX48" fmla="*/ 5369182 w 8636594"/>
              <a:gd name="connsiteY48" fmla="*/ 4542793 h 6008288"/>
              <a:gd name="connsiteX49" fmla="*/ 5419038 w 8636594"/>
              <a:gd name="connsiteY49" fmla="*/ 4472771 h 6008288"/>
              <a:gd name="connsiteX50" fmla="*/ 5468365 w 8636594"/>
              <a:gd name="connsiteY50" fmla="*/ 4402196 h 6008288"/>
              <a:gd name="connsiteX51" fmla="*/ 5517215 w 8636594"/>
              <a:gd name="connsiteY51" fmla="*/ 4331098 h 6008288"/>
              <a:gd name="connsiteX52" fmla="*/ 5565637 w 8636594"/>
              <a:gd name="connsiteY52" fmla="*/ 4259503 h 6008288"/>
              <a:gd name="connsiteX53" fmla="*/ 5613684 w 8636594"/>
              <a:gd name="connsiteY53" fmla="*/ 4187441 h 6008288"/>
              <a:gd name="connsiteX54" fmla="*/ 5685160 w 8636594"/>
              <a:gd name="connsiteY54" fmla="*/ 4078531 h 6008288"/>
              <a:gd name="connsiteX55" fmla="*/ 5756074 w 8636594"/>
              <a:gd name="connsiteY55" fmla="*/ 3968727 h 6008288"/>
              <a:gd name="connsiteX56" fmla="*/ 5873483 w 8636594"/>
              <a:gd name="connsiteY56" fmla="*/ 3783989 h 6008288"/>
              <a:gd name="connsiteX57" fmla="*/ 6203209 w 8636594"/>
              <a:gd name="connsiteY57" fmla="*/ 3258640 h 6008288"/>
              <a:gd name="connsiteX58" fmla="*/ 6299430 w 8636594"/>
              <a:gd name="connsiteY58" fmla="*/ 3107321 h 6008288"/>
              <a:gd name="connsiteX59" fmla="*/ 6372650 w 8636594"/>
              <a:gd name="connsiteY59" fmla="*/ 2993735 h 6008288"/>
              <a:gd name="connsiteX60" fmla="*/ 6453197 w 8636594"/>
              <a:gd name="connsiteY60" fmla="*/ 2869788 h 6008288"/>
              <a:gd name="connsiteX61" fmla="*/ 6564167 w 8636594"/>
              <a:gd name="connsiteY61" fmla="*/ 2696807 h 6008288"/>
              <a:gd name="connsiteX62" fmla="*/ 6976233 w 8636594"/>
              <a:gd name="connsiteY62" fmla="*/ 2045274 h 6008288"/>
              <a:gd name="connsiteX63" fmla="*/ 7086755 w 8636594"/>
              <a:gd name="connsiteY63" fmla="*/ 1872743 h 6008288"/>
              <a:gd name="connsiteX64" fmla="*/ 7170279 w 8636594"/>
              <a:gd name="connsiteY64" fmla="*/ 1744202 h 6008288"/>
              <a:gd name="connsiteX65" fmla="*/ 7226351 w 8636594"/>
              <a:gd name="connsiteY65" fmla="*/ 1659017 h 6008288"/>
              <a:gd name="connsiteX66" fmla="*/ 7282789 w 8636594"/>
              <a:gd name="connsiteY66" fmla="*/ 1574303 h 6008288"/>
              <a:gd name="connsiteX67" fmla="*/ 7339643 w 8636594"/>
              <a:gd name="connsiteY67" fmla="*/ 1490113 h 6008288"/>
              <a:gd name="connsiteX68" fmla="*/ 7396957 w 8636594"/>
              <a:gd name="connsiteY68" fmla="*/ 1406503 h 6008288"/>
              <a:gd name="connsiteX69" fmla="*/ 7454781 w 8636594"/>
              <a:gd name="connsiteY69" fmla="*/ 1323526 h 6008288"/>
              <a:gd name="connsiteX70" fmla="*/ 7513161 w 8636594"/>
              <a:gd name="connsiteY70" fmla="*/ 1241237 h 6008288"/>
              <a:gd name="connsiteX71" fmla="*/ 7572144 w 8636594"/>
              <a:gd name="connsiteY71" fmla="*/ 1159689 h 6008288"/>
              <a:gd name="connsiteX72" fmla="*/ 7601877 w 8636594"/>
              <a:gd name="connsiteY72" fmla="*/ 1119210 h 6008288"/>
              <a:gd name="connsiteX73" fmla="*/ 7631779 w 8636594"/>
              <a:gd name="connsiteY73" fmla="*/ 1078937 h 6008288"/>
              <a:gd name="connsiteX74" fmla="*/ 7661855 w 8636594"/>
              <a:gd name="connsiteY74" fmla="*/ 1038876 h 6008288"/>
              <a:gd name="connsiteX75" fmla="*/ 7692111 w 8636594"/>
              <a:gd name="connsiteY75" fmla="*/ 999035 h 6008288"/>
              <a:gd name="connsiteX76" fmla="*/ 7722554 w 8636594"/>
              <a:gd name="connsiteY76" fmla="*/ 959419 h 6008288"/>
              <a:gd name="connsiteX77" fmla="*/ 7753190 w 8636594"/>
              <a:gd name="connsiteY77" fmla="*/ 920037 h 6008288"/>
              <a:gd name="connsiteX78" fmla="*/ 7784023 w 8636594"/>
              <a:gd name="connsiteY78" fmla="*/ 880894 h 6008288"/>
              <a:gd name="connsiteX79" fmla="*/ 7815061 w 8636594"/>
              <a:gd name="connsiteY79" fmla="*/ 841997 h 6008288"/>
              <a:gd name="connsiteX80" fmla="*/ 7846308 w 8636594"/>
              <a:gd name="connsiteY80" fmla="*/ 803354 h 6008288"/>
              <a:gd name="connsiteX81" fmla="*/ 7877772 w 8636594"/>
              <a:gd name="connsiteY81" fmla="*/ 764970 h 6008288"/>
              <a:gd name="connsiteX82" fmla="*/ 7909458 w 8636594"/>
              <a:gd name="connsiteY82" fmla="*/ 726853 h 6008288"/>
              <a:gd name="connsiteX83" fmla="*/ 7941371 w 8636594"/>
              <a:gd name="connsiteY83" fmla="*/ 689010 h 6008288"/>
              <a:gd name="connsiteX84" fmla="*/ 7973518 w 8636594"/>
              <a:gd name="connsiteY84" fmla="*/ 651447 h 6008288"/>
              <a:gd name="connsiteX85" fmla="*/ 8005905 w 8636594"/>
              <a:gd name="connsiteY85" fmla="*/ 614171 h 6008288"/>
              <a:gd name="connsiteX86" fmla="*/ 8038538 w 8636594"/>
              <a:gd name="connsiteY86" fmla="*/ 577189 h 6008288"/>
              <a:gd name="connsiteX87" fmla="*/ 8071421 w 8636594"/>
              <a:gd name="connsiteY87" fmla="*/ 540507 h 6008288"/>
              <a:gd name="connsiteX88" fmla="*/ 8104563 w 8636594"/>
              <a:gd name="connsiteY88" fmla="*/ 504132 h 6008288"/>
              <a:gd name="connsiteX89" fmla="*/ 8137967 w 8636594"/>
              <a:gd name="connsiteY89" fmla="*/ 468072 h 6008288"/>
              <a:gd name="connsiteX90" fmla="*/ 8171641 w 8636594"/>
              <a:gd name="connsiteY90" fmla="*/ 432332 h 6008288"/>
              <a:gd name="connsiteX91" fmla="*/ 8205590 w 8636594"/>
              <a:gd name="connsiteY91" fmla="*/ 396920 h 6008288"/>
              <a:gd name="connsiteX92" fmla="*/ 8239820 w 8636594"/>
              <a:gd name="connsiteY92" fmla="*/ 361843 h 6008288"/>
              <a:gd name="connsiteX93" fmla="*/ 8274337 w 8636594"/>
              <a:gd name="connsiteY93" fmla="*/ 327107 h 6008288"/>
              <a:gd name="connsiteX94" fmla="*/ 8309147 w 8636594"/>
              <a:gd name="connsiteY94" fmla="*/ 292718 h 6008288"/>
              <a:gd name="connsiteX95" fmla="*/ 8344256 w 8636594"/>
              <a:gd name="connsiteY95" fmla="*/ 258685 h 6008288"/>
              <a:gd name="connsiteX96" fmla="*/ 8379669 w 8636594"/>
              <a:gd name="connsiteY96" fmla="*/ 225013 h 6008288"/>
              <a:gd name="connsiteX97" fmla="*/ 8415394 w 8636594"/>
              <a:gd name="connsiteY97" fmla="*/ 191709 h 6008288"/>
              <a:gd name="connsiteX98" fmla="*/ 8451434 w 8636594"/>
              <a:gd name="connsiteY98" fmla="*/ 158780 h 6008288"/>
              <a:gd name="connsiteX99" fmla="*/ 8487798 w 8636594"/>
              <a:gd name="connsiteY99" fmla="*/ 126233 h 6008288"/>
              <a:gd name="connsiteX100" fmla="*/ 8524489 w 8636594"/>
              <a:gd name="connsiteY100" fmla="*/ 94075 h 6008288"/>
              <a:gd name="connsiteX101" fmla="*/ 8561515 w 8636594"/>
              <a:gd name="connsiteY101" fmla="*/ 62312 h 6008288"/>
              <a:gd name="connsiteX102" fmla="*/ 8598881 w 8636594"/>
              <a:gd name="connsiteY102" fmla="*/ 30951 h 6008288"/>
              <a:gd name="connsiteX103" fmla="*/ 8636594 w 8636594"/>
              <a:gd name="connsiteY103" fmla="*/ 0 h 6008288"/>
              <a:gd name="connsiteX0" fmla="*/ 8636594 w 8636594"/>
              <a:gd name="connsiteY0" fmla="*/ 0 h 5984588"/>
              <a:gd name="connsiteX1" fmla="*/ 5293 w 8636594"/>
              <a:gd name="connsiteY1" fmla="*/ 0 h 5984588"/>
              <a:gd name="connsiteX2" fmla="*/ 0 w 8636594"/>
              <a:gd name="connsiteY2" fmla="*/ 5587843 h 5984588"/>
              <a:gd name="connsiteX3" fmla="*/ 3882352 w 8636594"/>
              <a:gd name="connsiteY3" fmla="*/ 5984588 h 5984588"/>
              <a:gd name="connsiteX4" fmla="*/ 3921445 w 8636594"/>
              <a:gd name="connsiteY4" fmla="*/ 5960574 h 5984588"/>
              <a:gd name="connsiteX5" fmla="*/ 3960096 w 8636594"/>
              <a:gd name="connsiteY5" fmla="*/ 5936250 h 5984588"/>
              <a:gd name="connsiteX6" fmla="*/ 3998311 w 8636594"/>
              <a:gd name="connsiteY6" fmla="*/ 5911619 h 5984588"/>
              <a:gd name="connsiteX7" fmla="*/ 4036095 w 8636594"/>
              <a:gd name="connsiteY7" fmla="*/ 5886685 h 5984588"/>
              <a:gd name="connsiteX8" fmla="*/ 4073456 w 8636594"/>
              <a:gd name="connsiteY8" fmla="*/ 5861452 h 5984588"/>
              <a:gd name="connsiteX9" fmla="*/ 4110400 w 8636594"/>
              <a:gd name="connsiteY9" fmla="*/ 5835922 h 5984588"/>
              <a:gd name="connsiteX10" fmla="*/ 4146933 w 8636594"/>
              <a:gd name="connsiteY10" fmla="*/ 5810100 h 5984588"/>
              <a:gd name="connsiteX11" fmla="*/ 4183061 w 8636594"/>
              <a:gd name="connsiteY11" fmla="*/ 5783988 h 5984588"/>
              <a:gd name="connsiteX12" fmla="*/ 4218791 w 8636594"/>
              <a:gd name="connsiteY12" fmla="*/ 5757591 h 5984588"/>
              <a:gd name="connsiteX13" fmla="*/ 4254129 w 8636594"/>
              <a:gd name="connsiteY13" fmla="*/ 5730912 h 5984588"/>
              <a:gd name="connsiteX14" fmla="*/ 4289081 w 8636594"/>
              <a:gd name="connsiteY14" fmla="*/ 5703955 h 5984588"/>
              <a:gd name="connsiteX15" fmla="*/ 4323654 w 8636594"/>
              <a:gd name="connsiteY15" fmla="*/ 5676722 h 5984588"/>
              <a:gd name="connsiteX16" fmla="*/ 4357854 w 8636594"/>
              <a:gd name="connsiteY16" fmla="*/ 5649218 h 5984588"/>
              <a:gd name="connsiteX17" fmla="*/ 4391688 w 8636594"/>
              <a:gd name="connsiteY17" fmla="*/ 5621446 h 5984588"/>
              <a:gd name="connsiteX18" fmla="*/ 4425162 w 8636594"/>
              <a:gd name="connsiteY18" fmla="*/ 5593409 h 5984588"/>
              <a:gd name="connsiteX19" fmla="*/ 4458281 w 8636594"/>
              <a:gd name="connsiteY19" fmla="*/ 5565111 h 5984588"/>
              <a:gd name="connsiteX20" fmla="*/ 4491053 w 8636594"/>
              <a:gd name="connsiteY20" fmla="*/ 5536556 h 5984588"/>
              <a:gd name="connsiteX21" fmla="*/ 4523484 w 8636594"/>
              <a:gd name="connsiteY21" fmla="*/ 5507747 h 5984588"/>
              <a:gd name="connsiteX22" fmla="*/ 4555580 w 8636594"/>
              <a:gd name="connsiteY22" fmla="*/ 5478687 h 5984588"/>
              <a:gd name="connsiteX23" fmla="*/ 4587347 w 8636594"/>
              <a:gd name="connsiteY23" fmla="*/ 5449380 h 5984588"/>
              <a:gd name="connsiteX24" fmla="*/ 4618793 w 8636594"/>
              <a:gd name="connsiteY24" fmla="*/ 5419830 h 5984588"/>
              <a:gd name="connsiteX25" fmla="*/ 4649922 w 8636594"/>
              <a:gd name="connsiteY25" fmla="*/ 5390040 h 5984588"/>
              <a:gd name="connsiteX26" fmla="*/ 4680742 w 8636594"/>
              <a:gd name="connsiteY26" fmla="*/ 5360014 h 5984588"/>
              <a:gd name="connsiteX27" fmla="*/ 4711259 w 8636594"/>
              <a:gd name="connsiteY27" fmla="*/ 5329755 h 5984588"/>
              <a:gd name="connsiteX28" fmla="*/ 4741478 w 8636594"/>
              <a:gd name="connsiteY28" fmla="*/ 5299266 h 5984588"/>
              <a:gd name="connsiteX29" fmla="*/ 4771408 w 8636594"/>
              <a:gd name="connsiteY29" fmla="*/ 5268551 h 5984588"/>
              <a:gd name="connsiteX30" fmla="*/ 4801053 w 8636594"/>
              <a:gd name="connsiteY30" fmla="*/ 5237614 h 5984588"/>
              <a:gd name="connsiteX31" fmla="*/ 4830420 w 8636594"/>
              <a:gd name="connsiteY31" fmla="*/ 5206458 h 5984588"/>
              <a:gd name="connsiteX32" fmla="*/ 4859516 w 8636594"/>
              <a:gd name="connsiteY32" fmla="*/ 5175087 h 5984588"/>
              <a:gd name="connsiteX33" fmla="*/ 4888347 w 8636594"/>
              <a:gd name="connsiteY33" fmla="*/ 5143504 h 5984588"/>
              <a:gd name="connsiteX34" fmla="*/ 4916919 w 8636594"/>
              <a:gd name="connsiteY34" fmla="*/ 5111713 h 5984588"/>
              <a:gd name="connsiteX35" fmla="*/ 4945238 w 8636594"/>
              <a:gd name="connsiteY35" fmla="*/ 5079717 h 5984588"/>
              <a:gd name="connsiteX36" fmla="*/ 4973311 w 8636594"/>
              <a:gd name="connsiteY36" fmla="*/ 5047519 h 5984588"/>
              <a:gd name="connsiteX37" fmla="*/ 5001145 w 8636594"/>
              <a:gd name="connsiteY37" fmla="*/ 5015124 h 5984588"/>
              <a:gd name="connsiteX38" fmla="*/ 5028745 w 8636594"/>
              <a:gd name="connsiteY38" fmla="*/ 4982535 h 5984588"/>
              <a:gd name="connsiteX39" fmla="*/ 5056117 w 8636594"/>
              <a:gd name="connsiteY39" fmla="*/ 4949755 h 5984588"/>
              <a:gd name="connsiteX40" fmla="*/ 5083269 w 8636594"/>
              <a:gd name="connsiteY40" fmla="*/ 4916787 h 5984588"/>
              <a:gd name="connsiteX41" fmla="*/ 5110207 w 8636594"/>
              <a:gd name="connsiteY41" fmla="*/ 4883636 h 5984588"/>
              <a:gd name="connsiteX42" fmla="*/ 5136937 w 8636594"/>
              <a:gd name="connsiteY42" fmla="*/ 4850305 h 5984588"/>
              <a:gd name="connsiteX43" fmla="*/ 5163464 w 8636594"/>
              <a:gd name="connsiteY43" fmla="*/ 4816797 h 5984588"/>
              <a:gd name="connsiteX44" fmla="*/ 5215940 w 8636594"/>
              <a:gd name="connsiteY44" fmla="*/ 4749265 h 5984588"/>
              <a:gd name="connsiteX45" fmla="*/ 5267684 w 8636594"/>
              <a:gd name="connsiteY45" fmla="*/ 4681068 h 5984588"/>
              <a:gd name="connsiteX46" fmla="*/ 5318748 w 8636594"/>
              <a:gd name="connsiteY46" fmla="*/ 4612234 h 5984588"/>
              <a:gd name="connsiteX47" fmla="*/ 5369182 w 8636594"/>
              <a:gd name="connsiteY47" fmla="*/ 4542793 h 5984588"/>
              <a:gd name="connsiteX48" fmla="*/ 5419038 w 8636594"/>
              <a:gd name="connsiteY48" fmla="*/ 4472771 h 5984588"/>
              <a:gd name="connsiteX49" fmla="*/ 5468365 w 8636594"/>
              <a:gd name="connsiteY49" fmla="*/ 4402196 h 5984588"/>
              <a:gd name="connsiteX50" fmla="*/ 5517215 w 8636594"/>
              <a:gd name="connsiteY50" fmla="*/ 4331098 h 5984588"/>
              <a:gd name="connsiteX51" fmla="*/ 5565637 w 8636594"/>
              <a:gd name="connsiteY51" fmla="*/ 4259503 h 5984588"/>
              <a:gd name="connsiteX52" fmla="*/ 5613684 w 8636594"/>
              <a:gd name="connsiteY52" fmla="*/ 4187441 h 5984588"/>
              <a:gd name="connsiteX53" fmla="*/ 5685160 w 8636594"/>
              <a:gd name="connsiteY53" fmla="*/ 4078531 h 5984588"/>
              <a:gd name="connsiteX54" fmla="*/ 5756074 w 8636594"/>
              <a:gd name="connsiteY54" fmla="*/ 3968727 h 5984588"/>
              <a:gd name="connsiteX55" fmla="*/ 5873483 w 8636594"/>
              <a:gd name="connsiteY55" fmla="*/ 3783989 h 5984588"/>
              <a:gd name="connsiteX56" fmla="*/ 6203209 w 8636594"/>
              <a:gd name="connsiteY56" fmla="*/ 3258640 h 5984588"/>
              <a:gd name="connsiteX57" fmla="*/ 6299430 w 8636594"/>
              <a:gd name="connsiteY57" fmla="*/ 3107321 h 5984588"/>
              <a:gd name="connsiteX58" fmla="*/ 6372650 w 8636594"/>
              <a:gd name="connsiteY58" fmla="*/ 2993735 h 5984588"/>
              <a:gd name="connsiteX59" fmla="*/ 6453197 w 8636594"/>
              <a:gd name="connsiteY59" fmla="*/ 2869788 h 5984588"/>
              <a:gd name="connsiteX60" fmla="*/ 6564167 w 8636594"/>
              <a:gd name="connsiteY60" fmla="*/ 2696807 h 5984588"/>
              <a:gd name="connsiteX61" fmla="*/ 6976233 w 8636594"/>
              <a:gd name="connsiteY61" fmla="*/ 2045274 h 5984588"/>
              <a:gd name="connsiteX62" fmla="*/ 7086755 w 8636594"/>
              <a:gd name="connsiteY62" fmla="*/ 1872743 h 5984588"/>
              <a:gd name="connsiteX63" fmla="*/ 7170279 w 8636594"/>
              <a:gd name="connsiteY63" fmla="*/ 1744202 h 5984588"/>
              <a:gd name="connsiteX64" fmla="*/ 7226351 w 8636594"/>
              <a:gd name="connsiteY64" fmla="*/ 1659017 h 5984588"/>
              <a:gd name="connsiteX65" fmla="*/ 7282789 w 8636594"/>
              <a:gd name="connsiteY65" fmla="*/ 1574303 h 5984588"/>
              <a:gd name="connsiteX66" fmla="*/ 7339643 w 8636594"/>
              <a:gd name="connsiteY66" fmla="*/ 1490113 h 5984588"/>
              <a:gd name="connsiteX67" fmla="*/ 7396957 w 8636594"/>
              <a:gd name="connsiteY67" fmla="*/ 1406503 h 5984588"/>
              <a:gd name="connsiteX68" fmla="*/ 7454781 w 8636594"/>
              <a:gd name="connsiteY68" fmla="*/ 1323526 h 5984588"/>
              <a:gd name="connsiteX69" fmla="*/ 7513161 w 8636594"/>
              <a:gd name="connsiteY69" fmla="*/ 1241237 h 5984588"/>
              <a:gd name="connsiteX70" fmla="*/ 7572144 w 8636594"/>
              <a:gd name="connsiteY70" fmla="*/ 1159689 h 5984588"/>
              <a:gd name="connsiteX71" fmla="*/ 7601877 w 8636594"/>
              <a:gd name="connsiteY71" fmla="*/ 1119210 h 5984588"/>
              <a:gd name="connsiteX72" fmla="*/ 7631779 w 8636594"/>
              <a:gd name="connsiteY72" fmla="*/ 1078937 h 5984588"/>
              <a:gd name="connsiteX73" fmla="*/ 7661855 w 8636594"/>
              <a:gd name="connsiteY73" fmla="*/ 1038876 h 5984588"/>
              <a:gd name="connsiteX74" fmla="*/ 7692111 w 8636594"/>
              <a:gd name="connsiteY74" fmla="*/ 999035 h 5984588"/>
              <a:gd name="connsiteX75" fmla="*/ 7722554 w 8636594"/>
              <a:gd name="connsiteY75" fmla="*/ 959419 h 5984588"/>
              <a:gd name="connsiteX76" fmla="*/ 7753190 w 8636594"/>
              <a:gd name="connsiteY76" fmla="*/ 920037 h 5984588"/>
              <a:gd name="connsiteX77" fmla="*/ 7784023 w 8636594"/>
              <a:gd name="connsiteY77" fmla="*/ 880894 h 5984588"/>
              <a:gd name="connsiteX78" fmla="*/ 7815061 w 8636594"/>
              <a:gd name="connsiteY78" fmla="*/ 841997 h 5984588"/>
              <a:gd name="connsiteX79" fmla="*/ 7846308 w 8636594"/>
              <a:gd name="connsiteY79" fmla="*/ 803354 h 5984588"/>
              <a:gd name="connsiteX80" fmla="*/ 7877772 w 8636594"/>
              <a:gd name="connsiteY80" fmla="*/ 764970 h 5984588"/>
              <a:gd name="connsiteX81" fmla="*/ 7909458 w 8636594"/>
              <a:gd name="connsiteY81" fmla="*/ 726853 h 5984588"/>
              <a:gd name="connsiteX82" fmla="*/ 7941371 w 8636594"/>
              <a:gd name="connsiteY82" fmla="*/ 689010 h 5984588"/>
              <a:gd name="connsiteX83" fmla="*/ 7973518 w 8636594"/>
              <a:gd name="connsiteY83" fmla="*/ 651447 h 5984588"/>
              <a:gd name="connsiteX84" fmla="*/ 8005905 w 8636594"/>
              <a:gd name="connsiteY84" fmla="*/ 614171 h 5984588"/>
              <a:gd name="connsiteX85" fmla="*/ 8038538 w 8636594"/>
              <a:gd name="connsiteY85" fmla="*/ 577189 h 5984588"/>
              <a:gd name="connsiteX86" fmla="*/ 8071421 w 8636594"/>
              <a:gd name="connsiteY86" fmla="*/ 540507 h 5984588"/>
              <a:gd name="connsiteX87" fmla="*/ 8104563 w 8636594"/>
              <a:gd name="connsiteY87" fmla="*/ 504132 h 5984588"/>
              <a:gd name="connsiteX88" fmla="*/ 8137967 w 8636594"/>
              <a:gd name="connsiteY88" fmla="*/ 468072 h 5984588"/>
              <a:gd name="connsiteX89" fmla="*/ 8171641 w 8636594"/>
              <a:gd name="connsiteY89" fmla="*/ 432332 h 5984588"/>
              <a:gd name="connsiteX90" fmla="*/ 8205590 w 8636594"/>
              <a:gd name="connsiteY90" fmla="*/ 396920 h 5984588"/>
              <a:gd name="connsiteX91" fmla="*/ 8239820 w 8636594"/>
              <a:gd name="connsiteY91" fmla="*/ 361843 h 5984588"/>
              <a:gd name="connsiteX92" fmla="*/ 8274337 w 8636594"/>
              <a:gd name="connsiteY92" fmla="*/ 327107 h 5984588"/>
              <a:gd name="connsiteX93" fmla="*/ 8309147 w 8636594"/>
              <a:gd name="connsiteY93" fmla="*/ 292718 h 5984588"/>
              <a:gd name="connsiteX94" fmla="*/ 8344256 w 8636594"/>
              <a:gd name="connsiteY94" fmla="*/ 258685 h 5984588"/>
              <a:gd name="connsiteX95" fmla="*/ 8379669 w 8636594"/>
              <a:gd name="connsiteY95" fmla="*/ 225013 h 5984588"/>
              <a:gd name="connsiteX96" fmla="*/ 8415394 w 8636594"/>
              <a:gd name="connsiteY96" fmla="*/ 191709 h 5984588"/>
              <a:gd name="connsiteX97" fmla="*/ 8451434 w 8636594"/>
              <a:gd name="connsiteY97" fmla="*/ 158780 h 5984588"/>
              <a:gd name="connsiteX98" fmla="*/ 8487798 w 8636594"/>
              <a:gd name="connsiteY98" fmla="*/ 126233 h 5984588"/>
              <a:gd name="connsiteX99" fmla="*/ 8524489 w 8636594"/>
              <a:gd name="connsiteY99" fmla="*/ 94075 h 5984588"/>
              <a:gd name="connsiteX100" fmla="*/ 8561515 w 8636594"/>
              <a:gd name="connsiteY100" fmla="*/ 62312 h 5984588"/>
              <a:gd name="connsiteX101" fmla="*/ 8598881 w 8636594"/>
              <a:gd name="connsiteY101" fmla="*/ 30951 h 5984588"/>
              <a:gd name="connsiteX102" fmla="*/ 8636594 w 8636594"/>
              <a:gd name="connsiteY102" fmla="*/ 0 h 5984588"/>
              <a:gd name="connsiteX0" fmla="*/ 8636594 w 8636594"/>
              <a:gd name="connsiteY0" fmla="*/ 0 h 5960574"/>
              <a:gd name="connsiteX1" fmla="*/ 5293 w 8636594"/>
              <a:gd name="connsiteY1" fmla="*/ 0 h 5960574"/>
              <a:gd name="connsiteX2" fmla="*/ 0 w 8636594"/>
              <a:gd name="connsiteY2" fmla="*/ 5587843 h 5960574"/>
              <a:gd name="connsiteX3" fmla="*/ 3921445 w 8636594"/>
              <a:gd name="connsiteY3" fmla="*/ 5960574 h 5960574"/>
              <a:gd name="connsiteX4" fmla="*/ 3960096 w 8636594"/>
              <a:gd name="connsiteY4" fmla="*/ 5936250 h 5960574"/>
              <a:gd name="connsiteX5" fmla="*/ 3998311 w 8636594"/>
              <a:gd name="connsiteY5" fmla="*/ 5911619 h 5960574"/>
              <a:gd name="connsiteX6" fmla="*/ 4036095 w 8636594"/>
              <a:gd name="connsiteY6" fmla="*/ 5886685 h 5960574"/>
              <a:gd name="connsiteX7" fmla="*/ 4073456 w 8636594"/>
              <a:gd name="connsiteY7" fmla="*/ 5861452 h 5960574"/>
              <a:gd name="connsiteX8" fmla="*/ 4110400 w 8636594"/>
              <a:gd name="connsiteY8" fmla="*/ 5835922 h 5960574"/>
              <a:gd name="connsiteX9" fmla="*/ 4146933 w 8636594"/>
              <a:gd name="connsiteY9" fmla="*/ 5810100 h 5960574"/>
              <a:gd name="connsiteX10" fmla="*/ 4183061 w 8636594"/>
              <a:gd name="connsiteY10" fmla="*/ 5783988 h 5960574"/>
              <a:gd name="connsiteX11" fmla="*/ 4218791 w 8636594"/>
              <a:gd name="connsiteY11" fmla="*/ 5757591 h 5960574"/>
              <a:gd name="connsiteX12" fmla="*/ 4254129 w 8636594"/>
              <a:gd name="connsiteY12" fmla="*/ 5730912 h 5960574"/>
              <a:gd name="connsiteX13" fmla="*/ 4289081 w 8636594"/>
              <a:gd name="connsiteY13" fmla="*/ 5703955 h 5960574"/>
              <a:gd name="connsiteX14" fmla="*/ 4323654 w 8636594"/>
              <a:gd name="connsiteY14" fmla="*/ 5676722 h 5960574"/>
              <a:gd name="connsiteX15" fmla="*/ 4357854 w 8636594"/>
              <a:gd name="connsiteY15" fmla="*/ 5649218 h 5960574"/>
              <a:gd name="connsiteX16" fmla="*/ 4391688 w 8636594"/>
              <a:gd name="connsiteY16" fmla="*/ 5621446 h 5960574"/>
              <a:gd name="connsiteX17" fmla="*/ 4425162 w 8636594"/>
              <a:gd name="connsiteY17" fmla="*/ 5593409 h 5960574"/>
              <a:gd name="connsiteX18" fmla="*/ 4458281 w 8636594"/>
              <a:gd name="connsiteY18" fmla="*/ 5565111 h 5960574"/>
              <a:gd name="connsiteX19" fmla="*/ 4491053 w 8636594"/>
              <a:gd name="connsiteY19" fmla="*/ 5536556 h 5960574"/>
              <a:gd name="connsiteX20" fmla="*/ 4523484 w 8636594"/>
              <a:gd name="connsiteY20" fmla="*/ 5507747 h 5960574"/>
              <a:gd name="connsiteX21" fmla="*/ 4555580 w 8636594"/>
              <a:gd name="connsiteY21" fmla="*/ 5478687 h 5960574"/>
              <a:gd name="connsiteX22" fmla="*/ 4587347 w 8636594"/>
              <a:gd name="connsiteY22" fmla="*/ 5449380 h 5960574"/>
              <a:gd name="connsiteX23" fmla="*/ 4618793 w 8636594"/>
              <a:gd name="connsiteY23" fmla="*/ 5419830 h 5960574"/>
              <a:gd name="connsiteX24" fmla="*/ 4649922 w 8636594"/>
              <a:gd name="connsiteY24" fmla="*/ 5390040 h 5960574"/>
              <a:gd name="connsiteX25" fmla="*/ 4680742 w 8636594"/>
              <a:gd name="connsiteY25" fmla="*/ 5360014 h 5960574"/>
              <a:gd name="connsiteX26" fmla="*/ 4711259 w 8636594"/>
              <a:gd name="connsiteY26" fmla="*/ 5329755 h 5960574"/>
              <a:gd name="connsiteX27" fmla="*/ 4741478 w 8636594"/>
              <a:gd name="connsiteY27" fmla="*/ 5299266 h 5960574"/>
              <a:gd name="connsiteX28" fmla="*/ 4771408 w 8636594"/>
              <a:gd name="connsiteY28" fmla="*/ 5268551 h 5960574"/>
              <a:gd name="connsiteX29" fmla="*/ 4801053 w 8636594"/>
              <a:gd name="connsiteY29" fmla="*/ 5237614 h 5960574"/>
              <a:gd name="connsiteX30" fmla="*/ 4830420 w 8636594"/>
              <a:gd name="connsiteY30" fmla="*/ 5206458 h 5960574"/>
              <a:gd name="connsiteX31" fmla="*/ 4859516 w 8636594"/>
              <a:gd name="connsiteY31" fmla="*/ 5175087 h 5960574"/>
              <a:gd name="connsiteX32" fmla="*/ 4888347 w 8636594"/>
              <a:gd name="connsiteY32" fmla="*/ 5143504 h 5960574"/>
              <a:gd name="connsiteX33" fmla="*/ 4916919 w 8636594"/>
              <a:gd name="connsiteY33" fmla="*/ 5111713 h 5960574"/>
              <a:gd name="connsiteX34" fmla="*/ 4945238 w 8636594"/>
              <a:gd name="connsiteY34" fmla="*/ 5079717 h 5960574"/>
              <a:gd name="connsiteX35" fmla="*/ 4973311 w 8636594"/>
              <a:gd name="connsiteY35" fmla="*/ 5047519 h 5960574"/>
              <a:gd name="connsiteX36" fmla="*/ 5001145 w 8636594"/>
              <a:gd name="connsiteY36" fmla="*/ 5015124 h 5960574"/>
              <a:gd name="connsiteX37" fmla="*/ 5028745 w 8636594"/>
              <a:gd name="connsiteY37" fmla="*/ 4982535 h 5960574"/>
              <a:gd name="connsiteX38" fmla="*/ 5056117 w 8636594"/>
              <a:gd name="connsiteY38" fmla="*/ 4949755 h 5960574"/>
              <a:gd name="connsiteX39" fmla="*/ 5083269 w 8636594"/>
              <a:gd name="connsiteY39" fmla="*/ 4916787 h 5960574"/>
              <a:gd name="connsiteX40" fmla="*/ 5110207 w 8636594"/>
              <a:gd name="connsiteY40" fmla="*/ 4883636 h 5960574"/>
              <a:gd name="connsiteX41" fmla="*/ 5136937 w 8636594"/>
              <a:gd name="connsiteY41" fmla="*/ 4850305 h 5960574"/>
              <a:gd name="connsiteX42" fmla="*/ 5163464 w 8636594"/>
              <a:gd name="connsiteY42" fmla="*/ 4816797 h 5960574"/>
              <a:gd name="connsiteX43" fmla="*/ 5215940 w 8636594"/>
              <a:gd name="connsiteY43" fmla="*/ 4749265 h 5960574"/>
              <a:gd name="connsiteX44" fmla="*/ 5267684 w 8636594"/>
              <a:gd name="connsiteY44" fmla="*/ 4681068 h 5960574"/>
              <a:gd name="connsiteX45" fmla="*/ 5318748 w 8636594"/>
              <a:gd name="connsiteY45" fmla="*/ 4612234 h 5960574"/>
              <a:gd name="connsiteX46" fmla="*/ 5369182 w 8636594"/>
              <a:gd name="connsiteY46" fmla="*/ 4542793 h 5960574"/>
              <a:gd name="connsiteX47" fmla="*/ 5419038 w 8636594"/>
              <a:gd name="connsiteY47" fmla="*/ 4472771 h 5960574"/>
              <a:gd name="connsiteX48" fmla="*/ 5468365 w 8636594"/>
              <a:gd name="connsiteY48" fmla="*/ 4402196 h 5960574"/>
              <a:gd name="connsiteX49" fmla="*/ 5517215 w 8636594"/>
              <a:gd name="connsiteY49" fmla="*/ 4331098 h 5960574"/>
              <a:gd name="connsiteX50" fmla="*/ 5565637 w 8636594"/>
              <a:gd name="connsiteY50" fmla="*/ 4259503 h 5960574"/>
              <a:gd name="connsiteX51" fmla="*/ 5613684 w 8636594"/>
              <a:gd name="connsiteY51" fmla="*/ 4187441 h 5960574"/>
              <a:gd name="connsiteX52" fmla="*/ 5685160 w 8636594"/>
              <a:gd name="connsiteY52" fmla="*/ 4078531 h 5960574"/>
              <a:gd name="connsiteX53" fmla="*/ 5756074 w 8636594"/>
              <a:gd name="connsiteY53" fmla="*/ 3968727 h 5960574"/>
              <a:gd name="connsiteX54" fmla="*/ 5873483 w 8636594"/>
              <a:gd name="connsiteY54" fmla="*/ 3783989 h 5960574"/>
              <a:gd name="connsiteX55" fmla="*/ 6203209 w 8636594"/>
              <a:gd name="connsiteY55" fmla="*/ 3258640 h 5960574"/>
              <a:gd name="connsiteX56" fmla="*/ 6299430 w 8636594"/>
              <a:gd name="connsiteY56" fmla="*/ 3107321 h 5960574"/>
              <a:gd name="connsiteX57" fmla="*/ 6372650 w 8636594"/>
              <a:gd name="connsiteY57" fmla="*/ 2993735 h 5960574"/>
              <a:gd name="connsiteX58" fmla="*/ 6453197 w 8636594"/>
              <a:gd name="connsiteY58" fmla="*/ 2869788 h 5960574"/>
              <a:gd name="connsiteX59" fmla="*/ 6564167 w 8636594"/>
              <a:gd name="connsiteY59" fmla="*/ 2696807 h 5960574"/>
              <a:gd name="connsiteX60" fmla="*/ 6976233 w 8636594"/>
              <a:gd name="connsiteY60" fmla="*/ 2045274 h 5960574"/>
              <a:gd name="connsiteX61" fmla="*/ 7086755 w 8636594"/>
              <a:gd name="connsiteY61" fmla="*/ 1872743 h 5960574"/>
              <a:gd name="connsiteX62" fmla="*/ 7170279 w 8636594"/>
              <a:gd name="connsiteY62" fmla="*/ 1744202 h 5960574"/>
              <a:gd name="connsiteX63" fmla="*/ 7226351 w 8636594"/>
              <a:gd name="connsiteY63" fmla="*/ 1659017 h 5960574"/>
              <a:gd name="connsiteX64" fmla="*/ 7282789 w 8636594"/>
              <a:gd name="connsiteY64" fmla="*/ 1574303 h 5960574"/>
              <a:gd name="connsiteX65" fmla="*/ 7339643 w 8636594"/>
              <a:gd name="connsiteY65" fmla="*/ 1490113 h 5960574"/>
              <a:gd name="connsiteX66" fmla="*/ 7396957 w 8636594"/>
              <a:gd name="connsiteY66" fmla="*/ 1406503 h 5960574"/>
              <a:gd name="connsiteX67" fmla="*/ 7454781 w 8636594"/>
              <a:gd name="connsiteY67" fmla="*/ 1323526 h 5960574"/>
              <a:gd name="connsiteX68" fmla="*/ 7513161 w 8636594"/>
              <a:gd name="connsiteY68" fmla="*/ 1241237 h 5960574"/>
              <a:gd name="connsiteX69" fmla="*/ 7572144 w 8636594"/>
              <a:gd name="connsiteY69" fmla="*/ 1159689 h 5960574"/>
              <a:gd name="connsiteX70" fmla="*/ 7601877 w 8636594"/>
              <a:gd name="connsiteY70" fmla="*/ 1119210 h 5960574"/>
              <a:gd name="connsiteX71" fmla="*/ 7631779 w 8636594"/>
              <a:gd name="connsiteY71" fmla="*/ 1078937 h 5960574"/>
              <a:gd name="connsiteX72" fmla="*/ 7661855 w 8636594"/>
              <a:gd name="connsiteY72" fmla="*/ 1038876 h 5960574"/>
              <a:gd name="connsiteX73" fmla="*/ 7692111 w 8636594"/>
              <a:gd name="connsiteY73" fmla="*/ 999035 h 5960574"/>
              <a:gd name="connsiteX74" fmla="*/ 7722554 w 8636594"/>
              <a:gd name="connsiteY74" fmla="*/ 959419 h 5960574"/>
              <a:gd name="connsiteX75" fmla="*/ 7753190 w 8636594"/>
              <a:gd name="connsiteY75" fmla="*/ 920037 h 5960574"/>
              <a:gd name="connsiteX76" fmla="*/ 7784023 w 8636594"/>
              <a:gd name="connsiteY76" fmla="*/ 880894 h 5960574"/>
              <a:gd name="connsiteX77" fmla="*/ 7815061 w 8636594"/>
              <a:gd name="connsiteY77" fmla="*/ 841997 h 5960574"/>
              <a:gd name="connsiteX78" fmla="*/ 7846308 w 8636594"/>
              <a:gd name="connsiteY78" fmla="*/ 803354 h 5960574"/>
              <a:gd name="connsiteX79" fmla="*/ 7877772 w 8636594"/>
              <a:gd name="connsiteY79" fmla="*/ 764970 h 5960574"/>
              <a:gd name="connsiteX80" fmla="*/ 7909458 w 8636594"/>
              <a:gd name="connsiteY80" fmla="*/ 726853 h 5960574"/>
              <a:gd name="connsiteX81" fmla="*/ 7941371 w 8636594"/>
              <a:gd name="connsiteY81" fmla="*/ 689010 h 5960574"/>
              <a:gd name="connsiteX82" fmla="*/ 7973518 w 8636594"/>
              <a:gd name="connsiteY82" fmla="*/ 651447 h 5960574"/>
              <a:gd name="connsiteX83" fmla="*/ 8005905 w 8636594"/>
              <a:gd name="connsiteY83" fmla="*/ 614171 h 5960574"/>
              <a:gd name="connsiteX84" fmla="*/ 8038538 w 8636594"/>
              <a:gd name="connsiteY84" fmla="*/ 577189 h 5960574"/>
              <a:gd name="connsiteX85" fmla="*/ 8071421 w 8636594"/>
              <a:gd name="connsiteY85" fmla="*/ 540507 h 5960574"/>
              <a:gd name="connsiteX86" fmla="*/ 8104563 w 8636594"/>
              <a:gd name="connsiteY86" fmla="*/ 504132 h 5960574"/>
              <a:gd name="connsiteX87" fmla="*/ 8137967 w 8636594"/>
              <a:gd name="connsiteY87" fmla="*/ 468072 h 5960574"/>
              <a:gd name="connsiteX88" fmla="*/ 8171641 w 8636594"/>
              <a:gd name="connsiteY88" fmla="*/ 432332 h 5960574"/>
              <a:gd name="connsiteX89" fmla="*/ 8205590 w 8636594"/>
              <a:gd name="connsiteY89" fmla="*/ 396920 h 5960574"/>
              <a:gd name="connsiteX90" fmla="*/ 8239820 w 8636594"/>
              <a:gd name="connsiteY90" fmla="*/ 361843 h 5960574"/>
              <a:gd name="connsiteX91" fmla="*/ 8274337 w 8636594"/>
              <a:gd name="connsiteY91" fmla="*/ 327107 h 5960574"/>
              <a:gd name="connsiteX92" fmla="*/ 8309147 w 8636594"/>
              <a:gd name="connsiteY92" fmla="*/ 292718 h 5960574"/>
              <a:gd name="connsiteX93" fmla="*/ 8344256 w 8636594"/>
              <a:gd name="connsiteY93" fmla="*/ 258685 h 5960574"/>
              <a:gd name="connsiteX94" fmla="*/ 8379669 w 8636594"/>
              <a:gd name="connsiteY94" fmla="*/ 225013 h 5960574"/>
              <a:gd name="connsiteX95" fmla="*/ 8415394 w 8636594"/>
              <a:gd name="connsiteY95" fmla="*/ 191709 h 5960574"/>
              <a:gd name="connsiteX96" fmla="*/ 8451434 w 8636594"/>
              <a:gd name="connsiteY96" fmla="*/ 158780 h 5960574"/>
              <a:gd name="connsiteX97" fmla="*/ 8487798 w 8636594"/>
              <a:gd name="connsiteY97" fmla="*/ 126233 h 5960574"/>
              <a:gd name="connsiteX98" fmla="*/ 8524489 w 8636594"/>
              <a:gd name="connsiteY98" fmla="*/ 94075 h 5960574"/>
              <a:gd name="connsiteX99" fmla="*/ 8561515 w 8636594"/>
              <a:gd name="connsiteY99" fmla="*/ 62312 h 5960574"/>
              <a:gd name="connsiteX100" fmla="*/ 8598881 w 8636594"/>
              <a:gd name="connsiteY100" fmla="*/ 30951 h 5960574"/>
              <a:gd name="connsiteX101" fmla="*/ 8636594 w 8636594"/>
              <a:gd name="connsiteY101" fmla="*/ 0 h 5960574"/>
              <a:gd name="connsiteX0" fmla="*/ 8636594 w 8636594"/>
              <a:gd name="connsiteY0" fmla="*/ 0 h 5936250"/>
              <a:gd name="connsiteX1" fmla="*/ 5293 w 8636594"/>
              <a:gd name="connsiteY1" fmla="*/ 0 h 5936250"/>
              <a:gd name="connsiteX2" fmla="*/ 0 w 8636594"/>
              <a:gd name="connsiteY2" fmla="*/ 5587843 h 5936250"/>
              <a:gd name="connsiteX3" fmla="*/ 3960096 w 8636594"/>
              <a:gd name="connsiteY3" fmla="*/ 5936250 h 5936250"/>
              <a:gd name="connsiteX4" fmla="*/ 3998311 w 8636594"/>
              <a:gd name="connsiteY4" fmla="*/ 5911619 h 5936250"/>
              <a:gd name="connsiteX5" fmla="*/ 4036095 w 8636594"/>
              <a:gd name="connsiteY5" fmla="*/ 5886685 h 5936250"/>
              <a:gd name="connsiteX6" fmla="*/ 4073456 w 8636594"/>
              <a:gd name="connsiteY6" fmla="*/ 5861452 h 5936250"/>
              <a:gd name="connsiteX7" fmla="*/ 4110400 w 8636594"/>
              <a:gd name="connsiteY7" fmla="*/ 5835922 h 5936250"/>
              <a:gd name="connsiteX8" fmla="*/ 4146933 w 8636594"/>
              <a:gd name="connsiteY8" fmla="*/ 5810100 h 5936250"/>
              <a:gd name="connsiteX9" fmla="*/ 4183061 w 8636594"/>
              <a:gd name="connsiteY9" fmla="*/ 5783988 h 5936250"/>
              <a:gd name="connsiteX10" fmla="*/ 4218791 w 8636594"/>
              <a:gd name="connsiteY10" fmla="*/ 5757591 h 5936250"/>
              <a:gd name="connsiteX11" fmla="*/ 4254129 w 8636594"/>
              <a:gd name="connsiteY11" fmla="*/ 5730912 h 5936250"/>
              <a:gd name="connsiteX12" fmla="*/ 4289081 w 8636594"/>
              <a:gd name="connsiteY12" fmla="*/ 5703955 h 5936250"/>
              <a:gd name="connsiteX13" fmla="*/ 4323654 w 8636594"/>
              <a:gd name="connsiteY13" fmla="*/ 5676722 h 5936250"/>
              <a:gd name="connsiteX14" fmla="*/ 4357854 w 8636594"/>
              <a:gd name="connsiteY14" fmla="*/ 5649218 h 5936250"/>
              <a:gd name="connsiteX15" fmla="*/ 4391688 w 8636594"/>
              <a:gd name="connsiteY15" fmla="*/ 5621446 h 5936250"/>
              <a:gd name="connsiteX16" fmla="*/ 4425162 w 8636594"/>
              <a:gd name="connsiteY16" fmla="*/ 5593409 h 5936250"/>
              <a:gd name="connsiteX17" fmla="*/ 4458281 w 8636594"/>
              <a:gd name="connsiteY17" fmla="*/ 5565111 h 5936250"/>
              <a:gd name="connsiteX18" fmla="*/ 4491053 w 8636594"/>
              <a:gd name="connsiteY18" fmla="*/ 5536556 h 5936250"/>
              <a:gd name="connsiteX19" fmla="*/ 4523484 w 8636594"/>
              <a:gd name="connsiteY19" fmla="*/ 5507747 h 5936250"/>
              <a:gd name="connsiteX20" fmla="*/ 4555580 w 8636594"/>
              <a:gd name="connsiteY20" fmla="*/ 5478687 h 5936250"/>
              <a:gd name="connsiteX21" fmla="*/ 4587347 w 8636594"/>
              <a:gd name="connsiteY21" fmla="*/ 5449380 h 5936250"/>
              <a:gd name="connsiteX22" fmla="*/ 4618793 w 8636594"/>
              <a:gd name="connsiteY22" fmla="*/ 5419830 h 5936250"/>
              <a:gd name="connsiteX23" fmla="*/ 4649922 w 8636594"/>
              <a:gd name="connsiteY23" fmla="*/ 5390040 h 5936250"/>
              <a:gd name="connsiteX24" fmla="*/ 4680742 w 8636594"/>
              <a:gd name="connsiteY24" fmla="*/ 5360014 h 5936250"/>
              <a:gd name="connsiteX25" fmla="*/ 4711259 w 8636594"/>
              <a:gd name="connsiteY25" fmla="*/ 5329755 h 5936250"/>
              <a:gd name="connsiteX26" fmla="*/ 4741478 w 8636594"/>
              <a:gd name="connsiteY26" fmla="*/ 5299266 h 5936250"/>
              <a:gd name="connsiteX27" fmla="*/ 4771408 w 8636594"/>
              <a:gd name="connsiteY27" fmla="*/ 5268551 h 5936250"/>
              <a:gd name="connsiteX28" fmla="*/ 4801053 w 8636594"/>
              <a:gd name="connsiteY28" fmla="*/ 5237614 h 5936250"/>
              <a:gd name="connsiteX29" fmla="*/ 4830420 w 8636594"/>
              <a:gd name="connsiteY29" fmla="*/ 5206458 h 5936250"/>
              <a:gd name="connsiteX30" fmla="*/ 4859516 w 8636594"/>
              <a:gd name="connsiteY30" fmla="*/ 5175087 h 5936250"/>
              <a:gd name="connsiteX31" fmla="*/ 4888347 w 8636594"/>
              <a:gd name="connsiteY31" fmla="*/ 5143504 h 5936250"/>
              <a:gd name="connsiteX32" fmla="*/ 4916919 w 8636594"/>
              <a:gd name="connsiteY32" fmla="*/ 5111713 h 5936250"/>
              <a:gd name="connsiteX33" fmla="*/ 4945238 w 8636594"/>
              <a:gd name="connsiteY33" fmla="*/ 5079717 h 5936250"/>
              <a:gd name="connsiteX34" fmla="*/ 4973311 w 8636594"/>
              <a:gd name="connsiteY34" fmla="*/ 5047519 h 5936250"/>
              <a:gd name="connsiteX35" fmla="*/ 5001145 w 8636594"/>
              <a:gd name="connsiteY35" fmla="*/ 5015124 h 5936250"/>
              <a:gd name="connsiteX36" fmla="*/ 5028745 w 8636594"/>
              <a:gd name="connsiteY36" fmla="*/ 4982535 h 5936250"/>
              <a:gd name="connsiteX37" fmla="*/ 5056117 w 8636594"/>
              <a:gd name="connsiteY37" fmla="*/ 4949755 h 5936250"/>
              <a:gd name="connsiteX38" fmla="*/ 5083269 w 8636594"/>
              <a:gd name="connsiteY38" fmla="*/ 4916787 h 5936250"/>
              <a:gd name="connsiteX39" fmla="*/ 5110207 w 8636594"/>
              <a:gd name="connsiteY39" fmla="*/ 4883636 h 5936250"/>
              <a:gd name="connsiteX40" fmla="*/ 5136937 w 8636594"/>
              <a:gd name="connsiteY40" fmla="*/ 4850305 h 5936250"/>
              <a:gd name="connsiteX41" fmla="*/ 5163464 w 8636594"/>
              <a:gd name="connsiteY41" fmla="*/ 4816797 h 5936250"/>
              <a:gd name="connsiteX42" fmla="*/ 5215940 w 8636594"/>
              <a:gd name="connsiteY42" fmla="*/ 4749265 h 5936250"/>
              <a:gd name="connsiteX43" fmla="*/ 5267684 w 8636594"/>
              <a:gd name="connsiteY43" fmla="*/ 4681068 h 5936250"/>
              <a:gd name="connsiteX44" fmla="*/ 5318748 w 8636594"/>
              <a:gd name="connsiteY44" fmla="*/ 4612234 h 5936250"/>
              <a:gd name="connsiteX45" fmla="*/ 5369182 w 8636594"/>
              <a:gd name="connsiteY45" fmla="*/ 4542793 h 5936250"/>
              <a:gd name="connsiteX46" fmla="*/ 5419038 w 8636594"/>
              <a:gd name="connsiteY46" fmla="*/ 4472771 h 5936250"/>
              <a:gd name="connsiteX47" fmla="*/ 5468365 w 8636594"/>
              <a:gd name="connsiteY47" fmla="*/ 4402196 h 5936250"/>
              <a:gd name="connsiteX48" fmla="*/ 5517215 w 8636594"/>
              <a:gd name="connsiteY48" fmla="*/ 4331098 h 5936250"/>
              <a:gd name="connsiteX49" fmla="*/ 5565637 w 8636594"/>
              <a:gd name="connsiteY49" fmla="*/ 4259503 h 5936250"/>
              <a:gd name="connsiteX50" fmla="*/ 5613684 w 8636594"/>
              <a:gd name="connsiteY50" fmla="*/ 4187441 h 5936250"/>
              <a:gd name="connsiteX51" fmla="*/ 5685160 w 8636594"/>
              <a:gd name="connsiteY51" fmla="*/ 4078531 h 5936250"/>
              <a:gd name="connsiteX52" fmla="*/ 5756074 w 8636594"/>
              <a:gd name="connsiteY52" fmla="*/ 3968727 h 5936250"/>
              <a:gd name="connsiteX53" fmla="*/ 5873483 w 8636594"/>
              <a:gd name="connsiteY53" fmla="*/ 3783989 h 5936250"/>
              <a:gd name="connsiteX54" fmla="*/ 6203209 w 8636594"/>
              <a:gd name="connsiteY54" fmla="*/ 3258640 h 5936250"/>
              <a:gd name="connsiteX55" fmla="*/ 6299430 w 8636594"/>
              <a:gd name="connsiteY55" fmla="*/ 3107321 h 5936250"/>
              <a:gd name="connsiteX56" fmla="*/ 6372650 w 8636594"/>
              <a:gd name="connsiteY56" fmla="*/ 2993735 h 5936250"/>
              <a:gd name="connsiteX57" fmla="*/ 6453197 w 8636594"/>
              <a:gd name="connsiteY57" fmla="*/ 2869788 h 5936250"/>
              <a:gd name="connsiteX58" fmla="*/ 6564167 w 8636594"/>
              <a:gd name="connsiteY58" fmla="*/ 2696807 h 5936250"/>
              <a:gd name="connsiteX59" fmla="*/ 6976233 w 8636594"/>
              <a:gd name="connsiteY59" fmla="*/ 2045274 h 5936250"/>
              <a:gd name="connsiteX60" fmla="*/ 7086755 w 8636594"/>
              <a:gd name="connsiteY60" fmla="*/ 1872743 h 5936250"/>
              <a:gd name="connsiteX61" fmla="*/ 7170279 w 8636594"/>
              <a:gd name="connsiteY61" fmla="*/ 1744202 h 5936250"/>
              <a:gd name="connsiteX62" fmla="*/ 7226351 w 8636594"/>
              <a:gd name="connsiteY62" fmla="*/ 1659017 h 5936250"/>
              <a:gd name="connsiteX63" fmla="*/ 7282789 w 8636594"/>
              <a:gd name="connsiteY63" fmla="*/ 1574303 h 5936250"/>
              <a:gd name="connsiteX64" fmla="*/ 7339643 w 8636594"/>
              <a:gd name="connsiteY64" fmla="*/ 1490113 h 5936250"/>
              <a:gd name="connsiteX65" fmla="*/ 7396957 w 8636594"/>
              <a:gd name="connsiteY65" fmla="*/ 1406503 h 5936250"/>
              <a:gd name="connsiteX66" fmla="*/ 7454781 w 8636594"/>
              <a:gd name="connsiteY66" fmla="*/ 1323526 h 5936250"/>
              <a:gd name="connsiteX67" fmla="*/ 7513161 w 8636594"/>
              <a:gd name="connsiteY67" fmla="*/ 1241237 h 5936250"/>
              <a:gd name="connsiteX68" fmla="*/ 7572144 w 8636594"/>
              <a:gd name="connsiteY68" fmla="*/ 1159689 h 5936250"/>
              <a:gd name="connsiteX69" fmla="*/ 7601877 w 8636594"/>
              <a:gd name="connsiteY69" fmla="*/ 1119210 h 5936250"/>
              <a:gd name="connsiteX70" fmla="*/ 7631779 w 8636594"/>
              <a:gd name="connsiteY70" fmla="*/ 1078937 h 5936250"/>
              <a:gd name="connsiteX71" fmla="*/ 7661855 w 8636594"/>
              <a:gd name="connsiteY71" fmla="*/ 1038876 h 5936250"/>
              <a:gd name="connsiteX72" fmla="*/ 7692111 w 8636594"/>
              <a:gd name="connsiteY72" fmla="*/ 999035 h 5936250"/>
              <a:gd name="connsiteX73" fmla="*/ 7722554 w 8636594"/>
              <a:gd name="connsiteY73" fmla="*/ 959419 h 5936250"/>
              <a:gd name="connsiteX74" fmla="*/ 7753190 w 8636594"/>
              <a:gd name="connsiteY74" fmla="*/ 920037 h 5936250"/>
              <a:gd name="connsiteX75" fmla="*/ 7784023 w 8636594"/>
              <a:gd name="connsiteY75" fmla="*/ 880894 h 5936250"/>
              <a:gd name="connsiteX76" fmla="*/ 7815061 w 8636594"/>
              <a:gd name="connsiteY76" fmla="*/ 841997 h 5936250"/>
              <a:gd name="connsiteX77" fmla="*/ 7846308 w 8636594"/>
              <a:gd name="connsiteY77" fmla="*/ 803354 h 5936250"/>
              <a:gd name="connsiteX78" fmla="*/ 7877772 w 8636594"/>
              <a:gd name="connsiteY78" fmla="*/ 764970 h 5936250"/>
              <a:gd name="connsiteX79" fmla="*/ 7909458 w 8636594"/>
              <a:gd name="connsiteY79" fmla="*/ 726853 h 5936250"/>
              <a:gd name="connsiteX80" fmla="*/ 7941371 w 8636594"/>
              <a:gd name="connsiteY80" fmla="*/ 689010 h 5936250"/>
              <a:gd name="connsiteX81" fmla="*/ 7973518 w 8636594"/>
              <a:gd name="connsiteY81" fmla="*/ 651447 h 5936250"/>
              <a:gd name="connsiteX82" fmla="*/ 8005905 w 8636594"/>
              <a:gd name="connsiteY82" fmla="*/ 614171 h 5936250"/>
              <a:gd name="connsiteX83" fmla="*/ 8038538 w 8636594"/>
              <a:gd name="connsiteY83" fmla="*/ 577189 h 5936250"/>
              <a:gd name="connsiteX84" fmla="*/ 8071421 w 8636594"/>
              <a:gd name="connsiteY84" fmla="*/ 540507 h 5936250"/>
              <a:gd name="connsiteX85" fmla="*/ 8104563 w 8636594"/>
              <a:gd name="connsiteY85" fmla="*/ 504132 h 5936250"/>
              <a:gd name="connsiteX86" fmla="*/ 8137967 w 8636594"/>
              <a:gd name="connsiteY86" fmla="*/ 468072 h 5936250"/>
              <a:gd name="connsiteX87" fmla="*/ 8171641 w 8636594"/>
              <a:gd name="connsiteY87" fmla="*/ 432332 h 5936250"/>
              <a:gd name="connsiteX88" fmla="*/ 8205590 w 8636594"/>
              <a:gd name="connsiteY88" fmla="*/ 396920 h 5936250"/>
              <a:gd name="connsiteX89" fmla="*/ 8239820 w 8636594"/>
              <a:gd name="connsiteY89" fmla="*/ 361843 h 5936250"/>
              <a:gd name="connsiteX90" fmla="*/ 8274337 w 8636594"/>
              <a:gd name="connsiteY90" fmla="*/ 327107 h 5936250"/>
              <a:gd name="connsiteX91" fmla="*/ 8309147 w 8636594"/>
              <a:gd name="connsiteY91" fmla="*/ 292718 h 5936250"/>
              <a:gd name="connsiteX92" fmla="*/ 8344256 w 8636594"/>
              <a:gd name="connsiteY92" fmla="*/ 258685 h 5936250"/>
              <a:gd name="connsiteX93" fmla="*/ 8379669 w 8636594"/>
              <a:gd name="connsiteY93" fmla="*/ 225013 h 5936250"/>
              <a:gd name="connsiteX94" fmla="*/ 8415394 w 8636594"/>
              <a:gd name="connsiteY94" fmla="*/ 191709 h 5936250"/>
              <a:gd name="connsiteX95" fmla="*/ 8451434 w 8636594"/>
              <a:gd name="connsiteY95" fmla="*/ 158780 h 5936250"/>
              <a:gd name="connsiteX96" fmla="*/ 8487798 w 8636594"/>
              <a:gd name="connsiteY96" fmla="*/ 126233 h 5936250"/>
              <a:gd name="connsiteX97" fmla="*/ 8524489 w 8636594"/>
              <a:gd name="connsiteY97" fmla="*/ 94075 h 5936250"/>
              <a:gd name="connsiteX98" fmla="*/ 8561515 w 8636594"/>
              <a:gd name="connsiteY98" fmla="*/ 62312 h 5936250"/>
              <a:gd name="connsiteX99" fmla="*/ 8598881 w 8636594"/>
              <a:gd name="connsiteY99" fmla="*/ 30951 h 5936250"/>
              <a:gd name="connsiteX100" fmla="*/ 8636594 w 8636594"/>
              <a:gd name="connsiteY100" fmla="*/ 0 h 5936250"/>
              <a:gd name="connsiteX0" fmla="*/ 8636594 w 8636594"/>
              <a:gd name="connsiteY0" fmla="*/ 0 h 5911619"/>
              <a:gd name="connsiteX1" fmla="*/ 5293 w 8636594"/>
              <a:gd name="connsiteY1" fmla="*/ 0 h 5911619"/>
              <a:gd name="connsiteX2" fmla="*/ 0 w 8636594"/>
              <a:gd name="connsiteY2" fmla="*/ 5587843 h 5911619"/>
              <a:gd name="connsiteX3" fmla="*/ 3998311 w 8636594"/>
              <a:gd name="connsiteY3" fmla="*/ 5911619 h 5911619"/>
              <a:gd name="connsiteX4" fmla="*/ 4036095 w 8636594"/>
              <a:gd name="connsiteY4" fmla="*/ 5886685 h 5911619"/>
              <a:gd name="connsiteX5" fmla="*/ 4073456 w 8636594"/>
              <a:gd name="connsiteY5" fmla="*/ 5861452 h 5911619"/>
              <a:gd name="connsiteX6" fmla="*/ 4110400 w 8636594"/>
              <a:gd name="connsiteY6" fmla="*/ 5835922 h 5911619"/>
              <a:gd name="connsiteX7" fmla="*/ 4146933 w 8636594"/>
              <a:gd name="connsiteY7" fmla="*/ 5810100 h 5911619"/>
              <a:gd name="connsiteX8" fmla="*/ 4183061 w 8636594"/>
              <a:gd name="connsiteY8" fmla="*/ 5783988 h 5911619"/>
              <a:gd name="connsiteX9" fmla="*/ 4218791 w 8636594"/>
              <a:gd name="connsiteY9" fmla="*/ 5757591 h 5911619"/>
              <a:gd name="connsiteX10" fmla="*/ 4254129 w 8636594"/>
              <a:gd name="connsiteY10" fmla="*/ 5730912 h 5911619"/>
              <a:gd name="connsiteX11" fmla="*/ 4289081 w 8636594"/>
              <a:gd name="connsiteY11" fmla="*/ 5703955 h 5911619"/>
              <a:gd name="connsiteX12" fmla="*/ 4323654 w 8636594"/>
              <a:gd name="connsiteY12" fmla="*/ 5676722 h 5911619"/>
              <a:gd name="connsiteX13" fmla="*/ 4357854 w 8636594"/>
              <a:gd name="connsiteY13" fmla="*/ 5649218 h 5911619"/>
              <a:gd name="connsiteX14" fmla="*/ 4391688 w 8636594"/>
              <a:gd name="connsiteY14" fmla="*/ 5621446 h 5911619"/>
              <a:gd name="connsiteX15" fmla="*/ 4425162 w 8636594"/>
              <a:gd name="connsiteY15" fmla="*/ 5593409 h 5911619"/>
              <a:gd name="connsiteX16" fmla="*/ 4458281 w 8636594"/>
              <a:gd name="connsiteY16" fmla="*/ 5565111 h 5911619"/>
              <a:gd name="connsiteX17" fmla="*/ 4491053 w 8636594"/>
              <a:gd name="connsiteY17" fmla="*/ 5536556 h 5911619"/>
              <a:gd name="connsiteX18" fmla="*/ 4523484 w 8636594"/>
              <a:gd name="connsiteY18" fmla="*/ 5507747 h 5911619"/>
              <a:gd name="connsiteX19" fmla="*/ 4555580 w 8636594"/>
              <a:gd name="connsiteY19" fmla="*/ 5478687 h 5911619"/>
              <a:gd name="connsiteX20" fmla="*/ 4587347 w 8636594"/>
              <a:gd name="connsiteY20" fmla="*/ 5449380 h 5911619"/>
              <a:gd name="connsiteX21" fmla="*/ 4618793 w 8636594"/>
              <a:gd name="connsiteY21" fmla="*/ 5419830 h 5911619"/>
              <a:gd name="connsiteX22" fmla="*/ 4649922 w 8636594"/>
              <a:gd name="connsiteY22" fmla="*/ 5390040 h 5911619"/>
              <a:gd name="connsiteX23" fmla="*/ 4680742 w 8636594"/>
              <a:gd name="connsiteY23" fmla="*/ 5360014 h 5911619"/>
              <a:gd name="connsiteX24" fmla="*/ 4711259 w 8636594"/>
              <a:gd name="connsiteY24" fmla="*/ 5329755 h 5911619"/>
              <a:gd name="connsiteX25" fmla="*/ 4741478 w 8636594"/>
              <a:gd name="connsiteY25" fmla="*/ 5299266 h 5911619"/>
              <a:gd name="connsiteX26" fmla="*/ 4771408 w 8636594"/>
              <a:gd name="connsiteY26" fmla="*/ 5268551 h 5911619"/>
              <a:gd name="connsiteX27" fmla="*/ 4801053 w 8636594"/>
              <a:gd name="connsiteY27" fmla="*/ 5237614 h 5911619"/>
              <a:gd name="connsiteX28" fmla="*/ 4830420 w 8636594"/>
              <a:gd name="connsiteY28" fmla="*/ 5206458 h 5911619"/>
              <a:gd name="connsiteX29" fmla="*/ 4859516 w 8636594"/>
              <a:gd name="connsiteY29" fmla="*/ 5175087 h 5911619"/>
              <a:gd name="connsiteX30" fmla="*/ 4888347 w 8636594"/>
              <a:gd name="connsiteY30" fmla="*/ 5143504 h 5911619"/>
              <a:gd name="connsiteX31" fmla="*/ 4916919 w 8636594"/>
              <a:gd name="connsiteY31" fmla="*/ 5111713 h 5911619"/>
              <a:gd name="connsiteX32" fmla="*/ 4945238 w 8636594"/>
              <a:gd name="connsiteY32" fmla="*/ 5079717 h 5911619"/>
              <a:gd name="connsiteX33" fmla="*/ 4973311 w 8636594"/>
              <a:gd name="connsiteY33" fmla="*/ 5047519 h 5911619"/>
              <a:gd name="connsiteX34" fmla="*/ 5001145 w 8636594"/>
              <a:gd name="connsiteY34" fmla="*/ 5015124 h 5911619"/>
              <a:gd name="connsiteX35" fmla="*/ 5028745 w 8636594"/>
              <a:gd name="connsiteY35" fmla="*/ 4982535 h 5911619"/>
              <a:gd name="connsiteX36" fmla="*/ 5056117 w 8636594"/>
              <a:gd name="connsiteY36" fmla="*/ 4949755 h 5911619"/>
              <a:gd name="connsiteX37" fmla="*/ 5083269 w 8636594"/>
              <a:gd name="connsiteY37" fmla="*/ 4916787 h 5911619"/>
              <a:gd name="connsiteX38" fmla="*/ 5110207 w 8636594"/>
              <a:gd name="connsiteY38" fmla="*/ 4883636 h 5911619"/>
              <a:gd name="connsiteX39" fmla="*/ 5136937 w 8636594"/>
              <a:gd name="connsiteY39" fmla="*/ 4850305 h 5911619"/>
              <a:gd name="connsiteX40" fmla="*/ 5163464 w 8636594"/>
              <a:gd name="connsiteY40" fmla="*/ 4816797 h 5911619"/>
              <a:gd name="connsiteX41" fmla="*/ 5215940 w 8636594"/>
              <a:gd name="connsiteY41" fmla="*/ 4749265 h 5911619"/>
              <a:gd name="connsiteX42" fmla="*/ 5267684 w 8636594"/>
              <a:gd name="connsiteY42" fmla="*/ 4681068 h 5911619"/>
              <a:gd name="connsiteX43" fmla="*/ 5318748 w 8636594"/>
              <a:gd name="connsiteY43" fmla="*/ 4612234 h 5911619"/>
              <a:gd name="connsiteX44" fmla="*/ 5369182 w 8636594"/>
              <a:gd name="connsiteY44" fmla="*/ 4542793 h 5911619"/>
              <a:gd name="connsiteX45" fmla="*/ 5419038 w 8636594"/>
              <a:gd name="connsiteY45" fmla="*/ 4472771 h 5911619"/>
              <a:gd name="connsiteX46" fmla="*/ 5468365 w 8636594"/>
              <a:gd name="connsiteY46" fmla="*/ 4402196 h 5911619"/>
              <a:gd name="connsiteX47" fmla="*/ 5517215 w 8636594"/>
              <a:gd name="connsiteY47" fmla="*/ 4331098 h 5911619"/>
              <a:gd name="connsiteX48" fmla="*/ 5565637 w 8636594"/>
              <a:gd name="connsiteY48" fmla="*/ 4259503 h 5911619"/>
              <a:gd name="connsiteX49" fmla="*/ 5613684 w 8636594"/>
              <a:gd name="connsiteY49" fmla="*/ 4187441 h 5911619"/>
              <a:gd name="connsiteX50" fmla="*/ 5685160 w 8636594"/>
              <a:gd name="connsiteY50" fmla="*/ 4078531 h 5911619"/>
              <a:gd name="connsiteX51" fmla="*/ 5756074 w 8636594"/>
              <a:gd name="connsiteY51" fmla="*/ 3968727 h 5911619"/>
              <a:gd name="connsiteX52" fmla="*/ 5873483 w 8636594"/>
              <a:gd name="connsiteY52" fmla="*/ 3783989 h 5911619"/>
              <a:gd name="connsiteX53" fmla="*/ 6203209 w 8636594"/>
              <a:gd name="connsiteY53" fmla="*/ 3258640 h 5911619"/>
              <a:gd name="connsiteX54" fmla="*/ 6299430 w 8636594"/>
              <a:gd name="connsiteY54" fmla="*/ 3107321 h 5911619"/>
              <a:gd name="connsiteX55" fmla="*/ 6372650 w 8636594"/>
              <a:gd name="connsiteY55" fmla="*/ 2993735 h 5911619"/>
              <a:gd name="connsiteX56" fmla="*/ 6453197 w 8636594"/>
              <a:gd name="connsiteY56" fmla="*/ 2869788 h 5911619"/>
              <a:gd name="connsiteX57" fmla="*/ 6564167 w 8636594"/>
              <a:gd name="connsiteY57" fmla="*/ 2696807 h 5911619"/>
              <a:gd name="connsiteX58" fmla="*/ 6976233 w 8636594"/>
              <a:gd name="connsiteY58" fmla="*/ 2045274 h 5911619"/>
              <a:gd name="connsiteX59" fmla="*/ 7086755 w 8636594"/>
              <a:gd name="connsiteY59" fmla="*/ 1872743 h 5911619"/>
              <a:gd name="connsiteX60" fmla="*/ 7170279 w 8636594"/>
              <a:gd name="connsiteY60" fmla="*/ 1744202 h 5911619"/>
              <a:gd name="connsiteX61" fmla="*/ 7226351 w 8636594"/>
              <a:gd name="connsiteY61" fmla="*/ 1659017 h 5911619"/>
              <a:gd name="connsiteX62" fmla="*/ 7282789 w 8636594"/>
              <a:gd name="connsiteY62" fmla="*/ 1574303 h 5911619"/>
              <a:gd name="connsiteX63" fmla="*/ 7339643 w 8636594"/>
              <a:gd name="connsiteY63" fmla="*/ 1490113 h 5911619"/>
              <a:gd name="connsiteX64" fmla="*/ 7396957 w 8636594"/>
              <a:gd name="connsiteY64" fmla="*/ 1406503 h 5911619"/>
              <a:gd name="connsiteX65" fmla="*/ 7454781 w 8636594"/>
              <a:gd name="connsiteY65" fmla="*/ 1323526 h 5911619"/>
              <a:gd name="connsiteX66" fmla="*/ 7513161 w 8636594"/>
              <a:gd name="connsiteY66" fmla="*/ 1241237 h 5911619"/>
              <a:gd name="connsiteX67" fmla="*/ 7572144 w 8636594"/>
              <a:gd name="connsiteY67" fmla="*/ 1159689 h 5911619"/>
              <a:gd name="connsiteX68" fmla="*/ 7601877 w 8636594"/>
              <a:gd name="connsiteY68" fmla="*/ 1119210 h 5911619"/>
              <a:gd name="connsiteX69" fmla="*/ 7631779 w 8636594"/>
              <a:gd name="connsiteY69" fmla="*/ 1078937 h 5911619"/>
              <a:gd name="connsiteX70" fmla="*/ 7661855 w 8636594"/>
              <a:gd name="connsiteY70" fmla="*/ 1038876 h 5911619"/>
              <a:gd name="connsiteX71" fmla="*/ 7692111 w 8636594"/>
              <a:gd name="connsiteY71" fmla="*/ 999035 h 5911619"/>
              <a:gd name="connsiteX72" fmla="*/ 7722554 w 8636594"/>
              <a:gd name="connsiteY72" fmla="*/ 959419 h 5911619"/>
              <a:gd name="connsiteX73" fmla="*/ 7753190 w 8636594"/>
              <a:gd name="connsiteY73" fmla="*/ 920037 h 5911619"/>
              <a:gd name="connsiteX74" fmla="*/ 7784023 w 8636594"/>
              <a:gd name="connsiteY74" fmla="*/ 880894 h 5911619"/>
              <a:gd name="connsiteX75" fmla="*/ 7815061 w 8636594"/>
              <a:gd name="connsiteY75" fmla="*/ 841997 h 5911619"/>
              <a:gd name="connsiteX76" fmla="*/ 7846308 w 8636594"/>
              <a:gd name="connsiteY76" fmla="*/ 803354 h 5911619"/>
              <a:gd name="connsiteX77" fmla="*/ 7877772 w 8636594"/>
              <a:gd name="connsiteY77" fmla="*/ 764970 h 5911619"/>
              <a:gd name="connsiteX78" fmla="*/ 7909458 w 8636594"/>
              <a:gd name="connsiteY78" fmla="*/ 726853 h 5911619"/>
              <a:gd name="connsiteX79" fmla="*/ 7941371 w 8636594"/>
              <a:gd name="connsiteY79" fmla="*/ 689010 h 5911619"/>
              <a:gd name="connsiteX80" fmla="*/ 7973518 w 8636594"/>
              <a:gd name="connsiteY80" fmla="*/ 651447 h 5911619"/>
              <a:gd name="connsiteX81" fmla="*/ 8005905 w 8636594"/>
              <a:gd name="connsiteY81" fmla="*/ 614171 h 5911619"/>
              <a:gd name="connsiteX82" fmla="*/ 8038538 w 8636594"/>
              <a:gd name="connsiteY82" fmla="*/ 577189 h 5911619"/>
              <a:gd name="connsiteX83" fmla="*/ 8071421 w 8636594"/>
              <a:gd name="connsiteY83" fmla="*/ 540507 h 5911619"/>
              <a:gd name="connsiteX84" fmla="*/ 8104563 w 8636594"/>
              <a:gd name="connsiteY84" fmla="*/ 504132 h 5911619"/>
              <a:gd name="connsiteX85" fmla="*/ 8137967 w 8636594"/>
              <a:gd name="connsiteY85" fmla="*/ 468072 h 5911619"/>
              <a:gd name="connsiteX86" fmla="*/ 8171641 w 8636594"/>
              <a:gd name="connsiteY86" fmla="*/ 432332 h 5911619"/>
              <a:gd name="connsiteX87" fmla="*/ 8205590 w 8636594"/>
              <a:gd name="connsiteY87" fmla="*/ 396920 h 5911619"/>
              <a:gd name="connsiteX88" fmla="*/ 8239820 w 8636594"/>
              <a:gd name="connsiteY88" fmla="*/ 361843 h 5911619"/>
              <a:gd name="connsiteX89" fmla="*/ 8274337 w 8636594"/>
              <a:gd name="connsiteY89" fmla="*/ 327107 h 5911619"/>
              <a:gd name="connsiteX90" fmla="*/ 8309147 w 8636594"/>
              <a:gd name="connsiteY90" fmla="*/ 292718 h 5911619"/>
              <a:gd name="connsiteX91" fmla="*/ 8344256 w 8636594"/>
              <a:gd name="connsiteY91" fmla="*/ 258685 h 5911619"/>
              <a:gd name="connsiteX92" fmla="*/ 8379669 w 8636594"/>
              <a:gd name="connsiteY92" fmla="*/ 225013 h 5911619"/>
              <a:gd name="connsiteX93" fmla="*/ 8415394 w 8636594"/>
              <a:gd name="connsiteY93" fmla="*/ 191709 h 5911619"/>
              <a:gd name="connsiteX94" fmla="*/ 8451434 w 8636594"/>
              <a:gd name="connsiteY94" fmla="*/ 158780 h 5911619"/>
              <a:gd name="connsiteX95" fmla="*/ 8487798 w 8636594"/>
              <a:gd name="connsiteY95" fmla="*/ 126233 h 5911619"/>
              <a:gd name="connsiteX96" fmla="*/ 8524489 w 8636594"/>
              <a:gd name="connsiteY96" fmla="*/ 94075 h 5911619"/>
              <a:gd name="connsiteX97" fmla="*/ 8561515 w 8636594"/>
              <a:gd name="connsiteY97" fmla="*/ 62312 h 5911619"/>
              <a:gd name="connsiteX98" fmla="*/ 8598881 w 8636594"/>
              <a:gd name="connsiteY98" fmla="*/ 30951 h 5911619"/>
              <a:gd name="connsiteX99" fmla="*/ 8636594 w 8636594"/>
              <a:gd name="connsiteY99" fmla="*/ 0 h 5911619"/>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073456 w 8636594"/>
              <a:gd name="connsiteY4" fmla="*/ 5861452 h 5886685"/>
              <a:gd name="connsiteX5" fmla="*/ 4110400 w 8636594"/>
              <a:gd name="connsiteY5" fmla="*/ 5835922 h 5886685"/>
              <a:gd name="connsiteX6" fmla="*/ 4146933 w 8636594"/>
              <a:gd name="connsiteY6" fmla="*/ 5810100 h 5886685"/>
              <a:gd name="connsiteX7" fmla="*/ 4183061 w 8636594"/>
              <a:gd name="connsiteY7" fmla="*/ 5783988 h 5886685"/>
              <a:gd name="connsiteX8" fmla="*/ 4218791 w 8636594"/>
              <a:gd name="connsiteY8" fmla="*/ 5757591 h 5886685"/>
              <a:gd name="connsiteX9" fmla="*/ 4254129 w 8636594"/>
              <a:gd name="connsiteY9" fmla="*/ 5730912 h 5886685"/>
              <a:gd name="connsiteX10" fmla="*/ 4289081 w 8636594"/>
              <a:gd name="connsiteY10" fmla="*/ 5703955 h 5886685"/>
              <a:gd name="connsiteX11" fmla="*/ 4323654 w 8636594"/>
              <a:gd name="connsiteY11" fmla="*/ 5676722 h 5886685"/>
              <a:gd name="connsiteX12" fmla="*/ 4357854 w 8636594"/>
              <a:gd name="connsiteY12" fmla="*/ 5649218 h 5886685"/>
              <a:gd name="connsiteX13" fmla="*/ 4391688 w 8636594"/>
              <a:gd name="connsiteY13" fmla="*/ 5621446 h 5886685"/>
              <a:gd name="connsiteX14" fmla="*/ 4425162 w 8636594"/>
              <a:gd name="connsiteY14" fmla="*/ 5593409 h 5886685"/>
              <a:gd name="connsiteX15" fmla="*/ 4458281 w 8636594"/>
              <a:gd name="connsiteY15" fmla="*/ 5565111 h 5886685"/>
              <a:gd name="connsiteX16" fmla="*/ 4491053 w 8636594"/>
              <a:gd name="connsiteY16" fmla="*/ 5536556 h 5886685"/>
              <a:gd name="connsiteX17" fmla="*/ 4523484 w 8636594"/>
              <a:gd name="connsiteY17" fmla="*/ 5507747 h 5886685"/>
              <a:gd name="connsiteX18" fmla="*/ 4555580 w 8636594"/>
              <a:gd name="connsiteY18" fmla="*/ 5478687 h 5886685"/>
              <a:gd name="connsiteX19" fmla="*/ 4587347 w 8636594"/>
              <a:gd name="connsiteY19" fmla="*/ 5449380 h 5886685"/>
              <a:gd name="connsiteX20" fmla="*/ 4618793 w 8636594"/>
              <a:gd name="connsiteY20" fmla="*/ 5419830 h 5886685"/>
              <a:gd name="connsiteX21" fmla="*/ 4649922 w 8636594"/>
              <a:gd name="connsiteY21" fmla="*/ 5390040 h 5886685"/>
              <a:gd name="connsiteX22" fmla="*/ 4680742 w 8636594"/>
              <a:gd name="connsiteY22" fmla="*/ 5360014 h 5886685"/>
              <a:gd name="connsiteX23" fmla="*/ 4711259 w 8636594"/>
              <a:gd name="connsiteY23" fmla="*/ 5329755 h 5886685"/>
              <a:gd name="connsiteX24" fmla="*/ 4741478 w 8636594"/>
              <a:gd name="connsiteY24" fmla="*/ 5299266 h 5886685"/>
              <a:gd name="connsiteX25" fmla="*/ 4771408 w 8636594"/>
              <a:gd name="connsiteY25" fmla="*/ 5268551 h 5886685"/>
              <a:gd name="connsiteX26" fmla="*/ 4801053 w 8636594"/>
              <a:gd name="connsiteY26" fmla="*/ 5237614 h 5886685"/>
              <a:gd name="connsiteX27" fmla="*/ 4830420 w 8636594"/>
              <a:gd name="connsiteY27" fmla="*/ 5206458 h 5886685"/>
              <a:gd name="connsiteX28" fmla="*/ 4859516 w 8636594"/>
              <a:gd name="connsiteY28" fmla="*/ 5175087 h 5886685"/>
              <a:gd name="connsiteX29" fmla="*/ 4888347 w 8636594"/>
              <a:gd name="connsiteY29" fmla="*/ 5143504 h 5886685"/>
              <a:gd name="connsiteX30" fmla="*/ 4916919 w 8636594"/>
              <a:gd name="connsiteY30" fmla="*/ 5111713 h 5886685"/>
              <a:gd name="connsiteX31" fmla="*/ 4945238 w 8636594"/>
              <a:gd name="connsiteY31" fmla="*/ 5079717 h 5886685"/>
              <a:gd name="connsiteX32" fmla="*/ 4973311 w 8636594"/>
              <a:gd name="connsiteY32" fmla="*/ 5047519 h 5886685"/>
              <a:gd name="connsiteX33" fmla="*/ 5001145 w 8636594"/>
              <a:gd name="connsiteY33" fmla="*/ 5015124 h 5886685"/>
              <a:gd name="connsiteX34" fmla="*/ 5028745 w 8636594"/>
              <a:gd name="connsiteY34" fmla="*/ 4982535 h 5886685"/>
              <a:gd name="connsiteX35" fmla="*/ 5056117 w 8636594"/>
              <a:gd name="connsiteY35" fmla="*/ 4949755 h 5886685"/>
              <a:gd name="connsiteX36" fmla="*/ 5083269 w 8636594"/>
              <a:gd name="connsiteY36" fmla="*/ 4916787 h 5886685"/>
              <a:gd name="connsiteX37" fmla="*/ 5110207 w 8636594"/>
              <a:gd name="connsiteY37" fmla="*/ 4883636 h 5886685"/>
              <a:gd name="connsiteX38" fmla="*/ 5136937 w 8636594"/>
              <a:gd name="connsiteY38" fmla="*/ 4850305 h 5886685"/>
              <a:gd name="connsiteX39" fmla="*/ 5163464 w 8636594"/>
              <a:gd name="connsiteY39" fmla="*/ 4816797 h 5886685"/>
              <a:gd name="connsiteX40" fmla="*/ 5215940 w 8636594"/>
              <a:gd name="connsiteY40" fmla="*/ 4749265 h 5886685"/>
              <a:gd name="connsiteX41" fmla="*/ 5267684 w 8636594"/>
              <a:gd name="connsiteY41" fmla="*/ 4681068 h 5886685"/>
              <a:gd name="connsiteX42" fmla="*/ 5318748 w 8636594"/>
              <a:gd name="connsiteY42" fmla="*/ 4612234 h 5886685"/>
              <a:gd name="connsiteX43" fmla="*/ 5369182 w 8636594"/>
              <a:gd name="connsiteY43" fmla="*/ 4542793 h 5886685"/>
              <a:gd name="connsiteX44" fmla="*/ 5419038 w 8636594"/>
              <a:gd name="connsiteY44" fmla="*/ 4472771 h 5886685"/>
              <a:gd name="connsiteX45" fmla="*/ 5468365 w 8636594"/>
              <a:gd name="connsiteY45" fmla="*/ 4402196 h 5886685"/>
              <a:gd name="connsiteX46" fmla="*/ 5517215 w 8636594"/>
              <a:gd name="connsiteY46" fmla="*/ 4331098 h 5886685"/>
              <a:gd name="connsiteX47" fmla="*/ 5565637 w 8636594"/>
              <a:gd name="connsiteY47" fmla="*/ 4259503 h 5886685"/>
              <a:gd name="connsiteX48" fmla="*/ 5613684 w 8636594"/>
              <a:gd name="connsiteY48" fmla="*/ 4187441 h 5886685"/>
              <a:gd name="connsiteX49" fmla="*/ 5685160 w 8636594"/>
              <a:gd name="connsiteY49" fmla="*/ 4078531 h 5886685"/>
              <a:gd name="connsiteX50" fmla="*/ 5756074 w 8636594"/>
              <a:gd name="connsiteY50" fmla="*/ 3968727 h 5886685"/>
              <a:gd name="connsiteX51" fmla="*/ 5873483 w 8636594"/>
              <a:gd name="connsiteY51" fmla="*/ 3783989 h 5886685"/>
              <a:gd name="connsiteX52" fmla="*/ 6203209 w 8636594"/>
              <a:gd name="connsiteY52" fmla="*/ 3258640 h 5886685"/>
              <a:gd name="connsiteX53" fmla="*/ 6299430 w 8636594"/>
              <a:gd name="connsiteY53" fmla="*/ 3107321 h 5886685"/>
              <a:gd name="connsiteX54" fmla="*/ 6372650 w 8636594"/>
              <a:gd name="connsiteY54" fmla="*/ 2993735 h 5886685"/>
              <a:gd name="connsiteX55" fmla="*/ 6453197 w 8636594"/>
              <a:gd name="connsiteY55" fmla="*/ 2869788 h 5886685"/>
              <a:gd name="connsiteX56" fmla="*/ 6564167 w 8636594"/>
              <a:gd name="connsiteY56" fmla="*/ 2696807 h 5886685"/>
              <a:gd name="connsiteX57" fmla="*/ 6976233 w 8636594"/>
              <a:gd name="connsiteY57" fmla="*/ 2045274 h 5886685"/>
              <a:gd name="connsiteX58" fmla="*/ 7086755 w 8636594"/>
              <a:gd name="connsiteY58" fmla="*/ 1872743 h 5886685"/>
              <a:gd name="connsiteX59" fmla="*/ 7170279 w 8636594"/>
              <a:gd name="connsiteY59" fmla="*/ 1744202 h 5886685"/>
              <a:gd name="connsiteX60" fmla="*/ 7226351 w 8636594"/>
              <a:gd name="connsiteY60" fmla="*/ 1659017 h 5886685"/>
              <a:gd name="connsiteX61" fmla="*/ 7282789 w 8636594"/>
              <a:gd name="connsiteY61" fmla="*/ 1574303 h 5886685"/>
              <a:gd name="connsiteX62" fmla="*/ 7339643 w 8636594"/>
              <a:gd name="connsiteY62" fmla="*/ 1490113 h 5886685"/>
              <a:gd name="connsiteX63" fmla="*/ 7396957 w 8636594"/>
              <a:gd name="connsiteY63" fmla="*/ 1406503 h 5886685"/>
              <a:gd name="connsiteX64" fmla="*/ 7454781 w 8636594"/>
              <a:gd name="connsiteY64" fmla="*/ 1323526 h 5886685"/>
              <a:gd name="connsiteX65" fmla="*/ 7513161 w 8636594"/>
              <a:gd name="connsiteY65" fmla="*/ 1241237 h 5886685"/>
              <a:gd name="connsiteX66" fmla="*/ 7572144 w 8636594"/>
              <a:gd name="connsiteY66" fmla="*/ 1159689 h 5886685"/>
              <a:gd name="connsiteX67" fmla="*/ 7601877 w 8636594"/>
              <a:gd name="connsiteY67" fmla="*/ 1119210 h 5886685"/>
              <a:gd name="connsiteX68" fmla="*/ 7631779 w 8636594"/>
              <a:gd name="connsiteY68" fmla="*/ 1078937 h 5886685"/>
              <a:gd name="connsiteX69" fmla="*/ 7661855 w 8636594"/>
              <a:gd name="connsiteY69" fmla="*/ 1038876 h 5886685"/>
              <a:gd name="connsiteX70" fmla="*/ 7692111 w 8636594"/>
              <a:gd name="connsiteY70" fmla="*/ 999035 h 5886685"/>
              <a:gd name="connsiteX71" fmla="*/ 7722554 w 8636594"/>
              <a:gd name="connsiteY71" fmla="*/ 959419 h 5886685"/>
              <a:gd name="connsiteX72" fmla="*/ 7753190 w 8636594"/>
              <a:gd name="connsiteY72" fmla="*/ 920037 h 5886685"/>
              <a:gd name="connsiteX73" fmla="*/ 7784023 w 8636594"/>
              <a:gd name="connsiteY73" fmla="*/ 880894 h 5886685"/>
              <a:gd name="connsiteX74" fmla="*/ 7815061 w 8636594"/>
              <a:gd name="connsiteY74" fmla="*/ 841997 h 5886685"/>
              <a:gd name="connsiteX75" fmla="*/ 7846308 w 8636594"/>
              <a:gd name="connsiteY75" fmla="*/ 803354 h 5886685"/>
              <a:gd name="connsiteX76" fmla="*/ 7877772 w 8636594"/>
              <a:gd name="connsiteY76" fmla="*/ 764970 h 5886685"/>
              <a:gd name="connsiteX77" fmla="*/ 7909458 w 8636594"/>
              <a:gd name="connsiteY77" fmla="*/ 726853 h 5886685"/>
              <a:gd name="connsiteX78" fmla="*/ 7941371 w 8636594"/>
              <a:gd name="connsiteY78" fmla="*/ 689010 h 5886685"/>
              <a:gd name="connsiteX79" fmla="*/ 7973518 w 8636594"/>
              <a:gd name="connsiteY79" fmla="*/ 651447 h 5886685"/>
              <a:gd name="connsiteX80" fmla="*/ 8005905 w 8636594"/>
              <a:gd name="connsiteY80" fmla="*/ 614171 h 5886685"/>
              <a:gd name="connsiteX81" fmla="*/ 8038538 w 8636594"/>
              <a:gd name="connsiteY81" fmla="*/ 577189 h 5886685"/>
              <a:gd name="connsiteX82" fmla="*/ 8071421 w 8636594"/>
              <a:gd name="connsiteY82" fmla="*/ 540507 h 5886685"/>
              <a:gd name="connsiteX83" fmla="*/ 8104563 w 8636594"/>
              <a:gd name="connsiteY83" fmla="*/ 504132 h 5886685"/>
              <a:gd name="connsiteX84" fmla="*/ 8137967 w 8636594"/>
              <a:gd name="connsiteY84" fmla="*/ 468072 h 5886685"/>
              <a:gd name="connsiteX85" fmla="*/ 8171641 w 8636594"/>
              <a:gd name="connsiteY85" fmla="*/ 432332 h 5886685"/>
              <a:gd name="connsiteX86" fmla="*/ 8205590 w 8636594"/>
              <a:gd name="connsiteY86" fmla="*/ 396920 h 5886685"/>
              <a:gd name="connsiteX87" fmla="*/ 8239820 w 8636594"/>
              <a:gd name="connsiteY87" fmla="*/ 361843 h 5886685"/>
              <a:gd name="connsiteX88" fmla="*/ 8274337 w 8636594"/>
              <a:gd name="connsiteY88" fmla="*/ 327107 h 5886685"/>
              <a:gd name="connsiteX89" fmla="*/ 8309147 w 8636594"/>
              <a:gd name="connsiteY89" fmla="*/ 292718 h 5886685"/>
              <a:gd name="connsiteX90" fmla="*/ 8344256 w 8636594"/>
              <a:gd name="connsiteY90" fmla="*/ 258685 h 5886685"/>
              <a:gd name="connsiteX91" fmla="*/ 8379669 w 8636594"/>
              <a:gd name="connsiteY91" fmla="*/ 225013 h 5886685"/>
              <a:gd name="connsiteX92" fmla="*/ 8415394 w 8636594"/>
              <a:gd name="connsiteY92" fmla="*/ 191709 h 5886685"/>
              <a:gd name="connsiteX93" fmla="*/ 8451434 w 8636594"/>
              <a:gd name="connsiteY93" fmla="*/ 158780 h 5886685"/>
              <a:gd name="connsiteX94" fmla="*/ 8487798 w 8636594"/>
              <a:gd name="connsiteY94" fmla="*/ 126233 h 5886685"/>
              <a:gd name="connsiteX95" fmla="*/ 8524489 w 8636594"/>
              <a:gd name="connsiteY95" fmla="*/ 94075 h 5886685"/>
              <a:gd name="connsiteX96" fmla="*/ 8561515 w 8636594"/>
              <a:gd name="connsiteY96" fmla="*/ 62312 h 5886685"/>
              <a:gd name="connsiteX97" fmla="*/ 8598881 w 8636594"/>
              <a:gd name="connsiteY97" fmla="*/ 30951 h 5886685"/>
              <a:gd name="connsiteX98" fmla="*/ 8636594 w 8636594"/>
              <a:gd name="connsiteY98" fmla="*/ 0 h 5886685"/>
              <a:gd name="connsiteX0" fmla="*/ 8636594 w 8636594"/>
              <a:gd name="connsiteY0" fmla="*/ 0 h 5886685"/>
              <a:gd name="connsiteX1" fmla="*/ 5293 w 8636594"/>
              <a:gd name="connsiteY1" fmla="*/ 0 h 5886685"/>
              <a:gd name="connsiteX2" fmla="*/ 0 w 8636594"/>
              <a:gd name="connsiteY2" fmla="*/ 5587843 h 5886685"/>
              <a:gd name="connsiteX3" fmla="*/ 4036095 w 8636594"/>
              <a:gd name="connsiteY3" fmla="*/ 5886685 h 5886685"/>
              <a:gd name="connsiteX4" fmla="*/ 4110400 w 8636594"/>
              <a:gd name="connsiteY4" fmla="*/ 5835922 h 5886685"/>
              <a:gd name="connsiteX5" fmla="*/ 4146933 w 8636594"/>
              <a:gd name="connsiteY5" fmla="*/ 5810100 h 5886685"/>
              <a:gd name="connsiteX6" fmla="*/ 4183061 w 8636594"/>
              <a:gd name="connsiteY6" fmla="*/ 5783988 h 5886685"/>
              <a:gd name="connsiteX7" fmla="*/ 4218791 w 8636594"/>
              <a:gd name="connsiteY7" fmla="*/ 5757591 h 5886685"/>
              <a:gd name="connsiteX8" fmla="*/ 4254129 w 8636594"/>
              <a:gd name="connsiteY8" fmla="*/ 5730912 h 5886685"/>
              <a:gd name="connsiteX9" fmla="*/ 4289081 w 8636594"/>
              <a:gd name="connsiteY9" fmla="*/ 5703955 h 5886685"/>
              <a:gd name="connsiteX10" fmla="*/ 4323654 w 8636594"/>
              <a:gd name="connsiteY10" fmla="*/ 5676722 h 5886685"/>
              <a:gd name="connsiteX11" fmla="*/ 4357854 w 8636594"/>
              <a:gd name="connsiteY11" fmla="*/ 5649218 h 5886685"/>
              <a:gd name="connsiteX12" fmla="*/ 4391688 w 8636594"/>
              <a:gd name="connsiteY12" fmla="*/ 5621446 h 5886685"/>
              <a:gd name="connsiteX13" fmla="*/ 4425162 w 8636594"/>
              <a:gd name="connsiteY13" fmla="*/ 5593409 h 5886685"/>
              <a:gd name="connsiteX14" fmla="*/ 4458281 w 8636594"/>
              <a:gd name="connsiteY14" fmla="*/ 5565111 h 5886685"/>
              <a:gd name="connsiteX15" fmla="*/ 4491053 w 8636594"/>
              <a:gd name="connsiteY15" fmla="*/ 5536556 h 5886685"/>
              <a:gd name="connsiteX16" fmla="*/ 4523484 w 8636594"/>
              <a:gd name="connsiteY16" fmla="*/ 5507747 h 5886685"/>
              <a:gd name="connsiteX17" fmla="*/ 4555580 w 8636594"/>
              <a:gd name="connsiteY17" fmla="*/ 5478687 h 5886685"/>
              <a:gd name="connsiteX18" fmla="*/ 4587347 w 8636594"/>
              <a:gd name="connsiteY18" fmla="*/ 5449380 h 5886685"/>
              <a:gd name="connsiteX19" fmla="*/ 4618793 w 8636594"/>
              <a:gd name="connsiteY19" fmla="*/ 5419830 h 5886685"/>
              <a:gd name="connsiteX20" fmla="*/ 4649922 w 8636594"/>
              <a:gd name="connsiteY20" fmla="*/ 5390040 h 5886685"/>
              <a:gd name="connsiteX21" fmla="*/ 4680742 w 8636594"/>
              <a:gd name="connsiteY21" fmla="*/ 5360014 h 5886685"/>
              <a:gd name="connsiteX22" fmla="*/ 4711259 w 8636594"/>
              <a:gd name="connsiteY22" fmla="*/ 5329755 h 5886685"/>
              <a:gd name="connsiteX23" fmla="*/ 4741478 w 8636594"/>
              <a:gd name="connsiteY23" fmla="*/ 5299266 h 5886685"/>
              <a:gd name="connsiteX24" fmla="*/ 4771408 w 8636594"/>
              <a:gd name="connsiteY24" fmla="*/ 5268551 h 5886685"/>
              <a:gd name="connsiteX25" fmla="*/ 4801053 w 8636594"/>
              <a:gd name="connsiteY25" fmla="*/ 5237614 h 5886685"/>
              <a:gd name="connsiteX26" fmla="*/ 4830420 w 8636594"/>
              <a:gd name="connsiteY26" fmla="*/ 5206458 h 5886685"/>
              <a:gd name="connsiteX27" fmla="*/ 4859516 w 8636594"/>
              <a:gd name="connsiteY27" fmla="*/ 5175087 h 5886685"/>
              <a:gd name="connsiteX28" fmla="*/ 4888347 w 8636594"/>
              <a:gd name="connsiteY28" fmla="*/ 5143504 h 5886685"/>
              <a:gd name="connsiteX29" fmla="*/ 4916919 w 8636594"/>
              <a:gd name="connsiteY29" fmla="*/ 5111713 h 5886685"/>
              <a:gd name="connsiteX30" fmla="*/ 4945238 w 8636594"/>
              <a:gd name="connsiteY30" fmla="*/ 5079717 h 5886685"/>
              <a:gd name="connsiteX31" fmla="*/ 4973311 w 8636594"/>
              <a:gd name="connsiteY31" fmla="*/ 5047519 h 5886685"/>
              <a:gd name="connsiteX32" fmla="*/ 5001145 w 8636594"/>
              <a:gd name="connsiteY32" fmla="*/ 5015124 h 5886685"/>
              <a:gd name="connsiteX33" fmla="*/ 5028745 w 8636594"/>
              <a:gd name="connsiteY33" fmla="*/ 4982535 h 5886685"/>
              <a:gd name="connsiteX34" fmla="*/ 5056117 w 8636594"/>
              <a:gd name="connsiteY34" fmla="*/ 4949755 h 5886685"/>
              <a:gd name="connsiteX35" fmla="*/ 5083269 w 8636594"/>
              <a:gd name="connsiteY35" fmla="*/ 4916787 h 5886685"/>
              <a:gd name="connsiteX36" fmla="*/ 5110207 w 8636594"/>
              <a:gd name="connsiteY36" fmla="*/ 4883636 h 5886685"/>
              <a:gd name="connsiteX37" fmla="*/ 5136937 w 8636594"/>
              <a:gd name="connsiteY37" fmla="*/ 4850305 h 5886685"/>
              <a:gd name="connsiteX38" fmla="*/ 5163464 w 8636594"/>
              <a:gd name="connsiteY38" fmla="*/ 4816797 h 5886685"/>
              <a:gd name="connsiteX39" fmla="*/ 5215940 w 8636594"/>
              <a:gd name="connsiteY39" fmla="*/ 4749265 h 5886685"/>
              <a:gd name="connsiteX40" fmla="*/ 5267684 w 8636594"/>
              <a:gd name="connsiteY40" fmla="*/ 4681068 h 5886685"/>
              <a:gd name="connsiteX41" fmla="*/ 5318748 w 8636594"/>
              <a:gd name="connsiteY41" fmla="*/ 4612234 h 5886685"/>
              <a:gd name="connsiteX42" fmla="*/ 5369182 w 8636594"/>
              <a:gd name="connsiteY42" fmla="*/ 4542793 h 5886685"/>
              <a:gd name="connsiteX43" fmla="*/ 5419038 w 8636594"/>
              <a:gd name="connsiteY43" fmla="*/ 4472771 h 5886685"/>
              <a:gd name="connsiteX44" fmla="*/ 5468365 w 8636594"/>
              <a:gd name="connsiteY44" fmla="*/ 4402196 h 5886685"/>
              <a:gd name="connsiteX45" fmla="*/ 5517215 w 8636594"/>
              <a:gd name="connsiteY45" fmla="*/ 4331098 h 5886685"/>
              <a:gd name="connsiteX46" fmla="*/ 5565637 w 8636594"/>
              <a:gd name="connsiteY46" fmla="*/ 4259503 h 5886685"/>
              <a:gd name="connsiteX47" fmla="*/ 5613684 w 8636594"/>
              <a:gd name="connsiteY47" fmla="*/ 4187441 h 5886685"/>
              <a:gd name="connsiteX48" fmla="*/ 5685160 w 8636594"/>
              <a:gd name="connsiteY48" fmla="*/ 4078531 h 5886685"/>
              <a:gd name="connsiteX49" fmla="*/ 5756074 w 8636594"/>
              <a:gd name="connsiteY49" fmla="*/ 3968727 h 5886685"/>
              <a:gd name="connsiteX50" fmla="*/ 5873483 w 8636594"/>
              <a:gd name="connsiteY50" fmla="*/ 3783989 h 5886685"/>
              <a:gd name="connsiteX51" fmla="*/ 6203209 w 8636594"/>
              <a:gd name="connsiteY51" fmla="*/ 3258640 h 5886685"/>
              <a:gd name="connsiteX52" fmla="*/ 6299430 w 8636594"/>
              <a:gd name="connsiteY52" fmla="*/ 3107321 h 5886685"/>
              <a:gd name="connsiteX53" fmla="*/ 6372650 w 8636594"/>
              <a:gd name="connsiteY53" fmla="*/ 2993735 h 5886685"/>
              <a:gd name="connsiteX54" fmla="*/ 6453197 w 8636594"/>
              <a:gd name="connsiteY54" fmla="*/ 2869788 h 5886685"/>
              <a:gd name="connsiteX55" fmla="*/ 6564167 w 8636594"/>
              <a:gd name="connsiteY55" fmla="*/ 2696807 h 5886685"/>
              <a:gd name="connsiteX56" fmla="*/ 6976233 w 8636594"/>
              <a:gd name="connsiteY56" fmla="*/ 2045274 h 5886685"/>
              <a:gd name="connsiteX57" fmla="*/ 7086755 w 8636594"/>
              <a:gd name="connsiteY57" fmla="*/ 1872743 h 5886685"/>
              <a:gd name="connsiteX58" fmla="*/ 7170279 w 8636594"/>
              <a:gd name="connsiteY58" fmla="*/ 1744202 h 5886685"/>
              <a:gd name="connsiteX59" fmla="*/ 7226351 w 8636594"/>
              <a:gd name="connsiteY59" fmla="*/ 1659017 h 5886685"/>
              <a:gd name="connsiteX60" fmla="*/ 7282789 w 8636594"/>
              <a:gd name="connsiteY60" fmla="*/ 1574303 h 5886685"/>
              <a:gd name="connsiteX61" fmla="*/ 7339643 w 8636594"/>
              <a:gd name="connsiteY61" fmla="*/ 1490113 h 5886685"/>
              <a:gd name="connsiteX62" fmla="*/ 7396957 w 8636594"/>
              <a:gd name="connsiteY62" fmla="*/ 1406503 h 5886685"/>
              <a:gd name="connsiteX63" fmla="*/ 7454781 w 8636594"/>
              <a:gd name="connsiteY63" fmla="*/ 1323526 h 5886685"/>
              <a:gd name="connsiteX64" fmla="*/ 7513161 w 8636594"/>
              <a:gd name="connsiteY64" fmla="*/ 1241237 h 5886685"/>
              <a:gd name="connsiteX65" fmla="*/ 7572144 w 8636594"/>
              <a:gd name="connsiteY65" fmla="*/ 1159689 h 5886685"/>
              <a:gd name="connsiteX66" fmla="*/ 7601877 w 8636594"/>
              <a:gd name="connsiteY66" fmla="*/ 1119210 h 5886685"/>
              <a:gd name="connsiteX67" fmla="*/ 7631779 w 8636594"/>
              <a:gd name="connsiteY67" fmla="*/ 1078937 h 5886685"/>
              <a:gd name="connsiteX68" fmla="*/ 7661855 w 8636594"/>
              <a:gd name="connsiteY68" fmla="*/ 1038876 h 5886685"/>
              <a:gd name="connsiteX69" fmla="*/ 7692111 w 8636594"/>
              <a:gd name="connsiteY69" fmla="*/ 999035 h 5886685"/>
              <a:gd name="connsiteX70" fmla="*/ 7722554 w 8636594"/>
              <a:gd name="connsiteY70" fmla="*/ 959419 h 5886685"/>
              <a:gd name="connsiteX71" fmla="*/ 7753190 w 8636594"/>
              <a:gd name="connsiteY71" fmla="*/ 920037 h 5886685"/>
              <a:gd name="connsiteX72" fmla="*/ 7784023 w 8636594"/>
              <a:gd name="connsiteY72" fmla="*/ 880894 h 5886685"/>
              <a:gd name="connsiteX73" fmla="*/ 7815061 w 8636594"/>
              <a:gd name="connsiteY73" fmla="*/ 841997 h 5886685"/>
              <a:gd name="connsiteX74" fmla="*/ 7846308 w 8636594"/>
              <a:gd name="connsiteY74" fmla="*/ 803354 h 5886685"/>
              <a:gd name="connsiteX75" fmla="*/ 7877772 w 8636594"/>
              <a:gd name="connsiteY75" fmla="*/ 764970 h 5886685"/>
              <a:gd name="connsiteX76" fmla="*/ 7909458 w 8636594"/>
              <a:gd name="connsiteY76" fmla="*/ 726853 h 5886685"/>
              <a:gd name="connsiteX77" fmla="*/ 7941371 w 8636594"/>
              <a:gd name="connsiteY77" fmla="*/ 689010 h 5886685"/>
              <a:gd name="connsiteX78" fmla="*/ 7973518 w 8636594"/>
              <a:gd name="connsiteY78" fmla="*/ 651447 h 5886685"/>
              <a:gd name="connsiteX79" fmla="*/ 8005905 w 8636594"/>
              <a:gd name="connsiteY79" fmla="*/ 614171 h 5886685"/>
              <a:gd name="connsiteX80" fmla="*/ 8038538 w 8636594"/>
              <a:gd name="connsiteY80" fmla="*/ 577189 h 5886685"/>
              <a:gd name="connsiteX81" fmla="*/ 8071421 w 8636594"/>
              <a:gd name="connsiteY81" fmla="*/ 540507 h 5886685"/>
              <a:gd name="connsiteX82" fmla="*/ 8104563 w 8636594"/>
              <a:gd name="connsiteY82" fmla="*/ 504132 h 5886685"/>
              <a:gd name="connsiteX83" fmla="*/ 8137967 w 8636594"/>
              <a:gd name="connsiteY83" fmla="*/ 468072 h 5886685"/>
              <a:gd name="connsiteX84" fmla="*/ 8171641 w 8636594"/>
              <a:gd name="connsiteY84" fmla="*/ 432332 h 5886685"/>
              <a:gd name="connsiteX85" fmla="*/ 8205590 w 8636594"/>
              <a:gd name="connsiteY85" fmla="*/ 396920 h 5886685"/>
              <a:gd name="connsiteX86" fmla="*/ 8239820 w 8636594"/>
              <a:gd name="connsiteY86" fmla="*/ 361843 h 5886685"/>
              <a:gd name="connsiteX87" fmla="*/ 8274337 w 8636594"/>
              <a:gd name="connsiteY87" fmla="*/ 327107 h 5886685"/>
              <a:gd name="connsiteX88" fmla="*/ 8309147 w 8636594"/>
              <a:gd name="connsiteY88" fmla="*/ 292718 h 5886685"/>
              <a:gd name="connsiteX89" fmla="*/ 8344256 w 8636594"/>
              <a:gd name="connsiteY89" fmla="*/ 258685 h 5886685"/>
              <a:gd name="connsiteX90" fmla="*/ 8379669 w 8636594"/>
              <a:gd name="connsiteY90" fmla="*/ 225013 h 5886685"/>
              <a:gd name="connsiteX91" fmla="*/ 8415394 w 8636594"/>
              <a:gd name="connsiteY91" fmla="*/ 191709 h 5886685"/>
              <a:gd name="connsiteX92" fmla="*/ 8451434 w 8636594"/>
              <a:gd name="connsiteY92" fmla="*/ 158780 h 5886685"/>
              <a:gd name="connsiteX93" fmla="*/ 8487798 w 8636594"/>
              <a:gd name="connsiteY93" fmla="*/ 126233 h 5886685"/>
              <a:gd name="connsiteX94" fmla="*/ 8524489 w 8636594"/>
              <a:gd name="connsiteY94" fmla="*/ 94075 h 5886685"/>
              <a:gd name="connsiteX95" fmla="*/ 8561515 w 8636594"/>
              <a:gd name="connsiteY95" fmla="*/ 62312 h 5886685"/>
              <a:gd name="connsiteX96" fmla="*/ 8598881 w 8636594"/>
              <a:gd name="connsiteY96" fmla="*/ 30951 h 5886685"/>
              <a:gd name="connsiteX97" fmla="*/ 8636594 w 8636594"/>
              <a:gd name="connsiteY97" fmla="*/ 0 h 5886685"/>
              <a:gd name="connsiteX0" fmla="*/ 8636594 w 8636594"/>
              <a:gd name="connsiteY0" fmla="*/ 0 h 5835922"/>
              <a:gd name="connsiteX1" fmla="*/ 5293 w 8636594"/>
              <a:gd name="connsiteY1" fmla="*/ 0 h 5835922"/>
              <a:gd name="connsiteX2" fmla="*/ 0 w 8636594"/>
              <a:gd name="connsiteY2" fmla="*/ 5587843 h 5835922"/>
              <a:gd name="connsiteX3" fmla="*/ 4110400 w 8636594"/>
              <a:gd name="connsiteY3" fmla="*/ 5835922 h 5835922"/>
              <a:gd name="connsiteX4" fmla="*/ 4146933 w 8636594"/>
              <a:gd name="connsiteY4" fmla="*/ 5810100 h 5835922"/>
              <a:gd name="connsiteX5" fmla="*/ 4183061 w 8636594"/>
              <a:gd name="connsiteY5" fmla="*/ 5783988 h 5835922"/>
              <a:gd name="connsiteX6" fmla="*/ 4218791 w 8636594"/>
              <a:gd name="connsiteY6" fmla="*/ 5757591 h 5835922"/>
              <a:gd name="connsiteX7" fmla="*/ 4254129 w 8636594"/>
              <a:gd name="connsiteY7" fmla="*/ 5730912 h 5835922"/>
              <a:gd name="connsiteX8" fmla="*/ 4289081 w 8636594"/>
              <a:gd name="connsiteY8" fmla="*/ 5703955 h 5835922"/>
              <a:gd name="connsiteX9" fmla="*/ 4323654 w 8636594"/>
              <a:gd name="connsiteY9" fmla="*/ 5676722 h 5835922"/>
              <a:gd name="connsiteX10" fmla="*/ 4357854 w 8636594"/>
              <a:gd name="connsiteY10" fmla="*/ 5649218 h 5835922"/>
              <a:gd name="connsiteX11" fmla="*/ 4391688 w 8636594"/>
              <a:gd name="connsiteY11" fmla="*/ 5621446 h 5835922"/>
              <a:gd name="connsiteX12" fmla="*/ 4425162 w 8636594"/>
              <a:gd name="connsiteY12" fmla="*/ 5593409 h 5835922"/>
              <a:gd name="connsiteX13" fmla="*/ 4458281 w 8636594"/>
              <a:gd name="connsiteY13" fmla="*/ 5565111 h 5835922"/>
              <a:gd name="connsiteX14" fmla="*/ 4491053 w 8636594"/>
              <a:gd name="connsiteY14" fmla="*/ 5536556 h 5835922"/>
              <a:gd name="connsiteX15" fmla="*/ 4523484 w 8636594"/>
              <a:gd name="connsiteY15" fmla="*/ 5507747 h 5835922"/>
              <a:gd name="connsiteX16" fmla="*/ 4555580 w 8636594"/>
              <a:gd name="connsiteY16" fmla="*/ 5478687 h 5835922"/>
              <a:gd name="connsiteX17" fmla="*/ 4587347 w 8636594"/>
              <a:gd name="connsiteY17" fmla="*/ 5449380 h 5835922"/>
              <a:gd name="connsiteX18" fmla="*/ 4618793 w 8636594"/>
              <a:gd name="connsiteY18" fmla="*/ 5419830 h 5835922"/>
              <a:gd name="connsiteX19" fmla="*/ 4649922 w 8636594"/>
              <a:gd name="connsiteY19" fmla="*/ 5390040 h 5835922"/>
              <a:gd name="connsiteX20" fmla="*/ 4680742 w 8636594"/>
              <a:gd name="connsiteY20" fmla="*/ 5360014 h 5835922"/>
              <a:gd name="connsiteX21" fmla="*/ 4711259 w 8636594"/>
              <a:gd name="connsiteY21" fmla="*/ 5329755 h 5835922"/>
              <a:gd name="connsiteX22" fmla="*/ 4741478 w 8636594"/>
              <a:gd name="connsiteY22" fmla="*/ 5299266 h 5835922"/>
              <a:gd name="connsiteX23" fmla="*/ 4771408 w 8636594"/>
              <a:gd name="connsiteY23" fmla="*/ 5268551 h 5835922"/>
              <a:gd name="connsiteX24" fmla="*/ 4801053 w 8636594"/>
              <a:gd name="connsiteY24" fmla="*/ 5237614 h 5835922"/>
              <a:gd name="connsiteX25" fmla="*/ 4830420 w 8636594"/>
              <a:gd name="connsiteY25" fmla="*/ 5206458 h 5835922"/>
              <a:gd name="connsiteX26" fmla="*/ 4859516 w 8636594"/>
              <a:gd name="connsiteY26" fmla="*/ 5175087 h 5835922"/>
              <a:gd name="connsiteX27" fmla="*/ 4888347 w 8636594"/>
              <a:gd name="connsiteY27" fmla="*/ 5143504 h 5835922"/>
              <a:gd name="connsiteX28" fmla="*/ 4916919 w 8636594"/>
              <a:gd name="connsiteY28" fmla="*/ 5111713 h 5835922"/>
              <a:gd name="connsiteX29" fmla="*/ 4945238 w 8636594"/>
              <a:gd name="connsiteY29" fmla="*/ 5079717 h 5835922"/>
              <a:gd name="connsiteX30" fmla="*/ 4973311 w 8636594"/>
              <a:gd name="connsiteY30" fmla="*/ 5047519 h 5835922"/>
              <a:gd name="connsiteX31" fmla="*/ 5001145 w 8636594"/>
              <a:gd name="connsiteY31" fmla="*/ 5015124 h 5835922"/>
              <a:gd name="connsiteX32" fmla="*/ 5028745 w 8636594"/>
              <a:gd name="connsiteY32" fmla="*/ 4982535 h 5835922"/>
              <a:gd name="connsiteX33" fmla="*/ 5056117 w 8636594"/>
              <a:gd name="connsiteY33" fmla="*/ 4949755 h 5835922"/>
              <a:gd name="connsiteX34" fmla="*/ 5083269 w 8636594"/>
              <a:gd name="connsiteY34" fmla="*/ 4916787 h 5835922"/>
              <a:gd name="connsiteX35" fmla="*/ 5110207 w 8636594"/>
              <a:gd name="connsiteY35" fmla="*/ 4883636 h 5835922"/>
              <a:gd name="connsiteX36" fmla="*/ 5136937 w 8636594"/>
              <a:gd name="connsiteY36" fmla="*/ 4850305 h 5835922"/>
              <a:gd name="connsiteX37" fmla="*/ 5163464 w 8636594"/>
              <a:gd name="connsiteY37" fmla="*/ 4816797 h 5835922"/>
              <a:gd name="connsiteX38" fmla="*/ 5215940 w 8636594"/>
              <a:gd name="connsiteY38" fmla="*/ 4749265 h 5835922"/>
              <a:gd name="connsiteX39" fmla="*/ 5267684 w 8636594"/>
              <a:gd name="connsiteY39" fmla="*/ 4681068 h 5835922"/>
              <a:gd name="connsiteX40" fmla="*/ 5318748 w 8636594"/>
              <a:gd name="connsiteY40" fmla="*/ 4612234 h 5835922"/>
              <a:gd name="connsiteX41" fmla="*/ 5369182 w 8636594"/>
              <a:gd name="connsiteY41" fmla="*/ 4542793 h 5835922"/>
              <a:gd name="connsiteX42" fmla="*/ 5419038 w 8636594"/>
              <a:gd name="connsiteY42" fmla="*/ 4472771 h 5835922"/>
              <a:gd name="connsiteX43" fmla="*/ 5468365 w 8636594"/>
              <a:gd name="connsiteY43" fmla="*/ 4402196 h 5835922"/>
              <a:gd name="connsiteX44" fmla="*/ 5517215 w 8636594"/>
              <a:gd name="connsiteY44" fmla="*/ 4331098 h 5835922"/>
              <a:gd name="connsiteX45" fmla="*/ 5565637 w 8636594"/>
              <a:gd name="connsiteY45" fmla="*/ 4259503 h 5835922"/>
              <a:gd name="connsiteX46" fmla="*/ 5613684 w 8636594"/>
              <a:gd name="connsiteY46" fmla="*/ 4187441 h 5835922"/>
              <a:gd name="connsiteX47" fmla="*/ 5685160 w 8636594"/>
              <a:gd name="connsiteY47" fmla="*/ 4078531 h 5835922"/>
              <a:gd name="connsiteX48" fmla="*/ 5756074 w 8636594"/>
              <a:gd name="connsiteY48" fmla="*/ 3968727 h 5835922"/>
              <a:gd name="connsiteX49" fmla="*/ 5873483 w 8636594"/>
              <a:gd name="connsiteY49" fmla="*/ 3783989 h 5835922"/>
              <a:gd name="connsiteX50" fmla="*/ 6203209 w 8636594"/>
              <a:gd name="connsiteY50" fmla="*/ 3258640 h 5835922"/>
              <a:gd name="connsiteX51" fmla="*/ 6299430 w 8636594"/>
              <a:gd name="connsiteY51" fmla="*/ 3107321 h 5835922"/>
              <a:gd name="connsiteX52" fmla="*/ 6372650 w 8636594"/>
              <a:gd name="connsiteY52" fmla="*/ 2993735 h 5835922"/>
              <a:gd name="connsiteX53" fmla="*/ 6453197 w 8636594"/>
              <a:gd name="connsiteY53" fmla="*/ 2869788 h 5835922"/>
              <a:gd name="connsiteX54" fmla="*/ 6564167 w 8636594"/>
              <a:gd name="connsiteY54" fmla="*/ 2696807 h 5835922"/>
              <a:gd name="connsiteX55" fmla="*/ 6976233 w 8636594"/>
              <a:gd name="connsiteY55" fmla="*/ 2045274 h 5835922"/>
              <a:gd name="connsiteX56" fmla="*/ 7086755 w 8636594"/>
              <a:gd name="connsiteY56" fmla="*/ 1872743 h 5835922"/>
              <a:gd name="connsiteX57" fmla="*/ 7170279 w 8636594"/>
              <a:gd name="connsiteY57" fmla="*/ 1744202 h 5835922"/>
              <a:gd name="connsiteX58" fmla="*/ 7226351 w 8636594"/>
              <a:gd name="connsiteY58" fmla="*/ 1659017 h 5835922"/>
              <a:gd name="connsiteX59" fmla="*/ 7282789 w 8636594"/>
              <a:gd name="connsiteY59" fmla="*/ 1574303 h 5835922"/>
              <a:gd name="connsiteX60" fmla="*/ 7339643 w 8636594"/>
              <a:gd name="connsiteY60" fmla="*/ 1490113 h 5835922"/>
              <a:gd name="connsiteX61" fmla="*/ 7396957 w 8636594"/>
              <a:gd name="connsiteY61" fmla="*/ 1406503 h 5835922"/>
              <a:gd name="connsiteX62" fmla="*/ 7454781 w 8636594"/>
              <a:gd name="connsiteY62" fmla="*/ 1323526 h 5835922"/>
              <a:gd name="connsiteX63" fmla="*/ 7513161 w 8636594"/>
              <a:gd name="connsiteY63" fmla="*/ 1241237 h 5835922"/>
              <a:gd name="connsiteX64" fmla="*/ 7572144 w 8636594"/>
              <a:gd name="connsiteY64" fmla="*/ 1159689 h 5835922"/>
              <a:gd name="connsiteX65" fmla="*/ 7601877 w 8636594"/>
              <a:gd name="connsiteY65" fmla="*/ 1119210 h 5835922"/>
              <a:gd name="connsiteX66" fmla="*/ 7631779 w 8636594"/>
              <a:gd name="connsiteY66" fmla="*/ 1078937 h 5835922"/>
              <a:gd name="connsiteX67" fmla="*/ 7661855 w 8636594"/>
              <a:gd name="connsiteY67" fmla="*/ 1038876 h 5835922"/>
              <a:gd name="connsiteX68" fmla="*/ 7692111 w 8636594"/>
              <a:gd name="connsiteY68" fmla="*/ 999035 h 5835922"/>
              <a:gd name="connsiteX69" fmla="*/ 7722554 w 8636594"/>
              <a:gd name="connsiteY69" fmla="*/ 959419 h 5835922"/>
              <a:gd name="connsiteX70" fmla="*/ 7753190 w 8636594"/>
              <a:gd name="connsiteY70" fmla="*/ 920037 h 5835922"/>
              <a:gd name="connsiteX71" fmla="*/ 7784023 w 8636594"/>
              <a:gd name="connsiteY71" fmla="*/ 880894 h 5835922"/>
              <a:gd name="connsiteX72" fmla="*/ 7815061 w 8636594"/>
              <a:gd name="connsiteY72" fmla="*/ 841997 h 5835922"/>
              <a:gd name="connsiteX73" fmla="*/ 7846308 w 8636594"/>
              <a:gd name="connsiteY73" fmla="*/ 803354 h 5835922"/>
              <a:gd name="connsiteX74" fmla="*/ 7877772 w 8636594"/>
              <a:gd name="connsiteY74" fmla="*/ 764970 h 5835922"/>
              <a:gd name="connsiteX75" fmla="*/ 7909458 w 8636594"/>
              <a:gd name="connsiteY75" fmla="*/ 726853 h 5835922"/>
              <a:gd name="connsiteX76" fmla="*/ 7941371 w 8636594"/>
              <a:gd name="connsiteY76" fmla="*/ 689010 h 5835922"/>
              <a:gd name="connsiteX77" fmla="*/ 7973518 w 8636594"/>
              <a:gd name="connsiteY77" fmla="*/ 651447 h 5835922"/>
              <a:gd name="connsiteX78" fmla="*/ 8005905 w 8636594"/>
              <a:gd name="connsiteY78" fmla="*/ 614171 h 5835922"/>
              <a:gd name="connsiteX79" fmla="*/ 8038538 w 8636594"/>
              <a:gd name="connsiteY79" fmla="*/ 577189 h 5835922"/>
              <a:gd name="connsiteX80" fmla="*/ 8071421 w 8636594"/>
              <a:gd name="connsiteY80" fmla="*/ 540507 h 5835922"/>
              <a:gd name="connsiteX81" fmla="*/ 8104563 w 8636594"/>
              <a:gd name="connsiteY81" fmla="*/ 504132 h 5835922"/>
              <a:gd name="connsiteX82" fmla="*/ 8137967 w 8636594"/>
              <a:gd name="connsiteY82" fmla="*/ 468072 h 5835922"/>
              <a:gd name="connsiteX83" fmla="*/ 8171641 w 8636594"/>
              <a:gd name="connsiteY83" fmla="*/ 432332 h 5835922"/>
              <a:gd name="connsiteX84" fmla="*/ 8205590 w 8636594"/>
              <a:gd name="connsiteY84" fmla="*/ 396920 h 5835922"/>
              <a:gd name="connsiteX85" fmla="*/ 8239820 w 8636594"/>
              <a:gd name="connsiteY85" fmla="*/ 361843 h 5835922"/>
              <a:gd name="connsiteX86" fmla="*/ 8274337 w 8636594"/>
              <a:gd name="connsiteY86" fmla="*/ 327107 h 5835922"/>
              <a:gd name="connsiteX87" fmla="*/ 8309147 w 8636594"/>
              <a:gd name="connsiteY87" fmla="*/ 292718 h 5835922"/>
              <a:gd name="connsiteX88" fmla="*/ 8344256 w 8636594"/>
              <a:gd name="connsiteY88" fmla="*/ 258685 h 5835922"/>
              <a:gd name="connsiteX89" fmla="*/ 8379669 w 8636594"/>
              <a:gd name="connsiteY89" fmla="*/ 225013 h 5835922"/>
              <a:gd name="connsiteX90" fmla="*/ 8415394 w 8636594"/>
              <a:gd name="connsiteY90" fmla="*/ 191709 h 5835922"/>
              <a:gd name="connsiteX91" fmla="*/ 8451434 w 8636594"/>
              <a:gd name="connsiteY91" fmla="*/ 158780 h 5835922"/>
              <a:gd name="connsiteX92" fmla="*/ 8487798 w 8636594"/>
              <a:gd name="connsiteY92" fmla="*/ 126233 h 5835922"/>
              <a:gd name="connsiteX93" fmla="*/ 8524489 w 8636594"/>
              <a:gd name="connsiteY93" fmla="*/ 94075 h 5835922"/>
              <a:gd name="connsiteX94" fmla="*/ 8561515 w 8636594"/>
              <a:gd name="connsiteY94" fmla="*/ 62312 h 5835922"/>
              <a:gd name="connsiteX95" fmla="*/ 8598881 w 8636594"/>
              <a:gd name="connsiteY95" fmla="*/ 30951 h 5835922"/>
              <a:gd name="connsiteX96" fmla="*/ 8636594 w 8636594"/>
              <a:gd name="connsiteY96" fmla="*/ 0 h 5835922"/>
              <a:gd name="connsiteX0" fmla="*/ 8636594 w 8636594"/>
              <a:gd name="connsiteY0" fmla="*/ 0 h 5810100"/>
              <a:gd name="connsiteX1" fmla="*/ 5293 w 8636594"/>
              <a:gd name="connsiteY1" fmla="*/ 0 h 5810100"/>
              <a:gd name="connsiteX2" fmla="*/ 0 w 8636594"/>
              <a:gd name="connsiteY2" fmla="*/ 5587843 h 5810100"/>
              <a:gd name="connsiteX3" fmla="*/ 4146933 w 8636594"/>
              <a:gd name="connsiteY3" fmla="*/ 5810100 h 5810100"/>
              <a:gd name="connsiteX4" fmla="*/ 4183061 w 8636594"/>
              <a:gd name="connsiteY4" fmla="*/ 5783988 h 5810100"/>
              <a:gd name="connsiteX5" fmla="*/ 4218791 w 8636594"/>
              <a:gd name="connsiteY5" fmla="*/ 5757591 h 5810100"/>
              <a:gd name="connsiteX6" fmla="*/ 4254129 w 8636594"/>
              <a:gd name="connsiteY6" fmla="*/ 5730912 h 5810100"/>
              <a:gd name="connsiteX7" fmla="*/ 4289081 w 8636594"/>
              <a:gd name="connsiteY7" fmla="*/ 5703955 h 5810100"/>
              <a:gd name="connsiteX8" fmla="*/ 4323654 w 8636594"/>
              <a:gd name="connsiteY8" fmla="*/ 5676722 h 5810100"/>
              <a:gd name="connsiteX9" fmla="*/ 4357854 w 8636594"/>
              <a:gd name="connsiteY9" fmla="*/ 5649218 h 5810100"/>
              <a:gd name="connsiteX10" fmla="*/ 4391688 w 8636594"/>
              <a:gd name="connsiteY10" fmla="*/ 5621446 h 5810100"/>
              <a:gd name="connsiteX11" fmla="*/ 4425162 w 8636594"/>
              <a:gd name="connsiteY11" fmla="*/ 5593409 h 5810100"/>
              <a:gd name="connsiteX12" fmla="*/ 4458281 w 8636594"/>
              <a:gd name="connsiteY12" fmla="*/ 5565111 h 5810100"/>
              <a:gd name="connsiteX13" fmla="*/ 4491053 w 8636594"/>
              <a:gd name="connsiteY13" fmla="*/ 5536556 h 5810100"/>
              <a:gd name="connsiteX14" fmla="*/ 4523484 w 8636594"/>
              <a:gd name="connsiteY14" fmla="*/ 5507747 h 5810100"/>
              <a:gd name="connsiteX15" fmla="*/ 4555580 w 8636594"/>
              <a:gd name="connsiteY15" fmla="*/ 5478687 h 5810100"/>
              <a:gd name="connsiteX16" fmla="*/ 4587347 w 8636594"/>
              <a:gd name="connsiteY16" fmla="*/ 5449380 h 5810100"/>
              <a:gd name="connsiteX17" fmla="*/ 4618793 w 8636594"/>
              <a:gd name="connsiteY17" fmla="*/ 5419830 h 5810100"/>
              <a:gd name="connsiteX18" fmla="*/ 4649922 w 8636594"/>
              <a:gd name="connsiteY18" fmla="*/ 5390040 h 5810100"/>
              <a:gd name="connsiteX19" fmla="*/ 4680742 w 8636594"/>
              <a:gd name="connsiteY19" fmla="*/ 5360014 h 5810100"/>
              <a:gd name="connsiteX20" fmla="*/ 4711259 w 8636594"/>
              <a:gd name="connsiteY20" fmla="*/ 5329755 h 5810100"/>
              <a:gd name="connsiteX21" fmla="*/ 4741478 w 8636594"/>
              <a:gd name="connsiteY21" fmla="*/ 5299266 h 5810100"/>
              <a:gd name="connsiteX22" fmla="*/ 4771408 w 8636594"/>
              <a:gd name="connsiteY22" fmla="*/ 5268551 h 5810100"/>
              <a:gd name="connsiteX23" fmla="*/ 4801053 w 8636594"/>
              <a:gd name="connsiteY23" fmla="*/ 5237614 h 5810100"/>
              <a:gd name="connsiteX24" fmla="*/ 4830420 w 8636594"/>
              <a:gd name="connsiteY24" fmla="*/ 5206458 h 5810100"/>
              <a:gd name="connsiteX25" fmla="*/ 4859516 w 8636594"/>
              <a:gd name="connsiteY25" fmla="*/ 5175087 h 5810100"/>
              <a:gd name="connsiteX26" fmla="*/ 4888347 w 8636594"/>
              <a:gd name="connsiteY26" fmla="*/ 5143504 h 5810100"/>
              <a:gd name="connsiteX27" fmla="*/ 4916919 w 8636594"/>
              <a:gd name="connsiteY27" fmla="*/ 5111713 h 5810100"/>
              <a:gd name="connsiteX28" fmla="*/ 4945238 w 8636594"/>
              <a:gd name="connsiteY28" fmla="*/ 5079717 h 5810100"/>
              <a:gd name="connsiteX29" fmla="*/ 4973311 w 8636594"/>
              <a:gd name="connsiteY29" fmla="*/ 5047519 h 5810100"/>
              <a:gd name="connsiteX30" fmla="*/ 5001145 w 8636594"/>
              <a:gd name="connsiteY30" fmla="*/ 5015124 h 5810100"/>
              <a:gd name="connsiteX31" fmla="*/ 5028745 w 8636594"/>
              <a:gd name="connsiteY31" fmla="*/ 4982535 h 5810100"/>
              <a:gd name="connsiteX32" fmla="*/ 5056117 w 8636594"/>
              <a:gd name="connsiteY32" fmla="*/ 4949755 h 5810100"/>
              <a:gd name="connsiteX33" fmla="*/ 5083269 w 8636594"/>
              <a:gd name="connsiteY33" fmla="*/ 4916787 h 5810100"/>
              <a:gd name="connsiteX34" fmla="*/ 5110207 w 8636594"/>
              <a:gd name="connsiteY34" fmla="*/ 4883636 h 5810100"/>
              <a:gd name="connsiteX35" fmla="*/ 5136937 w 8636594"/>
              <a:gd name="connsiteY35" fmla="*/ 4850305 h 5810100"/>
              <a:gd name="connsiteX36" fmla="*/ 5163464 w 8636594"/>
              <a:gd name="connsiteY36" fmla="*/ 4816797 h 5810100"/>
              <a:gd name="connsiteX37" fmla="*/ 5215940 w 8636594"/>
              <a:gd name="connsiteY37" fmla="*/ 4749265 h 5810100"/>
              <a:gd name="connsiteX38" fmla="*/ 5267684 w 8636594"/>
              <a:gd name="connsiteY38" fmla="*/ 4681068 h 5810100"/>
              <a:gd name="connsiteX39" fmla="*/ 5318748 w 8636594"/>
              <a:gd name="connsiteY39" fmla="*/ 4612234 h 5810100"/>
              <a:gd name="connsiteX40" fmla="*/ 5369182 w 8636594"/>
              <a:gd name="connsiteY40" fmla="*/ 4542793 h 5810100"/>
              <a:gd name="connsiteX41" fmla="*/ 5419038 w 8636594"/>
              <a:gd name="connsiteY41" fmla="*/ 4472771 h 5810100"/>
              <a:gd name="connsiteX42" fmla="*/ 5468365 w 8636594"/>
              <a:gd name="connsiteY42" fmla="*/ 4402196 h 5810100"/>
              <a:gd name="connsiteX43" fmla="*/ 5517215 w 8636594"/>
              <a:gd name="connsiteY43" fmla="*/ 4331098 h 5810100"/>
              <a:gd name="connsiteX44" fmla="*/ 5565637 w 8636594"/>
              <a:gd name="connsiteY44" fmla="*/ 4259503 h 5810100"/>
              <a:gd name="connsiteX45" fmla="*/ 5613684 w 8636594"/>
              <a:gd name="connsiteY45" fmla="*/ 4187441 h 5810100"/>
              <a:gd name="connsiteX46" fmla="*/ 5685160 w 8636594"/>
              <a:gd name="connsiteY46" fmla="*/ 4078531 h 5810100"/>
              <a:gd name="connsiteX47" fmla="*/ 5756074 w 8636594"/>
              <a:gd name="connsiteY47" fmla="*/ 3968727 h 5810100"/>
              <a:gd name="connsiteX48" fmla="*/ 5873483 w 8636594"/>
              <a:gd name="connsiteY48" fmla="*/ 3783989 h 5810100"/>
              <a:gd name="connsiteX49" fmla="*/ 6203209 w 8636594"/>
              <a:gd name="connsiteY49" fmla="*/ 3258640 h 5810100"/>
              <a:gd name="connsiteX50" fmla="*/ 6299430 w 8636594"/>
              <a:gd name="connsiteY50" fmla="*/ 3107321 h 5810100"/>
              <a:gd name="connsiteX51" fmla="*/ 6372650 w 8636594"/>
              <a:gd name="connsiteY51" fmla="*/ 2993735 h 5810100"/>
              <a:gd name="connsiteX52" fmla="*/ 6453197 w 8636594"/>
              <a:gd name="connsiteY52" fmla="*/ 2869788 h 5810100"/>
              <a:gd name="connsiteX53" fmla="*/ 6564167 w 8636594"/>
              <a:gd name="connsiteY53" fmla="*/ 2696807 h 5810100"/>
              <a:gd name="connsiteX54" fmla="*/ 6976233 w 8636594"/>
              <a:gd name="connsiteY54" fmla="*/ 2045274 h 5810100"/>
              <a:gd name="connsiteX55" fmla="*/ 7086755 w 8636594"/>
              <a:gd name="connsiteY55" fmla="*/ 1872743 h 5810100"/>
              <a:gd name="connsiteX56" fmla="*/ 7170279 w 8636594"/>
              <a:gd name="connsiteY56" fmla="*/ 1744202 h 5810100"/>
              <a:gd name="connsiteX57" fmla="*/ 7226351 w 8636594"/>
              <a:gd name="connsiteY57" fmla="*/ 1659017 h 5810100"/>
              <a:gd name="connsiteX58" fmla="*/ 7282789 w 8636594"/>
              <a:gd name="connsiteY58" fmla="*/ 1574303 h 5810100"/>
              <a:gd name="connsiteX59" fmla="*/ 7339643 w 8636594"/>
              <a:gd name="connsiteY59" fmla="*/ 1490113 h 5810100"/>
              <a:gd name="connsiteX60" fmla="*/ 7396957 w 8636594"/>
              <a:gd name="connsiteY60" fmla="*/ 1406503 h 5810100"/>
              <a:gd name="connsiteX61" fmla="*/ 7454781 w 8636594"/>
              <a:gd name="connsiteY61" fmla="*/ 1323526 h 5810100"/>
              <a:gd name="connsiteX62" fmla="*/ 7513161 w 8636594"/>
              <a:gd name="connsiteY62" fmla="*/ 1241237 h 5810100"/>
              <a:gd name="connsiteX63" fmla="*/ 7572144 w 8636594"/>
              <a:gd name="connsiteY63" fmla="*/ 1159689 h 5810100"/>
              <a:gd name="connsiteX64" fmla="*/ 7601877 w 8636594"/>
              <a:gd name="connsiteY64" fmla="*/ 1119210 h 5810100"/>
              <a:gd name="connsiteX65" fmla="*/ 7631779 w 8636594"/>
              <a:gd name="connsiteY65" fmla="*/ 1078937 h 5810100"/>
              <a:gd name="connsiteX66" fmla="*/ 7661855 w 8636594"/>
              <a:gd name="connsiteY66" fmla="*/ 1038876 h 5810100"/>
              <a:gd name="connsiteX67" fmla="*/ 7692111 w 8636594"/>
              <a:gd name="connsiteY67" fmla="*/ 999035 h 5810100"/>
              <a:gd name="connsiteX68" fmla="*/ 7722554 w 8636594"/>
              <a:gd name="connsiteY68" fmla="*/ 959419 h 5810100"/>
              <a:gd name="connsiteX69" fmla="*/ 7753190 w 8636594"/>
              <a:gd name="connsiteY69" fmla="*/ 920037 h 5810100"/>
              <a:gd name="connsiteX70" fmla="*/ 7784023 w 8636594"/>
              <a:gd name="connsiteY70" fmla="*/ 880894 h 5810100"/>
              <a:gd name="connsiteX71" fmla="*/ 7815061 w 8636594"/>
              <a:gd name="connsiteY71" fmla="*/ 841997 h 5810100"/>
              <a:gd name="connsiteX72" fmla="*/ 7846308 w 8636594"/>
              <a:gd name="connsiteY72" fmla="*/ 803354 h 5810100"/>
              <a:gd name="connsiteX73" fmla="*/ 7877772 w 8636594"/>
              <a:gd name="connsiteY73" fmla="*/ 764970 h 5810100"/>
              <a:gd name="connsiteX74" fmla="*/ 7909458 w 8636594"/>
              <a:gd name="connsiteY74" fmla="*/ 726853 h 5810100"/>
              <a:gd name="connsiteX75" fmla="*/ 7941371 w 8636594"/>
              <a:gd name="connsiteY75" fmla="*/ 689010 h 5810100"/>
              <a:gd name="connsiteX76" fmla="*/ 7973518 w 8636594"/>
              <a:gd name="connsiteY76" fmla="*/ 651447 h 5810100"/>
              <a:gd name="connsiteX77" fmla="*/ 8005905 w 8636594"/>
              <a:gd name="connsiteY77" fmla="*/ 614171 h 5810100"/>
              <a:gd name="connsiteX78" fmla="*/ 8038538 w 8636594"/>
              <a:gd name="connsiteY78" fmla="*/ 577189 h 5810100"/>
              <a:gd name="connsiteX79" fmla="*/ 8071421 w 8636594"/>
              <a:gd name="connsiteY79" fmla="*/ 540507 h 5810100"/>
              <a:gd name="connsiteX80" fmla="*/ 8104563 w 8636594"/>
              <a:gd name="connsiteY80" fmla="*/ 504132 h 5810100"/>
              <a:gd name="connsiteX81" fmla="*/ 8137967 w 8636594"/>
              <a:gd name="connsiteY81" fmla="*/ 468072 h 5810100"/>
              <a:gd name="connsiteX82" fmla="*/ 8171641 w 8636594"/>
              <a:gd name="connsiteY82" fmla="*/ 432332 h 5810100"/>
              <a:gd name="connsiteX83" fmla="*/ 8205590 w 8636594"/>
              <a:gd name="connsiteY83" fmla="*/ 396920 h 5810100"/>
              <a:gd name="connsiteX84" fmla="*/ 8239820 w 8636594"/>
              <a:gd name="connsiteY84" fmla="*/ 361843 h 5810100"/>
              <a:gd name="connsiteX85" fmla="*/ 8274337 w 8636594"/>
              <a:gd name="connsiteY85" fmla="*/ 327107 h 5810100"/>
              <a:gd name="connsiteX86" fmla="*/ 8309147 w 8636594"/>
              <a:gd name="connsiteY86" fmla="*/ 292718 h 5810100"/>
              <a:gd name="connsiteX87" fmla="*/ 8344256 w 8636594"/>
              <a:gd name="connsiteY87" fmla="*/ 258685 h 5810100"/>
              <a:gd name="connsiteX88" fmla="*/ 8379669 w 8636594"/>
              <a:gd name="connsiteY88" fmla="*/ 225013 h 5810100"/>
              <a:gd name="connsiteX89" fmla="*/ 8415394 w 8636594"/>
              <a:gd name="connsiteY89" fmla="*/ 191709 h 5810100"/>
              <a:gd name="connsiteX90" fmla="*/ 8451434 w 8636594"/>
              <a:gd name="connsiteY90" fmla="*/ 158780 h 5810100"/>
              <a:gd name="connsiteX91" fmla="*/ 8487798 w 8636594"/>
              <a:gd name="connsiteY91" fmla="*/ 126233 h 5810100"/>
              <a:gd name="connsiteX92" fmla="*/ 8524489 w 8636594"/>
              <a:gd name="connsiteY92" fmla="*/ 94075 h 5810100"/>
              <a:gd name="connsiteX93" fmla="*/ 8561515 w 8636594"/>
              <a:gd name="connsiteY93" fmla="*/ 62312 h 5810100"/>
              <a:gd name="connsiteX94" fmla="*/ 8598881 w 8636594"/>
              <a:gd name="connsiteY94" fmla="*/ 30951 h 5810100"/>
              <a:gd name="connsiteX95" fmla="*/ 8636594 w 8636594"/>
              <a:gd name="connsiteY95" fmla="*/ 0 h 5810100"/>
              <a:gd name="connsiteX0" fmla="*/ 8636594 w 8636594"/>
              <a:gd name="connsiteY0" fmla="*/ 0 h 5783988"/>
              <a:gd name="connsiteX1" fmla="*/ 5293 w 8636594"/>
              <a:gd name="connsiteY1" fmla="*/ 0 h 5783988"/>
              <a:gd name="connsiteX2" fmla="*/ 0 w 8636594"/>
              <a:gd name="connsiteY2" fmla="*/ 5587843 h 5783988"/>
              <a:gd name="connsiteX3" fmla="*/ 4183061 w 8636594"/>
              <a:gd name="connsiteY3" fmla="*/ 5783988 h 5783988"/>
              <a:gd name="connsiteX4" fmla="*/ 4218791 w 8636594"/>
              <a:gd name="connsiteY4" fmla="*/ 5757591 h 5783988"/>
              <a:gd name="connsiteX5" fmla="*/ 4254129 w 8636594"/>
              <a:gd name="connsiteY5" fmla="*/ 5730912 h 5783988"/>
              <a:gd name="connsiteX6" fmla="*/ 4289081 w 8636594"/>
              <a:gd name="connsiteY6" fmla="*/ 5703955 h 5783988"/>
              <a:gd name="connsiteX7" fmla="*/ 4323654 w 8636594"/>
              <a:gd name="connsiteY7" fmla="*/ 5676722 h 5783988"/>
              <a:gd name="connsiteX8" fmla="*/ 4357854 w 8636594"/>
              <a:gd name="connsiteY8" fmla="*/ 5649218 h 5783988"/>
              <a:gd name="connsiteX9" fmla="*/ 4391688 w 8636594"/>
              <a:gd name="connsiteY9" fmla="*/ 5621446 h 5783988"/>
              <a:gd name="connsiteX10" fmla="*/ 4425162 w 8636594"/>
              <a:gd name="connsiteY10" fmla="*/ 5593409 h 5783988"/>
              <a:gd name="connsiteX11" fmla="*/ 4458281 w 8636594"/>
              <a:gd name="connsiteY11" fmla="*/ 5565111 h 5783988"/>
              <a:gd name="connsiteX12" fmla="*/ 4491053 w 8636594"/>
              <a:gd name="connsiteY12" fmla="*/ 5536556 h 5783988"/>
              <a:gd name="connsiteX13" fmla="*/ 4523484 w 8636594"/>
              <a:gd name="connsiteY13" fmla="*/ 5507747 h 5783988"/>
              <a:gd name="connsiteX14" fmla="*/ 4555580 w 8636594"/>
              <a:gd name="connsiteY14" fmla="*/ 5478687 h 5783988"/>
              <a:gd name="connsiteX15" fmla="*/ 4587347 w 8636594"/>
              <a:gd name="connsiteY15" fmla="*/ 5449380 h 5783988"/>
              <a:gd name="connsiteX16" fmla="*/ 4618793 w 8636594"/>
              <a:gd name="connsiteY16" fmla="*/ 5419830 h 5783988"/>
              <a:gd name="connsiteX17" fmla="*/ 4649922 w 8636594"/>
              <a:gd name="connsiteY17" fmla="*/ 5390040 h 5783988"/>
              <a:gd name="connsiteX18" fmla="*/ 4680742 w 8636594"/>
              <a:gd name="connsiteY18" fmla="*/ 5360014 h 5783988"/>
              <a:gd name="connsiteX19" fmla="*/ 4711259 w 8636594"/>
              <a:gd name="connsiteY19" fmla="*/ 5329755 h 5783988"/>
              <a:gd name="connsiteX20" fmla="*/ 4741478 w 8636594"/>
              <a:gd name="connsiteY20" fmla="*/ 5299266 h 5783988"/>
              <a:gd name="connsiteX21" fmla="*/ 4771408 w 8636594"/>
              <a:gd name="connsiteY21" fmla="*/ 5268551 h 5783988"/>
              <a:gd name="connsiteX22" fmla="*/ 4801053 w 8636594"/>
              <a:gd name="connsiteY22" fmla="*/ 5237614 h 5783988"/>
              <a:gd name="connsiteX23" fmla="*/ 4830420 w 8636594"/>
              <a:gd name="connsiteY23" fmla="*/ 5206458 h 5783988"/>
              <a:gd name="connsiteX24" fmla="*/ 4859516 w 8636594"/>
              <a:gd name="connsiteY24" fmla="*/ 5175087 h 5783988"/>
              <a:gd name="connsiteX25" fmla="*/ 4888347 w 8636594"/>
              <a:gd name="connsiteY25" fmla="*/ 5143504 h 5783988"/>
              <a:gd name="connsiteX26" fmla="*/ 4916919 w 8636594"/>
              <a:gd name="connsiteY26" fmla="*/ 5111713 h 5783988"/>
              <a:gd name="connsiteX27" fmla="*/ 4945238 w 8636594"/>
              <a:gd name="connsiteY27" fmla="*/ 5079717 h 5783988"/>
              <a:gd name="connsiteX28" fmla="*/ 4973311 w 8636594"/>
              <a:gd name="connsiteY28" fmla="*/ 5047519 h 5783988"/>
              <a:gd name="connsiteX29" fmla="*/ 5001145 w 8636594"/>
              <a:gd name="connsiteY29" fmla="*/ 5015124 h 5783988"/>
              <a:gd name="connsiteX30" fmla="*/ 5028745 w 8636594"/>
              <a:gd name="connsiteY30" fmla="*/ 4982535 h 5783988"/>
              <a:gd name="connsiteX31" fmla="*/ 5056117 w 8636594"/>
              <a:gd name="connsiteY31" fmla="*/ 4949755 h 5783988"/>
              <a:gd name="connsiteX32" fmla="*/ 5083269 w 8636594"/>
              <a:gd name="connsiteY32" fmla="*/ 4916787 h 5783988"/>
              <a:gd name="connsiteX33" fmla="*/ 5110207 w 8636594"/>
              <a:gd name="connsiteY33" fmla="*/ 4883636 h 5783988"/>
              <a:gd name="connsiteX34" fmla="*/ 5136937 w 8636594"/>
              <a:gd name="connsiteY34" fmla="*/ 4850305 h 5783988"/>
              <a:gd name="connsiteX35" fmla="*/ 5163464 w 8636594"/>
              <a:gd name="connsiteY35" fmla="*/ 4816797 h 5783988"/>
              <a:gd name="connsiteX36" fmla="*/ 5215940 w 8636594"/>
              <a:gd name="connsiteY36" fmla="*/ 4749265 h 5783988"/>
              <a:gd name="connsiteX37" fmla="*/ 5267684 w 8636594"/>
              <a:gd name="connsiteY37" fmla="*/ 4681068 h 5783988"/>
              <a:gd name="connsiteX38" fmla="*/ 5318748 w 8636594"/>
              <a:gd name="connsiteY38" fmla="*/ 4612234 h 5783988"/>
              <a:gd name="connsiteX39" fmla="*/ 5369182 w 8636594"/>
              <a:gd name="connsiteY39" fmla="*/ 4542793 h 5783988"/>
              <a:gd name="connsiteX40" fmla="*/ 5419038 w 8636594"/>
              <a:gd name="connsiteY40" fmla="*/ 4472771 h 5783988"/>
              <a:gd name="connsiteX41" fmla="*/ 5468365 w 8636594"/>
              <a:gd name="connsiteY41" fmla="*/ 4402196 h 5783988"/>
              <a:gd name="connsiteX42" fmla="*/ 5517215 w 8636594"/>
              <a:gd name="connsiteY42" fmla="*/ 4331098 h 5783988"/>
              <a:gd name="connsiteX43" fmla="*/ 5565637 w 8636594"/>
              <a:gd name="connsiteY43" fmla="*/ 4259503 h 5783988"/>
              <a:gd name="connsiteX44" fmla="*/ 5613684 w 8636594"/>
              <a:gd name="connsiteY44" fmla="*/ 4187441 h 5783988"/>
              <a:gd name="connsiteX45" fmla="*/ 5685160 w 8636594"/>
              <a:gd name="connsiteY45" fmla="*/ 4078531 h 5783988"/>
              <a:gd name="connsiteX46" fmla="*/ 5756074 w 8636594"/>
              <a:gd name="connsiteY46" fmla="*/ 3968727 h 5783988"/>
              <a:gd name="connsiteX47" fmla="*/ 5873483 w 8636594"/>
              <a:gd name="connsiteY47" fmla="*/ 3783989 h 5783988"/>
              <a:gd name="connsiteX48" fmla="*/ 6203209 w 8636594"/>
              <a:gd name="connsiteY48" fmla="*/ 3258640 h 5783988"/>
              <a:gd name="connsiteX49" fmla="*/ 6299430 w 8636594"/>
              <a:gd name="connsiteY49" fmla="*/ 3107321 h 5783988"/>
              <a:gd name="connsiteX50" fmla="*/ 6372650 w 8636594"/>
              <a:gd name="connsiteY50" fmla="*/ 2993735 h 5783988"/>
              <a:gd name="connsiteX51" fmla="*/ 6453197 w 8636594"/>
              <a:gd name="connsiteY51" fmla="*/ 2869788 h 5783988"/>
              <a:gd name="connsiteX52" fmla="*/ 6564167 w 8636594"/>
              <a:gd name="connsiteY52" fmla="*/ 2696807 h 5783988"/>
              <a:gd name="connsiteX53" fmla="*/ 6976233 w 8636594"/>
              <a:gd name="connsiteY53" fmla="*/ 2045274 h 5783988"/>
              <a:gd name="connsiteX54" fmla="*/ 7086755 w 8636594"/>
              <a:gd name="connsiteY54" fmla="*/ 1872743 h 5783988"/>
              <a:gd name="connsiteX55" fmla="*/ 7170279 w 8636594"/>
              <a:gd name="connsiteY55" fmla="*/ 1744202 h 5783988"/>
              <a:gd name="connsiteX56" fmla="*/ 7226351 w 8636594"/>
              <a:gd name="connsiteY56" fmla="*/ 1659017 h 5783988"/>
              <a:gd name="connsiteX57" fmla="*/ 7282789 w 8636594"/>
              <a:gd name="connsiteY57" fmla="*/ 1574303 h 5783988"/>
              <a:gd name="connsiteX58" fmla="*/ 7339643 w 8636594"/>
              <a:gd name="connsiteY58" fmla="*/ 1490113 h 5783988"/>
              <a:gd name="connsiteX59" fmla="*/ 7396957 w 8636594"/>
              <a:gd name="connsiteY59" fmla="*/ 1406503 h 5783988"/>
              <a:gd name="connsiteX60" fmla="*/ 7454781 w 8636594"/>
              <a:gd name="connsiteY60" fmla="*/ 1323526 h 5783988"/>
              <a:gd name="connsiteX61" fmla="*/ 7513161 w 8636594"/>
              <a:gd name="connsiteY61" fmla="*/ 1241237 h 5783988"/>
              <a:gd name="connsiteX62" fmla="*/ 7572144 w 8636594"/>
              <a:gd name="connsiteY62" fmla="*/ 1159689 h 5783988"/>
              <a:gd name="connsiteX63" fmla="*/ 7601877 w 8636594"/>
              <a:gd name="connsiteY63" fmla="*/ 1119210 h 5783988"/>
              <a:gd name="connsiteX64" fmla="*/ 7631779 w 8636594"/>
              <a:gd name="connsiteY64" fmla="*/ 1078937 h 5783988"/>
              <a:gd name="connsiteX65" fmla="*/ 7661855 w 8636594"/>
              <a:gd name="connsiteY65" fmla="*/ 1038876 h 5783988"/>
              <a:gd name="connsiteX66" fmla="*/ 7692111 w 8636594"/>
              <a:gd name="connsiteY66" fmla="*/ 999035 h 5783988"/>
              <a:gd name="connsiteX67" fmla="*/ 7722554 w 8636594"/>
              <a:gd name="connsiteY67" fmla="*/ 959419 h 5783988"/>
              <a:gd name="connsiteX68" fmla="*/ 7753190 w 8636594"/>
              <a:gd name="connsiteY68" fmla="*/ 920037 h 5783988"/>
              <a:gd name="connsiteX69" fmla="*/ 7784023 w 8636594"/>
              <a:gd name="connsiteY69" fmla="*/ 880894 h 5783988"/>
              <a:gd name="connsiteX70" fmla="*/ 7815061 w 8636594"/>
              <a:gd name="connsiteY70" fmla="*/ 841997 h 5783988"/>
              <a:gd name="connsiteX71" fmla="*/ 7846308 w 8636594"/>
              <a:gd name="connsiteY71" fmla="*/ 803354 h 5783988"/>
              <a:gd name="connsiteX72" fmla="*/ 7877772 w 8636594"/>
              <a:gd name="connsiteY72" fmla="*/ 764970 h 5783988"/>
              <a:gd name="connsiteX73" fmla="*/ 7909458 w 8636594"/>
              <a:gd name="connsiteY73" fmla="*/ 726853 h 5783988"/>
              <a:gd name="connsiteX74" fmla="*/ 7941371 w 8636594"/>
              <a:gd name="connsiteY74" fmla="*/ 689010 h 5783988"/>
              <a:gd name="connsiteX75" fmla="*/ 7973518 w 8636594"/>
              <a:gd name="connsiteY75" fmla="*/ 651447 h 5783988"/>
              <a:gd name="connsiteX76" fmla="*/ 8005905 w 8636594"/>
              <a:gd name="connsiteY76" fmla="*/ 614171 h 5783988"/>
              <a:gd name="connsiteX77" fmla="*/ 8038538 w 8636594"/>
              <a:gd name="connsiteY77" fmla="*/ 577189 h 5783988"/>
              <a:gd name="connsiteX78" fmla="*/ 8071421 w 8636594"/>
              <a:gd name="connsiteY78" fmla="*/ 540507 h 5783988"/>
              <a:gd name="connsiteX79" fmla="*/ 8104563 w 8636594"/>
              <a:gd name="connsiteY79" fmla="*/ 504132 h 5783988"/>
              <a:gd name="connsiteX80" fmla="*/ 8137967 w 8636594"/>
              <a:gd name="connsiteY80" fmla="*/ 468072 h 5783988"/>
              <a:gd name="connsiteX81" fmla="*/ 8171641 w 8636594"/>
              <a:gd name="connsiteY81" fmla="*/ 432332 h 5783988"/>
              <a:gd name="connsiteX82" fmla="*/ 8205590 w 8636594"/>
              <a:gd name="connsiteY82" fmla="*/ 396920 h 5783988"/>
              <a:gd name="connsiteX83" fmla="*/ 8239820 w 8636594"/>
              <a:gd name="connsiteY83" fmla="*/ 361843 h 5783988"/>
              <a:gd name="connsiteX84" fmla="*/ 8274337 w 8636594"/>
              <a:gd name="connsiteY84" fmla="*/ 327107 h 5783988"/>
              <a:gd name="connsiteX85" fmla="*/ 8309147 w 8636594"/>
              <a:gd name="connsiteY85" fmla="*/ 292718 h 5783988"/>
              <a:gd name="connsiteX86" fmla="*/ 8344256 w 8636594"/>
              <a:gd name="connsiteY86" fmla="*/ 258685 h 5783988"/>
              <a:gd name="connsiteX87" fmla="*/ 8379669 w 8636594"/>
              <a:gd name="connsiteY87" fmla="*/ 225013 h 5783988"/>
              <a:gd name="connsiteX88" fmla="*/ 8415394 w 8636594"/>
              <a:gd name="connsiteY88" fmla="*/ 191709 h 5783988"/>
              <a:gd name="connsiteX89" fmla="*/ 8451434 w 8636594"/>
              <a:gd name="connsiteY89" fmla="*/ 158780 h 5783988"/>
              <a:gd name="connsiteX90" fmla="*/ 8487798 w 8636594"/>
              <a:gd name="connsiteY90" fmla="*/ 126233 h 5783988"/>
              <a:gd name="connsiteX91" fmla="*/ 8524489 w 8636594"/>
              <a:gd name="connsiteY91" fmla="*/ 94075 h 5783988"/>
              <a:gd name="connsiteX92" fmla="*/ 8561515 w 8636594"/>
              <a:gd name="connsiteY92" fmla="*/ 62312 h 5783988"/>
              <a:gd name="connsiteX93" fmla="*/ 8598881 w 8636594"/>
              <a:gd name="connsiteY93" fmla="*/ 30951 h 5783988"/>
              <a:gd name="connsiteX94" fmla="*/ 8636594 w 8636594"/>
              <a:gd name="connsiteY94" fmla="*/ 0 h 5783988"/>
              <a:gd name="connsiteX0" fmla="*/ 8636594 w 8636594"/>
              <a:gd name="connsiteY0" fmla="*/ 0 h 5757591"/>
              <a:gd name="connsiteX1" fmla="*/ 5293 w 8636594"/>
              <a:gd name="connsiteY1" fmla="*/ 0 h 5757591"/>
              <a:gd name="connsiteX2" fmla="*/ 0 w 8636594"/>
              <a:gd name="connsiteY2" fmla="*/ 5587843 h 5757591"/>
              <a:gd name="connsiteX3" fmla="*/ 4218791 w 8636594"/>
              <a:gd name="connsiteY3" fmla="*/ 5757591 h 5757591"/>
              <a:gd name="connsiteX4" fmla="*/ 4254129 w 8636594"/>
              <a:gd name="connsiteY4" fmla="*/ 5730912 h 5757591"/>
              <a:gd name="connsiteX5" fmla="*/ 4289081 w 8636594"/>
              <a:gd name="connsiteY5" fmla="*/ 5703955 h 5757591"/>
              <a:gd name="connsiteX6" fmla="*/ 4323654 w 8636594"/>
              <a:gd name="connsiteY6" fmla="*/ 5676722 h 5757591"/>
              <a:gd name="connsiteX7" fmla="*/ 4357854 w 8636594"/>
              <a:gd name="connsiteY7" fmla="*/ 5649218 h 5757591"/>
              <a:gd name="connsiteX8" fmla="*/ 4391688 w 8636594"/>
              <a:gd name="connsiteY8" fmla="*/ 5621446 h 5757591"/>
              <a:gd name="connsiteX9" fmla="*/ 4425162 w 8636594"/>
              <a:gd name="connsiteY9" fmla="*/ 5593409 h 5757591"/>
              <a:gd name="connsiteX10" fmla="*/ 4458281 w 8636594"/>
              <a:gd name="connsiteY10" fmla="*/ 5565111 h 5757591"/>
              <a:gd name="connsiteX11" fmla="*/ 4491053 w 8636594"/>
              <a:gd name="connsiteY11" fmla="*/ 5536556 h 5757591"/>
              <a:gd name="connsiteX12" fmla="*/ 4523484 w 8636594"/>
              <a:gd name="connsiteY12" fmla="*/ 5507747 h 5757591"/>
              <a:gd name="connsiteX13" fmla="*/ 4555580 w 8636594"/>
              <a:gd name="connsiteY13" fmla="*/ 5478687 h 5757591"/>
              <a:gd name="connsiteX14" fmla="*/ 4587347 w 8636594"/>
              <a:gd name="connsiteY14" fmla="*/ 5449380 h 5757591"/>
              <a:gd name="connsiteX15" fmla="*/ 4618793 w 8636594"/>
              <a:gd name="connsiteY15" fmla="*/ 5419830 h 5757591"/>
              <a:gd name="connsiteX16" fmla="*/ 4649922 w 8636594"/>
              <a:gd name="connsiteY16" fmla="*/ 5390040 h 5757591"/>
              <a:gd name="connsiteX17" fmla="*/ 4680742 w 8636594"/>
              <a:gd name="connsiteY17" fmla="*/ 5360014 h 5757591"/>
              <a:gd name="connsiteX18" fmla="*/ 4711259 w 8636594"/>
              <a:gd name="connsiteY18" fmla="*/ 5329755 h 5757591"/>
              <a:gd name="connsiteX19" fmla="*/ 4741478 w 8636594"/>
              <a:gd name="connsiteY19" fmla="*/ 5299266 h 5757591"/>
              <a:gd name="connsiteX20" fmla="*/ 4771408 w 8636594"/>
              <a:gd name="connsiteY20" fmla="*/ 5268551 h 5757591"/>
              <a:gd name="connsiteX21" fmla="*/ 4801053 w 8636594"/>
              <a:gd name="connsiteY21" fmla="*/ 5237614 h 5757591"/>
              <a:gd name="connsiteX22" fmla="*/ 4830420 w 8636594"/>
              <a:gd name="connsiteY22" fmla="*/ 5206458 h 5757591"/>
              <a:gd name="connsiteX23" fmla="*/ 4859516 w 8636594"/>
              <a:gd name="connsiteY23" fmla="*/ 5175087 h 5757591"/>
              <a:gd name="connsiteX24" fmla="*/ 4888347 w 8636594"/>
              <a:gd name="connsiteY24" fmla="*/ 5143504 h 5757591"/>
              <a:gd name="connsiteX25" fmla="*/ 4916919 w 8636594"/>
              <a:gd name="connsiteY25" fmla="*/ 5111713 h 5757591"/>
              <a:gd name="connsiteX26" fmla="*/ 4945238 w 8636594"/>
              <a:gd name="connsiteY26" fmla="*/ 5079717 h 5757591"/>
              <a:gd name="connsiteX27" fmla="*/ 4973311 w 8636594"/>
              <a:gd name="connsiteY27" fmla="*/ 5047519 h 5757591"/>
              <a:gd name="connsiteX28" fmla="*/ 5001145 w 8636594"/>
              <a:gd name="connsiteY28" fmla="*/ 5015124 h 5757591"/>
              <a:gd name="connsiteX29" fmla="*/ 5028745 w 8636594"/>
              <a:gd name="connsiteY29" fmla="*/ 4982535 h 5757591"/>
              <a:gd name="connsiteX30" fmla="*/ 5056117 w 8636594"/>
              <a:gd name="connsiteY30" fmla="*/ 4949755 h 5757591"/>
              <a:gd name="connsiteX31" fmla="*/ 5083269 w 8636594"/>
              <a:gd name="connsiteY31" fmla="*/ 4916787 h 5757591"/>
              <a:gd name="connsiteX32" fmla="*/ 5110207 w 8636594"/>
              <a:gd name="connsiteY32" fmla="*/ 4883636 h 5757591"/>
              <a:gd name="connsiteX33" fmla="*/ 5136937 w 8636594"/>
              <a:gd name="connsiteY33" fmla="*/ 4850305 h 5757591"/>
              <a:gd name="connsiteX34" fmla="*/ 5163464 w 8636594"/>
              <a:gd name="connsiteY34" fmla="*/ 4816797 h 5757591"/>
              <a:gd name="connsiteX35" fmla="*/ 5215940 w 8636594"/>
              <a:gd name="connsiteY35" fmla="*/ 4749265 h 5757591"/>
              <a:gd name="connsiteX36" fmla="*/ 5267684 w 8636594"/>
              <a:gd name="connsiteY36" fmla="*/ 4681068 h 5757591"/>
              <a:gd name="connsiteX37" fmla="*/ 5318748 w 8636594"/>
              <a:gd name="connsiteY37" fmla="*/ 4612234 h 5757591"/>
              <a:gd name="connsiteX38" fmla="*/ 5369182 w 8636594"/>
              <a:gd name="connsiteY38" fmla="*/ 4542793 h 5757591"/>
              <a:gd name="connsiteX39" fmla="*/ 5419038 w 8636594"/>
              <a:gd name="connsiteY39" fmla="*/ 4472771 h 5757591"/>
              <a:gd name="connsiteX40" fmla="*/ 5468365 w 8636594"/>
              <a:gd name="connsiteY40" fmla="*/ 4402196 h 5757591"/>
              <a:gd name="connsiteX41" fmla="*/ 5517215 w 8636594"/>
              <a:gd name="connsiteY41" fmla="*/ 4331098 h 5757591"/>
              <a:gd name="connsiteX42" fmla="*/ 5565637 w 8636594"/>
              <a:gd name="connsiteY42" fmla="*/ 4259503 h 5757591"/>
              <a:gd name="connsiteX43" fmla="*/ 5613684 w 8636594"/>
              <a:gd name="connsiteY43" fmla="*/ 4187441 h 5757591"/>
              <a:gd name="connsiteX44" fmla="*/ 5685160 w 8636594"/>
              <a:gd name="connsiteY44" fmla="*/ 4078531 h 5757591"/>
              <a:gd name="connsiteX45" fmla="*/ 5756074 w 8636594"/>
              <a:gd name="connsiteY45" fmla="*/ 3968727 h 5757591"/>
              <a:gd name="connsiteX46" fmla="*/ 5873483 w 8636594"/>
              <a:gd name="connsiteY46" fmla="*/ 3783989 h 5757591"/>
              <a:gd name="connsiteX47" fmla="*/ 6203209 w 8636594"/>
              <a:gd name="connsiteY47" fmla="*/ 3258640 h 5757591"/>
              <a:gd name="connsiteX48" fmla="*/ 6299430 w 8636594"/>
              <a:gd name="connsiteY48" fmla="*/ 3107321 h 5757591"/>
              <a:gd name="connsiteX49" fmla="*/ 6372650 w 8636594"/>
              <a:gd name="connsiteY49" fmla="*/ 2993735 h 5757591"/>
              <a:gd name="connsiteX50" fmla="*/ 6453197 w 8636594"/>
              <a:gd name="connsiteY50" fmla="*/ 2869788 h 5757591"/>
              <a:gd name="connsiteX51" fmla="*/ 6564167 w 8636594"/>
              <a:gd name="connsiteY51" fmla="*/ 2696807 h 5757591"/>
              <a:gd name="connsiteX52" fmla="*/ 6976233 w 8636594"/>
              <a:gd name="connsiteY52" fmla="*/ 2045274 h 5757591"/>
              <a:gd name="connsiteX53" fmla="*/ 7086755 w 8636594"/>
              <a:gd name="connsiteY53" fmla="*/ 1872743 h 5757591"/>
              <a:gd name="connsiteX54" fmla="*/ 7170279 w 8636594"/>
              <a:gd name="connsiteY54" fmla="*/ 1744202 h 5757591"/>
              <a:gd name="connsiteX55" fmla="*/ 7226351 w 8636594"/>
              <a:gd name="connsiteY55" fmla="*/ 1659017 h 5757591"/>
              <a:gd name="connsiteX56" fmla="*/ 7282789 w 8636594"/>
              <a:gd name="connsiteY56" fmla="*/ 1574303 h 5757591"/>
              <a:gd name="connsiteX57" fmla="*/ 7339643 w 8636594"/>
              <a:gd name="connsiteY57" fmla="*/ 1490113 h 5757591"/>
              <a:gd name="connsiteX58" fmla="*/ 7396957 w 8636594"/>
              <a:gd name="connsiteY58" fmla="*/ 1406503 h 5757591"/>
              <a:gd name="connsiteX59" fmla="*/ 7454781 w 8636594"/>
              <a:gd name="connsiteY59" fmla="*/ 1323526 h 5757591"/>
              <a:gd name="connsiteX60" fmla="*/ 7513161 w 8636594"/>
              <a:gd name="connsiteY60" fmla="*/ 1241237 h 5757591"/>
              <a:gd name="connsiteX61" fmla="*/ 7572144 w 8636594"/>
              <a:gd name="connsiteY61" fmla="*/ 1159689 h 5757591"/>
              <a:gd name="connsiteX62" fmla="*/ 7601877 w 8636594"/>
              <a:gd name="connsiteY62" fmla="*/ 1119210 h 5757591"/>
              <a:gd name="connsiteX63" fmla="*/ 7631779 w 8636594"/>
              <a:gd name="connsiteY63" fmla="*/ 1078937 h 5757591"/>
              <a:gd name="connsiteX64" fmla="*/ 7661855 w 8636594"/>
              <a:gd name="connsiteY64" fmla="*/ 1038876 h 5757591"/>
              <a:gd name="connsiteX65" fmla="*/ 7692111 w 8636594"/>
              <a:gd name="connsiteY65" fmla="*/ 999035 h 5757591"/>
              <a:gd name="connsiteX66" fmla="*/ 7722554 w 8636594"/>
              <a:gd name="connsiteY66" fmla="*/ 959419 h 5757591"/>
              <a:gd name="connsiteX67" fmla="*/ 7753190 w 8636594"/>
              <a:gd name="connsiteY67" fmla="*/ 920037 h 5757591"/>
              <a:gd name="connsiteX68" fmla="*/ 7784023 w 8636594"/>
              <a:gd name="connsiteY68" fmla="*/ 880894 h 5757591"/>
              <a:gd name="connsiteX69" fmla="*/ 7815061 w 8636594"/>
              <a:gd name="connsiteY69" fmla="*/ 841997 h 5757591"/>
              <a:gd name="connsiteX70" fmla="*/ 7846308 w 8636594"/>
              <a:gd name="connsiteY70" fmla="*/ 803354 h 5757591"/>
              <a:gd name="connsiteX71" fmla="*/ 7877772 w 8636594"/>
              <a:gd name="connsiteY71" fmla="*/ 764970 h 5757591"/>
              <a:gd name="connsiteX72" fmla="*/ 7909458 w 8636594"/>
              <a:gd name="connsiteY72" fmla="*/ 726853 h 5757591"/>
              <a:gd name="connsiteX73" fmla="*/ 7941371 w 8636594"/>
              <a:gd name="connsiteY73" fmla="*/ 689010 h 5757591"/>
              <a:gd name="connsiteX74" fmla="*/ 7973518 w 8636594"/>
              <a:gd name="connsiteY74" fmla="*/ 651447 h 5757591"/>
              <a:gd name="connsiteX75" fmla="*/ 8005905 w 8636594"/>
              <a:gd name="connsiteY75" fmla="*/ 614171 h 5757591"/>
              <a:gd name="connsiteX76" fmla="*/ 8038538 w 8636594"/>
              <a:gd name="connsiteY76" fmla="*/ 577189 h 5757591"/>
              <a:gd name="connsiteX77" fmla="*/ 8071421 w 8636594"/>
              <a:gd name="connsiteY77" fmla="*/ 540507 h 5757591"/>
              <a:gd name="connsiteX78" fmla="*/ 8104563 w 8636594"/>
              <a:gd name="connsiteY78" fmla="*/ 504132 h 5757591"/>
              <a:gd name="connsiteX79" fmla="*/ 8137967 w 8636594"/>
              <a:gd name="connsiteY79" fmla="*/ 468072 h 5757591"/>
              <a:gd name="connsiteX80" fmla="*/ 8171641 w 8636594"/>
              <a:gd name="connsiteY80" fmla="*/ 432332 h 5757591"/>
              <a:gd name="connsiteX81" fmla="*/ 8205590 w 8636594"/>
              <a:gd name="connsiteY81" fmla="*/ 396920 h 5757591"/>
              <a:gd name="connsiteX82" fmla="*/ 8239820 w 8636594"/>
              <a:gd name="connsiteY82" fmla="*/ 361843 h 5757591"/>
              <a:gd name="connsiteX83" fmla="*/ 8274337 w 8636594"/>
              <a:gd name="connsiteY83" fmla="*/ 327107 h 5757591"/>
              <a:gd name="connsiteX84" fmla="*/ 8309147 w 8636594"/>
              <a:gd name="connsiteY84" fmla="*/ 292718 h 5757591"/>
              <a:gd name="connsiteX85" fmla="*/ 8344256 w 8636594"/>
              <a:gd name="connsiteY85" fmla="*/ 258685 h 5757591"/>
              <a:gd name="connsiteX86" fmla="*/ 8379669 w 8636594"/>
              <a:gd name="connsiteY86" fmla="*/ 225013 h 5757591"/>
              <a:gd name="connsiteX87" fmla="*/ 8415394 w 8636594"/>
              <a:gd name="connsiteY87" fmla="*/ 191709 h 5757591"/>
              <a:gd name="connsiteX88" fmla="*/ 8451434 w 8636594"/>
              <a:gd name="connsiteY88" fmla="*/ 158780 h 5757591"/>
              <a:gd name="connsiteX89" fmla="*/ 8487798 w 8636594"/>
              <a:gd name="connsiteY89" fmla="*/ 126233 h 5757591"/>
              <a:gd name="connsiteX90" fmla="*/ 8524489 w 8636594"/>
              <a:gd name="connsiteY90" fmla="*/ 94075 h 5757591"/>
              <a:gd name="connsiteX91" fmla="*/ 8561515 w 8636594"/>
              <a:gd name="connsiteY91" fmla="*/ 62312 h 5757591"/>
              <a:gd name="connsiteX92" fmla="*/ 8598881 w 8636594"/>
              <a:gd name="connsiteY92" fmla="*/ 30951 h 5757591"/>
              <a:gd name="connsiteX93" fmla="*/ 8636594 w 8636594"/>
              <a:gd name="connsiteY93" fmla="*/ 0 h 5757591"/>
              <a:gd name="connsiteX0" fmla="*/ 8636594 w 8636594"/>
              <a:gd name="connsiteY0" fmla="*/ 0 h 5730912"/>
              <a:gd name="connsiteX1" fmla="*/ 5293 w 8636594"/>
              <a:gd name="connsiteY1" fmla="*/ 0 h 5730912"/>
              <a:gd name="connsiteX2" fmla="*/ 0 w 8636594"/>
              <a:gd name="connsiteY2" fmla="*/ 5587843 h 5730912"/>
              <a:gd name="connsiteX3" fmla="*/ 4254129 w 8636594"/>
              <a:gd name="connsiteY3" fmla="*/ 5730912 h 5730912"/>
              <a:gd name="connsiteX4" fmla="*/ 4289081 w 8636594"/>
              <a:gd name="connsiteY4" fmla="*/ 5703955 h 5730912"/>
              <a:gd name="connsiteX5" fmla="*/ 4323654 w 8636594"/>
              <a:gd name="connsiteY5" fmla="*/ 5676722 h 5730912"/>
              <a:gd name="connsiteX6" fmla="*/ 4357854 w 8636594"/>
              <a:gd name="connsiteY6" fmla="*/ 5649218 h 5730912"/>
              <a:gd name="connsiteX7" fmla="*/ 4391688 w 8636594"/>
              <a:gd name="connsiteY7" fmla="*/ 5621446 h 5730912"/>
              <a:gd name="connsiteX8" fmla="*/ 4425162 w 8636594"/>
              <a:gd name="connsiteY8" fmla="*/ 5593409 h 5730912"/>
              <a:gd name="connsiteX9" fmla="*/ 4458281 w 8636594"/>
              <a:gd name="connsiteY9" fmla="*/ 5565111 h 5730912"/>
              <a:gd name="connsiteX10" fmla="*/ 4491053 w 8636594"/>
              <a:gd name="connsiteY10" fmla="*/ 5536556 h 5730912"/>
              <a:gd name="connsiteX11" fmla="*/ 4523484 w 8636594"/>
              <a:gd name="connsiteY11" fmla="*/ 5507747 h 5730912"/>
              <a:gd name="connsiteX12" fmla="*/ 4555580 w 8636594"/>
              <a:gd name="connsiteY12" fmla="*/ 5478687 h 5730912"/>
              <a:gd name="connsiteX13" fmla="*/ 4587347 w 8636594"/>
              <a:gd name="connsiteY13" fmla="*/ 5449380 h 5730912"/>
              <a:gd name="connsiteX14" fmla="*/ 4618793 w 8636594"/>
              <a:gd name="connsiteY14" fmla="*/ 5419830 h 5730912"/>
              <a:gd name="connsiteX15" fmla="*/ 4649922 w 8636594"/>
              <a:gd name="connsiteY15" fmla="*/ 5390040 h 5730912"/>
              <a:gd name="connsiteX16" fmla="*/ 4680742 w 8636594"/>
              <a:gd name="connsiteY16" fmla="*/ 5360014 h 5730912"/>
              <a:gd name="connsiteX17" fmla="*/ 4711259 w 8636594"/>
              <a:gd name="connsiteY17" fmla="*/ 5329755 h 5730912"/>
              <a:gd name="connsiteX18" fmla="*/ 4741478 w 8636594"/>
              <a:gd name="connsiteY18" fmla="*/ 5299266 h 5730912"/>
              <a:gd name="connsiteX19" fmla="*/ 4771408 w 8636594"/>
              <a:gd name="connsiteY19" fmla="*/ 5268551 h 5730912"/>
              <a:gd name="connsiteX20" fmla="*/ 4801053 w 8636594"/>
              <a:gd name="connsiteY20" fmla="*/ 5237614 h 5730912"/>
              <a:gd name="connsiteX21" fmla="*/ 4830420 w 8636594"/>
              <a:gd name="connsiteY21" fmla="*/ 5206458 h 5730912"/>
              <a:gd name="connsiteX22" fmla="*/ 4859516 w 8636594"/>
              <a:gd name="connsiteY22" fmla="*/ 5175087 h 5730912"/>
              <a:gd name="connsiteX23" fmla="*/ 4888347 w 8636594"/>
              <a:gd name="connsiteY23" fmla="*/ 5143504 h 5730912"/>
              <a:gd name="connsiteX24" fmla="*/ 4916919 w 8636594"/>
              <a:gd name="connsiteY24" fmla="*/ 5111713 h 5730912"/>
              <a:gd name="connsiteX25" fmla="*/ 4945238 w 8636594"/>
              <a:gd name="connsiteY25" fmla="*/ 5079717 h 5730912"/>
              <a:gd name="connsiteX26" fmla="*/ 4973311 w 8636594"/>
              <a:gd name="connsiteY26" fmla="*/ 5047519 h 5730912"/>
              <a:gd name="connsiteX27" fmla="*/ 5001145 w 8636594"/>
              <a:gd name="connsiteY27" fmla="*/ 5015124 h 5730912"/>
              <a:gd name="connsiteX28" fmla="*/ 5028745 w 8636594"/>
              <a:gd name="connsiteY28" fmla="*/ 4982535 h 5730912"/>
              <a:gd name="connsiteX29" fmla="*/ 5056117 w 8636594"/>
              <a:gd name="connsiteY29" fmla="*/ 4949755 h 5730912"/>
              <a:gd name="connsiteX30" fmla="*/ 5083269 w 8636594"/>
              <a:gd name="connsiteY30" fmla="*/ 4916787 h 5730912"/>
              <a:gd name="connsiteX31" fmla="*/ 5110207 w 8636594"/>
              <a:gd name="connsiteY31" fmla="*/ 4883636 h 5730912"/>
              <a:gd name="connsiteX32" fmla="*/ 5136937 w 8636594"/>
              <a:gd name="connsiteY32" fmla="*/ 4850305 h 5730912"/>
              <a:gd name="connsiteX33" fmla="*/ 5163464 w 8636594"/>
              <a:gd name="connsiteY33" fmla="*/ 4816797 h 5730912"/>
              <a:gd name="connsiteX34" fmla="*/ 5215940 w 8636594"/>
              <a:gd name="connsiteY34" fmla="*/ 4749265 h 5730912"/>
              <a:gd name="connsiteX35" fmla="*/ 5267684 w 8636594"/>
              <a:gd name="connsiteY35" fmla="*/ 4681068 h 5730912"/>
              <a:gd name="connsiteX36" fmla="*/ 5318748 w 8636594"/>
              <a:gd name="connsiteY36" fmla="*/ 4612234 h 5730912"/>
              <a:gd name="connsiteX37" fmla="*/ 5369182 w 8636594"/>
              <a:gd name="connsiteY37" fmla="*/ 4542793 h 5730912"/>
              <a:gd name="connsiteX38" fmla="*/ 5419038 w 8636594"/>
              <a:gd name="connsiteY38" fmla="*/ 4472771 h 5730912"/>
              <a:gd name="connsiteX39" fmla="*/ 5468365 w 8636594"/>
              <a:gd name="connsiteY39" fmla="*/ 4402196 h 5730912"/>
              <a:gd name="connsiteX40" fmla="*/ 5517215 w 8636594"/>
              <a:gd name="connsiteY40" fmla="*/ 4331098 h 5730912"/>
              <a:gd name="connsiteX41" fmla="*/ 5565637 w 8636594"/>
              <a:gd name="connsiteY41" fmla="*/ 4259503 h 5730912"/>
              <a:gd name="connsiteX42" fmla="*/ 5613684 w 8636594"/>
              <a:gd name="connsiteY42" fmla="*/ 4187441 h 5730912"/>
              <a:gd name="connsiteX43" fmla="*/ 5685160 w 8636594"/>
              <a:gd name="connsiteY43" fmla="*/ 4078531 h 5730912"/>
              <a:gd name="connsiteX44" fmla="*/ 5756074 w 8636594"/>
              <a:gd name="connsiteY44" fmla="*/ 3968727 h 5730912"/>
              <a:gd name="connsiteX45" fmla="*/ 5873483 w 8636594"/>
              <a:gd name="connsiteY45" fmla="*/ 3783989 h 5730912"/>
              <a:gd name="connsiteX46" fmla="*/ 6203209 w 8636594"/>
              <a:gd name="connsiteY46" fmla="*/ 3258640 h 5730912"/>
              <a:gd name="connsiteX47" fmla="*/ 6299430 w 8636594"/>
              <a:gd name="connsiteY47" fmla="*/ 3107321 h 5730912"/>
              <a:gd name="connsiteX48" fmla="*/ 6372650 w 8636594"/>
              <a:gd name="connsiteY48" fmla="*/ 2993735 h 5730912"/>
              <a:gd name="connsiteX49" fmla="*/ 6453197 w 8636594"/>
              <a:gd name="connsiteY49" fmla="*/ 2869788 h 5730912"/>
              <a:gd name="connsiteX50" fmla="*/ 6564167 w 8636594"/>
              <a:gd name="connsiteY50" fmla="*/ 2696807 h 5730912"/>
              <a:gd name="connsiteX51" fmla="*/ 6976233 w 8636594"/>
              <a:gd name="connsiteY51" fmla="*/ 2045274 h 5730912"/>
              <a:gd name="connsiteX52" fmla="*/ 7086755 w 8636594"/>
              <a:gd name="connsiteY52" fmla="*/ 1872743 h 5730912"/>
              <a:gd name="connsiteX53" fmla="*/ 7170279 w 8636594"/>
              <a:gd name="connsiteY53" fmla="*/ 1744202 h 5730912"/>
              <a:gd name="connsiteX54" fmla="*/ 7226351 w 8636594"/>
              <a:gd name="connsiteY54" fmla="*/ 1659017 h 5730912"/>
              <a:gd name="connsiteX55" fmla="*/ 7282789 w 8636594"/>
              <a:gd name="connsiteY55" fmla="*/ 1574303 h 5730912"/>
              <a:gd name="connsiteX56" fmla="*/ 7339643 w 8636594"/>
              <a:gd name="connsiteY56" fmla="*/ 1490113 h 5730912"/>
              <a:gd name="connsiteX57" fmla="*/ 7396957 w 8636594"/>
              <a:gd name="connsiteY57" fmla="*/ 1406503 h 5730912"/>
              <a:gd name="connsiteX58" fmla="*/ 7454781 w 8636594"/>
              <a:gd name="connsiteY58" fmla="*/ 1323526 h 5730912"/>
              <a:gd name="connsiteX59" fmla="*/ 7513161 w 8636594"/>
              <a:gd name="connsiteY59" fmla="*/ 1241237 h 5730912"/>
              <a:gd name="connsiteX60" fmla="*/ 7572144 w 8636594"/>
              <a:gd name="connsiteY60" fmla="*/ 1159689 h 5730912"/>
              <a:gd name="connsiteX61" fmla="*/ 7601877 w 8636594"/>
              <a:gd name="connsiteY61" fmla="*/ 1119210 h 5730912"/>
              <a:gd name="connsiteX62" fmla="*/ 7631779 w 8636594"/>
              <a:gd name="connsiteY62" fmla="*/ 1078937 h 5730912"/>
              <a:gd name="connsiteX63" fmla="*/ 7661855 w 8636594"/>
              <a:gd name="connsiteY63" fmla="*/ 1038876 h 5730912"/>
              <a:gd name="connsiteX64" fmla="*/ 7692111 w 8636594"/>
              <a:gd name="connsiteY64" fmla="*/ 999035 h 5730912"/>
              <a:gd name="connsiteX65" fmla="*/ 7722554 w 8636594"/>
              <a:gd name="connsiteY65" fmla="*/ 959419 h 5730912"/>
              <a:gd name="connsiteX66" fmla="*/ 7753190 w 8636594"/>
              <a:gd name="connsiteY66" fmla="*/ 920037 h 5730912"/>
              <a:gd name="connsiteX67" fmla="*/ 7784023 w 8636594"/>
              <a:gd name="connsiteY67" fmla="*/ 880894 h 5730912"/>
              <a:gd name="connsiteX68" fmla="*/ 7815061 w 8636594"/>
              <a:gd name="connsiteY68" fmla="*/ 841997 h 5730912"/>
              <a:gd name="connsiteX69" fmla="*/ 7846308 w 8636594"/>
              <a:gd name="connsiteY69" fmla="*/ 803354 h 5730912"/>
              <a:gd name="connsiteX70" fmla="*/ 7877772 w 8636594"/>
              <a:gd name="connsiteY70" fmla="*/ 764970 h 5730912"/>
              <a:gd name="connsiteX71" fmla="*/ 7909458 w 8636594"/>
              <a:gd name="connsiteY71" fmla="*/ 726853 h 5730912"/>
              <a:gd name="connsiteX72" fmla="*/ 7941371 w 8636594"/>
              <a:gd name="connsiteY72" fmla="*/ 689010 h 5730912"/>
              <a:gd name="connsiteX73" fmla="*/ 7973518 w 8636594"/>
              <a:gd name="connsiteY73" fmla="*/ 651447 h 5730912"/>
              <a:gd name="connsiteX74" fmla="*/ 8005905 w 8636594"/>
              <a:gd name="connsiteY74" fmla="*/ 614171 h 5730912"/>
              <a:gd name="connsiteX75" fmla="*/ 8038538 w 8636594"/>
              <a:gd name="connsiteY75" fmla="*/ 577189 h 5730912"/>
              <a:gd name="connsiteX76" fmla="*/ 8071421 w 8636594"/>
              <a:gd name="connsiteY76" fmla="*/ 540507 h 5730912"/>
              <a:gd name="connsiteX77" fmla="*/ 8104563 w 8636594"/>
              <a:gd name="connsiteY77" fmla="*/ 504132 h 5730912"/>
              <a:gd name="connsiteX78" fmla="*/ 8137967 w 8636594"/>
              <a:gd name="connsiteY78" fmla="*/ 468072 h 5730912"/>
              <a:gd name="connsiteX79" fmla="*/ 8171641 w 8636594"/>
              <a:gd name="connsiteY79" fmla="*/ 432332 h 5730912"/>
              <a:gd name="connsiteX80" fmla="*/ 8205590 w 8636594"/>
              <a:gd name="connsiteY80" fmla="*/ 396920 h 5730912"/>
              <a:gd name="connsiteX81" fmla="*/ 8239820 w 8636594"/>
              <a:gd name="connsiteY81" fmla="*/ 361843 h 5730912"/>
              <a:gd name="connsiteX82" fmla="*/ 8274337 w 8636594"/>
              <a:gd name="connsiteY82" fmla="*/ 327107 h 5730912"/>
              <a:gd name="connsiteX83" fmla="*/ 8309147 w 8636594"/>
              <a:gd name="connsiteY83" fmla="*/ 292718 h 5730912"/>
              <a:gd name="connsiteX84" fmla="*/ 8344256 w 8636594"/>
              <a:gd name="connsiteY84" fmla="*/ 258685 h 5730912"/>
              <a:gd name="connsiteX85" fmla="*/ 8379669 w 8636594"/>
              <a:gd name="connsiteY85" fmla="*/ 225013 h 5730912"/>
              <a:gd name="connsiteX86" fmla="*/ 8415394 w 8636594"/>
              <a:gd name="connsiteY86" fmla="*/ 191709 h 5730912"/>
              <a:gd name="connsiteX87" fmla="*/ 8451434 w 8636594"/>
              <a:gd name="connsiteY87" fmla="*/ 158780 h 5730912"/>
              <a:gd name="connsiteX88" fmla="*/ 8487798 w 8636594"/>
              <a:gd name="connsiteY88" fmla="*/ 126233 h 5730912"/>
              <a:gd name="connsiteX89" fmla="*/ 8524489 w 8636594"/>
              <a:gd name="connsiteY89" fmla="*/ 94075 h 5730912"/>
              <a:gd name="connsiteX90" fmla="*/ 8561515 w 8636594"/>
              <a:gd name="connsiteY90" fmla="*/ 62312 h 5730912"/>
              <a:gd name="connsiteX91" fmla="*/ 8598881 w 8636594"/>
              <a:gd name="connsiteY91" fmla="*/ 30951 h 5730912"/>
              <a:gd name="connsiteX92" fmla="*/ 8636594 w 8636594"/>
              <a:gd name="connsiteY92" fmla="*/ 0 h 5730912"/>
              <a:gd name="connsiteX0" fmla="*/ 8636594 w 8636594"/>
              <a:gd name="connsiteY0" fmla="*/ 0 h 5703955"/>
              <a:gd name="connsiteX1" fmla="*/ 5293 w 8636594"/>
              <a:gd name="connsiteY1" fmla="*/ 0 h 5703955"/>
              <a:gd name="connsiteX2" fmla="*/ 0 w 8636594"/>
              <a:gd name="connsiteY2" fmla="*/ 5587843 h 5703955"/>
              <a:gd name="connsiteX3" fmla="*/ 4289081 w 8636594"/>
              <a:gd name="connsiteY3" fmla="*/ 5703955 h 5703955"/>
              <a:gd name="connsiteX4" fmla="*/ 4323654 w 8636594"/>
              <a:gd name="connsiteY4" fmla="*/ 5676722 h 5703955"/>
              <a:gd name="connsiteX5" fmla="*/ 4357854 w 8636594"/>
              <a:gd name="connsiteY5" fmla="*/ 5649218 h 5703955"/>
              <a:gd name="connsiteX6" fmla="*/ 4391688 w 8636594"/>
              <a:gd name="connsiteY6" fmla="*/ 5621446 h 5703955"/>
              <a:gd name="connsiteX7" fmla="*/ 4425162 w 8636594"/>
              <a:gd name="connsiteY7" fmla="*/ 5593409 h 5703955"/>
              <a:gd name="connsiteX8" fmla="*/ 4458281 w 8636594"/>
              <a:gd name="connsiteY8" fmla="*/ 5565111 h 5703955"/>
              <a:gd name="connsiteX9" fmla="*/ 4491053 w 8636594"/>
              <a:gd name="connsiteY9" fmla="*/ 5536556 h 5703955"/>
              <a:gd name="connsiteX10" fmla="*/ 4523484 w 8636594"/>
              <a:gd name="connsiteY10" fmla="*/ 5507747 h 5703955"/>
              <a:gd name="connsiteX11" fmla="*/ 4555580 w 8636594"/>
              <a:gd name="connsiteY11" fmla="*/ 5478687 h 5703955"/>
              <a:gd name="connsiteX12" fmla="*/ 4587347 w 8636594"/>
              <a:gd name="connsiteY12" fmla="*/ 5449380 h 5703955"/>
              <a:gd name="connsiteX13" fmla="*/ 4618793 w 8636594"/>
              <a:gd name="connsiteY13" fmla="*/ 5419830 h 5703955"/>
              <a:gd name="connsiteX14" fmla="*/ 4649922 w 8636594"/>
              <a:gd name="connsiteY14" fmla="*/ 5390040 h 5703955"/>
              <a:gd name="connsiteX15" fmla="*/ 4680742 w 8636594"/>
              <a:gd name="connsiteY15" fmla="*/ 5360014 h 5703955"/>
              <a:gd name="connsiteX16" fmla="*/ 4711259 w 8636594"/>
              <a:gd name="connsiteY16" fmla="*/ 5329755 h 5703955"/>
              <a:gd name="connsiteX17" fmla="*/ 4741478 w 8636594"/>
              <a:gd name="connsiteY17" fmla="*/ 5299266 h 5703955"/>
              <a:gd name="connsiteX18" fmla="*/ 4771408 w 8636594"/>
              <a:gd name="connsiteY18" fmla="*/ 5268551 h 5703955"/>
              <a:gd name="connsiteX19" fmla="*/ 4801053 w 8636594"/>
              <a:gd name="connsiteY19" fmla="*/ 5237614 h 5703955"/>
              <a:gd name="connsiteX20" fmla="*/ 4830420 w 8636594"/>
              <a:gd name="connsiteY20" fmla="*/ 5206458 h 5703955"/>
              <a:gd name="connsiteX21" fmla="*/ 4859516 w 8636594"/>
              <a:gd name="connsiteY21" fmla="*/ 5175087 h 5703955"/>
              <a:gd name="connsiteX22" fmla="*/ 4888347 w 8636594"/>
              <a:gd name="connsiteY22" fmla="*/ 5143504 h 5703955"/>
              <a:gd name="connsiteX23" fmla="*/ 4916919 w 8636594"/>
              <a:gd name="connsiteY23" fmla="*/ 5111713 h 5703955"/>
              <a:gd name="connsiteX24" fmla="*/ 4945238 w 8636594"/>
              <a:gd name="connsiteY24" fmla="*/ 5079717 h 5703955"/>
              <a:gd name="connsiteX25" fmla="*/ 4973311 w 8636594"/>
              <a:gd name="connsiteY25" fmla="*/ 5047519 h 5703955"/>
              <a:gd name="connsiteX26" fmla="*/ 5001145 w 8636594"/>
              <a:gd name="connsiteY26" fmla="*/ 5015124 h 5703955"/>
              <a:gd name="connsiteX27" fmla="*/ 5028745 w 8636594"/>
              <a:gd name="connsiteY27" fmla="*/ 4982535 h 5703955"/>
              <a:gd name="connsiteX28" fmla="*/ 5056117 w 8636594"/>
              <a:gd name="connsiteY28" fmla="*/ 4949755 h 5703955"/>
              <a:gd name="connsiteX29" fmla="*/ 5083269 w 8636594"/>
              <a:gd name="connsiteY29" fmla="*/ 4916787 h 5703955"/>
              <a:gd name="connsiteX30" fmla="*/ 5110207 w 8636594"/>
              <a:gd name="connsiteY30" fmla="*/ 4883636 h 5703955"/>
              <a:gd name="connsiteX31" fmla="*/ 5136937 w 8636594"/>
              <a:gd name="connsiteY31" fmla="*/ 4850305 h 5703955"/>
              <a:gd name="connsiteX32" fmla="*/ 5163464 w 8636594"/>
              <a:gd name="connsiteY32" fmla="*/ 4816797 h 5703955"/>
              <a:gd name="connsiteX33" fmla="*/ 5215940 w 8636594"/>
              <a:gd name="connsiteY33" fmla="*/ 4749265 h 5703955"/>
              <a:gd name="connsiteX34" fmla="*/ 5267684 w 8636594"/>
              <a:gd name="connsiteY34" fmla="*/ 4681068 h 5703955"/>
              <a:gd name="connsiteX35" fmla="*/ 5318748 w 8636594"/>
              <a:gd name="connsiteY35" fmla="*/ 4612234 h 5703955"/>
              <a:gd name="connsiteX36" fmla="*/ 5369182 w 8636594"/>
              <a:gd name="connsiteY36" fmla="*/ 4542793 h 5703955"/>
              <a:gd name="connsiteX37" fmla="*/ 5419038 w 8636594"/>
              <a:gd name="connsiteY37" fmla="*/ 4472771 h 5703955"/>
              <a:gd name="connsiteX38" fmla="*/ 5468365 w 8636594"/>
              <a:gd name="connsiteY38" fmla="*/ 4402196 h 5703955"/>
              <a:gd name="connsiteX39" fmla="*/ 5517215 w 8636594"/>
              <a:gd name="connsiteY39" fmla="*/ 4331098 h 5703955"/>
              <a:gd name="connsiteX40" fmla="*/ 5565637 w 8636594"/>
              <a:gd name="connsiteY40" fmla="*/ 4259503 h 5703955"/>
              <a:gd name="connsiteX41" fmla="*/ 5613684 w 8636594"/>
              <a:gd name="connsiteY41" fmla="*/ 4187441 h 5703955"/>
              <a:gd name="connsiteX42" fmla="*/ 5685160 w 8636594"/>
              <a:gd name="connsiteY42" fmla="*/ 4078531 h 5703955"/>
              <a:gd name="connsiteX43" fmla="*/ 5756074 w 8636594"/>
              <a:gd name="connsiteY43" fmla="*/ 3968727 h 5703955"/>
              <a:gd name="connsiteX44" fmla="*/ 5873483 w 8636594"/>
              <a:gd name="connsiteY44" fmla="*/ 3783989 h 5703955"/>
              <a:gd name="connsiteX45" fmla="*/ 6203209 w 8636594"/>
              <a:gd name="connsiteY45" fmla="*/ 3258640 h 5703955"/>
              <a:gd name="connsiteX46" fmla="*/ 6299430 w 8636594"/>
              <a:gd name="connsiteY46" fmla="*/ 3107321 h 5703955"/>
              <a:gd name="connsiteX47" fmla="*/ 6372650 w 8636594"/>
              <a:gd name="connsiteY47" fmla="*/ 2993735 h 5703955"/>
              <a:gd name="connsiteX48" fmla="*/ 6453197 w 8636594"/>
              <a:gd name="connsiteY48" fmla="*/ 2869788 h 5703955"/>
              <a:gd name="connsiteX49" fmla="*/ 6564167 w 8636594"/>
              <a:gd name="connsiteY49" fmla="*/ 2696807 h 5703955"/>
              <a:gd name="connsiteX50" fmla="*/ 6976233 w 8636594"/>
              <a:gd name="connsiteY50" fmla="*/ 2045274 h 5703955"/>
              <a:gd name="connsiteX51" fmla="*/ 7086755 w 8636594"/>
              <a:gd name="connsiteY51" fmla="*/ 1872743 h 5703955"/>
              <a:gd name="connsiteX52" fmla="*/ 7170279 w 8636594"/>
              <a:gd name="connsiteY52" fmla="*/ 1744202 h 5703955"/>
              <a:gd name="connsiteX53" fmla="*/ 7226351 w 8636594"/>
              <a:gd name="connsiteY53" fmla="*/ 1659017 h 5703955"/>
              <a:gd name="connsiteX54" fmla="*/ 7282789 w 8636594"/>
              <a:gd name="connsiteY54" fmla="*/ 1574303 h 5703955"/>
              <a:gd name="connsiteX55" fmla="*/ 7339643 w 8636594"/>
              <a:gd name="connsiteY55" fmla="*/ 1490113 h 5703955"/>
              <a:gd name="connsiteX56" fmla="*/ 7396957 w 8636594"/>
              <a:gd name="connsiteY56" fmla="*/ 1406503 h 5703955"/>
              <a:gd name="connsiteX57" fmla="*/ 7454781 w 8636594"/>
              <a:gd name="connsiteY57" fmla="*/ 1323526 h 5703955"/>
              <a:gd name="connsiteX58" fmla="*/ 7513161 w 8636594"/>
              <a:gd name="connsiteY58" fmla="*/ 1241237 h 5703955"/>
              <a:gd name="connsiteX59" fmla="*/ 7572144 w 8636594"/>
              <a:gd name="connsiteY59" fmla="*/ 1159689 h 5703955"/>
              <a:gd name="connsiteX60" fmla="*/ 7601877 w 8636594"/>
              <a:gd name="connsiteY60" fmla="*/ 1119210 h 5703955"/>
              <a:gd name="connsiteX61" fmla="*/ 7631779 w 8636594"/>
              <a:gd name="connsiteY61" fmla="*/ 1078937 h 5703955"/>
              <a:gd name="connsiteX62" fmla="*/ 7661855 w 8636594"/>
              <a:gd name="connsiteY62" fmla="*/ 1038876 h 5703955"/>
              <a:gd name="connsiteX63" fmla="*/ 7692111 w 8636594"/>
              <a:gd name="connsiteY63" fmla="*/ 999035 h 5703955"/>
              <a:gd name="connsiteX64" fmla="*/ 7722554 w 8636594"/>
              <a:gd name="connsiteY64" fmla="*/ 959419 h 5703955"/>
              <a:gd name="connsiteX65" fmla="*/ 7753190 w 8636594"/>
              <a:gd name="connsiteY65" fmla="*/ 920037 h 5703955"/>
              <a:gd name="connsiteX66" fmla="*/ 7784023 w 8636594"/>
              <a:gd name="connsiteY66" fmla="*/ 880894 h 5703955"/>
              <a:gd name="connsiteX67" fmla="*/ 7815061 w 8636594"/>
              <a:gd name="connsiteY67" fmla="*/ 841997 h 5703955"/>
              <a:gd name="connsiteX68" fmla="*/ 7846308 w 8636594"/>
              <a:gd name="connsiteY68" fmla="*/ 803354 h 5703955"/>
              <a:gd name="connsiteX69" fmla="*/ 7877772 w 8636594"/>
              <a:gd name="connsiteY69" fmla="*/ 764970 h 5703955"/>
              <a:gd name="connsiteX70" fmla="*/ 7909458 w 8636594"/>
              <a:gd name="connsiteY70" fmla="*/ 726853 h 5703955"/>
              <a:gd name="connsiteX71" fmla="*/ 7941371 w 8636594"/>
              <a:gd name="connsiteY71" fmla="*/ 689010 h 5703955"/>
              <a:gd name="connsiteX72" fmla="*/ 7973518 w 8636594"/>
              <a:gd name="connsiteY72" fmla="*/ 651447 h 5703955"/>
              <a:gd name="connsiteX73" fmla="*/ 8005905 w 8636594"/>
              <a:gd name="connsiteY73" fmla="*/ 614171 h 5703955"/>
              <a:gd name="connsiteX74" fmla="*/ 8038538 w 8636594"/>
              <a:gd name="connsiteY74" fmla="*/ 577189 h 5703955"/>
              <a:gd name="connsiteX75" fmla="*/ 8071421 w 8636594"/>
              <a:gd name="connsiteY75" fmla="*/ 540507 h 5703955"/>
              <a:gd name="connsiteX76" fmla="*/ 8104563 w 8636594"/>
              <a:gd name="connsiteY76" fmla="*/ 504132 h 5703955"/>
              <a:gd name="connsiteX77" fmla="*/ 8137967 w 8636594"/>
              <a:gd name="connsiteY77" fmla="*/ 468072 h 5703955"/>
              <a:gd name="connsiteX78" fmla="*/ 8171641 w 8636594"/>
              <a:gd name="connsiteY78" fmla="*/ 432332 h 5703955"/>
              <a:gd name="connsiteX79" fmla="*/ 8205590 w 8636594"/>
              <a:gd name="connsiteY79" fmla="*/ 396920 h 5703955"/>
              <a:gd name="connsiteX80" fmla="*/ 8239820 w 8636594"/>
              <a:gd name="connsiteY80" fmla="*/ 361843 h 5703955"/>
              <a:gd name="connsiteX81" fmla="*/ 8274337 w 8636594"/>
              <a:gd name="connsiteY81" fmla="*/ 327107 h 5703955"/>
              <a:gd name="connsiteX82" fmla="*/ 8309147 w 8636594"/>
              <a:gd name="connsiteY82" fmla="*/ 292718 h 5703955"/>
              <a:gd name="connsiteX83" fmla="*/ 8344256 w 8636594"/>
              <a:gd name="connsiteY83" fmla="*/ 258685 h 5703955"/>
              <a:gd name="connsiteX84" fmla="*/ 8379669 w 8636594"/>
              <a:gd name="connsiteY84" fmla="*/ 225013 h 5703955"/>
              <a:gd name="connsiteX85" fmla="*/ 8415394 w 8636594"/>
              <a:gd name="connsiteY85" fmla="*/ 191709 h 5703955"/>
              <a:gd name="connsiteX86" fmla="*/ 8451434 w 8636594"/>
              <a:gd name="connsiteY86" fmla="*/ 158780 h 5703955"/>
              <a:gd name="connsiteX87" fmla="*/ 8487798 w 8636594"/>
              <a:gd name="connsiteY87" fmla="*/ 126233 h 5703955"/>
              <a:gd name="connsiteX88" fmla="*/ 8524489 w 8636594"/>
              <a:gd name="connsiteY88" fmla="*/ 94075 h 5703955"/>
              <a:gd name="connsiteX89" fmla="*/ 8561515 w 8636594"/>
              <a:gd name="connsiteY89" fmla="*/ 62312 h 5703955"/>
              <a:gd name="connsiteX90" fmla="*/ 8598881 w 8636594"/>
              <a:gd name="connsiteY90" fmla="*/ 30951 h 5703955"/>
              <a:gd name="connsiteX91" fmla="*/ 8636594 w 8636594"/>
              <a:gd name="connsiteY91" fmla="*/ 0 h 5703955"/>
              <a:gd name="connsiteX0" fmla="*/ 8636594 w 8636594"/>
              <a:gd name="connsiteY0" fmla="*/ 0 h 5676722"/>
              <a:gd name="connsiteX1" fmla="*/ 5293 w 8636594"/>
              <a:gd name="connsiteY1" fmla="*/ 0 h 5676722"/>
              <a:gd name="connsiteX2" fmla="*/ 0 w 8636594"/>
              <a:gd name="connsiteY2" fmla="*/ 5587843 h 5676722"/>
              <a:gd name="connsiteX3" fmla="*/ 4323654 w 8636594"/>
              <a:gd name="connsiteY3" fmla="*/ 5676722 h 5676722"/>
              <a:gd name="connsiteX4" fmla="*/ 4357854 w 8636594"/>
              <a:gd name="connsiteY4" fmla="*/ 5649218 h 5676722"/>
              <a:gd name="connsiteX5" fmla="*/ 4391688 w 8636594"/>
              <a:gd name="connsiteY5" fmla="*/ 5621446 h 5676722"/>
              <a:gd name="connsiteX6" fmla="*/ 4425162 w 8636594"/>
              <a:gd name="connsiteY6" fmla="*/ 5593409 h 5676722"/>
              <a:gd name="connsiteX7" fmla="*/ 4458281 w 8636594"/>
              <a:gd name="connsiteY7" fmla="*/ 5565111 h 5676722"/>
              <a:gd name="connsiteX8" fmla="*/ 4491053 w 8636594"/>
              <a:gd name="connsiteY8" fmla="*/ 5536556 h 5676722"/>
              <a:gd name="connsiteX9" fmla="*/ 4523484 w 8636594"/>
              <a:gd name="connsiteY9" fmla="*/ 5507747 h 5676722"/>
              <a:gd name="connsiteX10" fmla="*/ 4555580 w 8636594"/>
              <a:gd name="connsiteY10" fmla="*/ 5478687 h 5676722"/>
              <a:gd name="connsiteX11" fmla="*/ 4587347 w 8636594"/>
              <a:gd name="connsiteY11" fmla="*/ 5449380 h 5676722"/>
              <a:gd name="connsiteX12" fmla="*/ 4618793 w 8636594"/>
              <a:gd name="connsiteY12" fmla="*/ 5419830 h 5676722"/>
              <a:gd name="connsiteX13" fmla="*/ 4649922 w 8636594"/>
              <a:gd name="connsiteY13" fmla="*/ 5390040 h 5676722"/>
              <a:gd name="connsiteX14" fmla="*/ 4680742 w 8636594"/>
              <a:gd name="connsiteY14" fmla="*/ 5360014 h 5676722"/>
              <a:gd name="connsiteX15" fmla="*/ 4711259 w 8636594"/>
              <a:gd name="connsiteY15" fmla="*/ 5329755 h 5676722"/>
              <a:gd name="connsiteX16" fmla="*/ 4741478 w 8636594"/>
              <a:gd name="connsiteY16" fmla="*/ 5299266 h 5676722"/>
              <a:gd name="connsiteX17" fmla="*/ 4771408 w 8636594"/>
              <a:gd name="connsiteY17" fmla="*/ 5268551 h 5676722"/>
              <a:gd name="connsiteX18" fmla="*/ 4801053 w 8636594"/>
              <a:gd name="connsiteY18" fmla="*/ 5237614 h 5676722"/>
              <a:gd name="connsiteX19" fmla="*/ 4830420 w 8636594"/>
              <a:gd name="connsiteY19" fmla="*/ 5206458 h 5676722"/>
              <a:gd name="connsiteX20" fmla="*/ 4859516 w 8636594"/>
              <a:gd name="connsiteY20" fmla="*/ 5175087 h 5676722"/>
              <a:gd name="connsiteX21" fmla="*/ 4888347 w 8636594"/>
              <a:gd name="connsiteY21" fmla="*/ 5143504 h 5676722"/>
              <a:gd name="connsiteX22" fmla="*/ 4916919 w 8636594"/>
              <a:gd name="connsiteY22" fmla="*/ 5111713 h 5676722"/>
              <a:gd name="connsiteX23" fmla="*/ 4945238 w 8636594"/>
              <a:gd name="connsiteY23" fmla="*/ 5079717 h 5676722"/>
              <a:gd name="connsiteX24" fmla="*/ 4973311 w 8636594"/>
              <a:gd name="connsiteY24" fmla="*/ 5047519 h 5676722"/>
              <a:gd name="connsiteX25" fmla="*/ 5001145 w 8636594"/>
              <a:gd name="connsiteY25" fmla="*/ 5015124 h 5676722"/>
              <a:gd name="connsiteX26" fmla="*/ 5028745 w 8636594"/>
              <a:gd name="connsiteY26" fmla="*/ 4982535 h 5676722"/>
              <a:gd name="connsiteX27" fmla="*/ 5056117 w 8636594"/>
              <a:gd name="connsiteY27" fmla="*/ 4949755 h 5676722"/>
              <a:gd name="connsiteX28" fmla="*/ 5083269 w 8636594"/>
              <a:gd name="connsiteY28" fmla="*/ 4916787 h 5676722"/>
              <a:gd name="connsiteX29" fmla="*/ 5110207 w 8636594"/>
              <a:gd name="connsiteY29" fmla="*/ 4883636 h 5676722"/>
              <a:gd name="connsiteX30" fmla="*/ 5136937 w 8636594"/>
              <a:gd name="connsiteY30" fmla="*/ 4850305 h 5676722"/>
              <a:gd name="connsiteX31" fmla="*/ 5163464 w 8636594"/>
              <a:gd name="connsiteY31" fmla="*/ 4816797 h 5676722"/>
              <a:gd name="connsiteX32" fmla="*/ 5215940 w 8636594"/>
              <a:gd name="connsiteY32" fmla="*/ 4749265 h 5676722"/>
              <a:gd name="connsiteX33" fmla="*/ 5267684 w 8636594"/>
              <a:gd name="connsiteY33" fmla="*/ 4681068 h 5676722"/>
              <a:gd name="connsiteX34" fmla="*/ 5318748 w 8636594"/>
              <a:gd name="connsiteY34" fmla="*/ 4612234 h 5676722"/>
              <a:gd name="connsiteX35" fmla="*/ 5369182 w 8636594"/>
              <a:gd name="connsiteY35" fmla="*/ 4542793 h 5676722"/>
              <a:gd name="connsiteX36" fmla="*/ 5419038 w 8636594"/>
              <a:gd name="connsiteY36" fmla="*/ 4472771 h 5676722"/>
              <a:gd name="connsiteX37" fmla="*/ 5468365 w 8636594"/>
              <a:gd name="connsiteY37" fmla="*/ 4402196 h 5676722"/>
              <a:gd name="connsiteX38" fmla="*/ 5517215 w 8636594"/>
              <a:gd name="connsiteY38" fmla="*/ 4331098 h 5676722"/>
              <a:gd name="connsiteX39" fmla="*/ 5565637 w 8636594"/>
              <a:gd name="connsiteY39" fmla="*/ 4259503 h 5676722"/>
              <a:gd name="connsiteX40" fmla="*/ 5613684 w 8636594"/>
              <a:gd name="connsiteY40" fmla="*/ 4187441 h 5676722"/>
              <a:gd name="connsiteX41" fmla="*/ 5685160 w 8636594"/>
              <a:gd name="connsiteY41" fmla="*/ 4078531 h 5676722"/>
              <a:gd name="connsiteX42" fmla="*/ 5756074 w 8636594"/>
              <a:gd name="connsiteY42" fmla="*/ 3968727 h 5676722"/>
              <a:gd name="connsiteX43" fmla="*/ 5873483 w 8636594"/>
              <a:gd name="connsiteY43" fmla="*/ 3783989 h 5676722"/>
              <a:gd name="connsiteX44" fmla="*/ 6203209 w 8636594"/>
              <a:gd name="connsiteY44" fmla="*/ 3258640 h 5676722"/>
              <a:gd name="connsiteX45" fmla="*/ 6299430 w 8636594"/>
              <a:gd name="connsiteY45" fmla="*/ 3107321 h 5676722"/>
              <a:gd name="connsiteX46" fmla="*/ 6372650 w 8636594"/>
              <a:gd name="connsiteY46" fmla="*/ 2993735 h 5676722"/>
              <a:gd name="connsiteX47" fmla="*/ 6453197 w 8636594"/>
              <a:gd name="connsiteY47" fmla="*/ 2869788 h 5676722"/>
              <a:gd name="connsiteX48" fmla="*/ 6564167 w 8636594"/>
              <a:gd name="connsiteY48" fmla="*/ 2696807 h 5676722"/>
              <a:gd name="connsiteX49" fmla="*/ 6976233 w 8636594"/>
              <a:gd name="connsiteY49" fmla="*/ 2045274 h 5676722"/>
              <a:gd name="connsiteX50" fmla="*/ 7086755 w 8636594"/>
              <a:gd name="connsiteY50" fmla="*/ 1872743 h 5676722"/>
              <a:gd name="connsiteX51" fmla="*/ 7170279 w 8636594"/>
              <a:gd name="connsiteY51" fmla="*/ 1744202 h 5676722"/>
              <a:gd name="connsiteX52" fmla="*/ 7226351 w 8636594"/>
              <a:gd name="connsiteY52" fmla="*/ 1659017 h 5676722"/>
              <a:gd name="connsiteX53" fmla="*/ 7282789 w 8636594"/>
              <a:gd name="connsiteY53" fmla="*/ 1574303 h 5676722"/>
              <a:gd name="connsiteX54" fmla="*/ 7339643 w 8636594"/>
              <a:gd name="connsiteY54" fmla="*/ 1490113 h 5676722"/>
              <a:gd name="connsiteX55" fmla="*/ 7396957 w 8636594"/>
              <a:gd name="connsiteY55" fmla="*/ 1406503 h 5676722"/>
              <a:gd name="connsiteX56" fmla="*/ 7454781 w 8636594"/>
              <a:gd name="connsiteY56" fmla="*/ 1323526 h 5676722"/>
              <a:gd name="connsiteX57" fmla="*/ 7513161 w 8636594"/>
              <a:gd name="connsiteY57" fmla="*/ 1241237 h 5676722"/>
              <a:gd name="connsiteX58" fmla="*/ 7572144 w 8636594"/>
              <a:gd name="connsiteY58" fmla="*/ 1159689 h 5676722"/>
              <a:gd name="connsiteX59" fmla="*/ 7601877 w 8636594"/>
              <a:gd name="connsiteY59" fmla="*/ 1119210 h 5676722"/>
              <a:gd name="connsiteX60" fmla="*/ 7631779 w 8636594"/>
              <a:gd name="connsiteY60" fmla="*/ 1078937 h 5676722"/>
              <a:gd name="connsiteX61" fmla="*/ 7661855 w 8636594"/>
              <a:gd name="connsiteY61" fmla="*/ 1038876 h 5676722"/>
              <a:gd name="connsiteX62" fmla="*/ 7692111 w 8636594"/>
              <a:gd name="connsiteY62" fmla="*/ 999035 h 5676722"/>
              <a:gd name="connsiteX63" fmla="*/ 7722554 w 8636594"/>
              <a:gd name="connsiteY63" fmla="*/ 959419 h 5676722"/>
              <a:gd name="connsiteX64" fmla="*/ 7753190 w 8636594"/>
              <a:gd name="connsiteY64" fmla="*/ 920037 h 5676722"/>
              <a:gd name="connsiteX65" fmla="*/ 7784023 w 8636594"/>
              <a:gd name="connsiteY65" fmla="*/ 880894 h 5676722"/>
              <a:gd name="connsiteX66" fmla="*/ 7815061 w 8636594"/>
              <a:gd name="connsiteY66" fmla="*/ 841997 h 5676722"/>
              <a:gd name="connsiteX67" fmla="*/ 7846308 w 8636594"/>
              <a:gd name="connsiteY67" fmla="*/ 803354 h 5676722"/>
              <a:gd name="connsiteX68" fmla="*/ 7877772 w 8636594"/>
              <a:gd name="connsiteY68" fmla="*/ 764970 h 5676722"/>
              <a:gd name="connsiteX69" fmla="*/ 7909458 w 8636594"/>
              <a:gd name="connsiteY69" fmla="*/ 726853 h 5676722"/>
              <a:gd name="connsiteX70" fmla="*/ 7941371 w 8636594"/>
              <a:gd name="connsiteY70" fmla="*/ 689010 h 5676722"/>
              <a:gd name="connsiteX71" fmla="*/ 7973518 w 8636594"/>
              <a:gd name="connsiteY71" fmla="*/ 651447 h 5676722"/>
              <a:gd name="connsiteX72" fmla="*/ 8005905 w 8636594"/>
              <a:gd name="connsiteY72" fmla="*/ 614171 h 5676722"/>
              <a:gd name="connsiteX73" fmla="*/ 8038538 w 8636594"/>
              <a:gd name="connsiteY73" fmla="*/ 577189 h 5676722"/>
              <a:gd name="connsiteX74" fmla="*/ 8071421 w 8636594"/>
              <a:gd name="connsiteY74" fmla="*/ 540507 h 5676722"/>
              <a:gd name="connsiteX75" fmla="*/ 8104563 w 8636594"/>
              <a:gd name="connsiteY75" fmla="*/ 504132 h 5676722"/>
              <a:gd name="connsiteX76" fmla="*/ 8137967 w 8636594"/>
              <a:gd name="connsiteY76" fmla="*/ 468072 h 5676722"/>
              <a:gd name="connsiteX77" fmla="*/ 8171641 w 8636594"/>
              <a:gd name="connsiteY77" fmla="*/ 432332 h 5676722"/>
              <a:gd name="connsiteX78" fmla="*/ 8205590 w 8636594"/>
              <a:gd name="connsiteY78" fmla="*/ 396920 h 5676722"/>
              <a:gd name="connsiteX79" fmla="*/ 8239820 w 8636594"/>
              <a:gd name="connsiteY79" fmla="*/ 361843 h 5676722"/>
              <a:gd name="connsiteX80" fmla="*/ 8274337 w 8636594"/>
              <a:gd name="connsiteY80" fmla="*/ 327107 h 5676722"/>
              <a:gd name="connsiteX81" fmla="*/ 8309147 w 8636594"/>
              <a:gd name="connsiteY81" fmla="*/ 292718 h 5676722"/>
              <a:gd name="connsiteX82" fmla="*/ 8344256 w 8636594"/>
              <a:gd name="connsiteY82" fmla="*/ 258685 h 5676722"/>
              <a:gd name="connsiteX83" fmla="*/ 8379669 w 8636594"/>
              <a:gd name="connsiteY83" fmla="*/ 225013 h 5676722"/>
              <a:gd name="connsiteX84" fmla="*/ 8415394 w 8636594"/>
              <a:gd name="connsiteY84" fmla="*/ 191709 h 5676722"/>
              <a:gd name="connsiteX85" fmla="*/ 8451434 w 8636594"/>
              <a:gd name="connsiteY85" fmla="*/ 158780 h 5676722"/>
              <a:gd name="connsiteX86" fmla="*/ 8487798 w 8636594"/>
              <a:gd name="connsiteY86" fmla="*/ 126233 h 5676722"/>
              <a:gd name="connsiteX87" fmla="*/ 8524489 w 8636594"/>
              <a:gd name="connsiteY87" fmla="*/ 94075 h 5676722"/>
              <a:gd name="connsiteX88" fmla="*/ 8561515 w 8636594"/>
              <a:gd name="connsiteY88" fmla="*/ 62312 h 5676722"/>
              <a:gd name="connsiteX89" fmla="*/ 8598881 w 8636594"/>
              <a:gd name="connsiteY89" fmla="*/ 30951 h 5676722"/>
              <a:gd name="connsiteX90" fmla="*/ 8636594 w 8636594"/>
              <a:gd name="connsiteY90" fmla="*/ 0 h 5676722"/>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391688 w 8636594"/>
              <a:gd name="connsiteY4" fmla="*/ 5621446 h 5649218"/>
              <a:gd name="connsiteX5" fmla="*/ 4425162 w 8636594"/>
              <a:gd name="connsiteY5" fmla="*/ 5593409 h 5649218"/>
              <a:gd name="connsiteX6" fmla="*/ 4458281 w 8636594"/>
              <a:gd name="connsiteY6" fmla="*/ 5565111 h 5649218"/>
              <a:gd name="connsiteX7" fmla="*/ 4491053 w 8636594"/>
              <a:gd name="connsiteY7" fmla="*/ 5536556 h 5649218"/>
              <a:gd name="connsiteX8" fmla="*/ 4523484 w 8636594"/>
              <a:gd name="connsiteY8" fmla="*/ 5507747 h 5649218"/>
              <a:gd name="connsiteX9" fmla="*/ 4555580 w 8636594"/>
              <a:gd name="connsiteY9" fmla="*/ 5478687 h 5649218"/>
              <a:gd name="connsiteX10" fmla="*/ 4587347 w 8636594"/>
              <a:gd name="connsiteY10" fmla="*/ 5449380 h 5649218"/>
              <a:gd name="connsiteX11" fmla="*/ 4618793 w 8636594"/>
              <a:gd name="connsiteY11" fmla="*/ 5419830 h 5649218"/>
              <a:gd name="connsiteX12" fmla="*/ 4649922 w 8636594"/>
              <a:gd name="connsiteY12" fmla="*/ 5390040 h 5649218"/>
              <a:gd name="connsiteX13" fmla="*/ 4680742 w 8636594"/>
              <a:gd name="connsiteY13" fmla="*/ 5360014 h 5649218"/>
              <a:gd name="connsiteX14" fmla="*/ 4711259 w 8636594"/>
              <a:gd name="connsiteY14" fmla="*/ 5329755 h 5649218"/>
              <a:gd name="connsiteX15" fmla="*/ 4741478 w 8636594"/>
              <a:gd name="connsiteY15" fmla="*/ 5299266 h 5649218"/>
              <a:gd name="connsiteX16" fmla="*/ 4771408 w 8636594"/>
              <a:gd name="connsiteY16" fmla="*/ 5268551 h 5649218"/>
              <a:gd name="connsiteX17" fmla="*/ 4801053 w 8636594"/>
              <a:gd name="connsiteY17" fmla="*/ 5237614 h 5649218"/>
              <a:gd name="connsiteX18" fmla="*/ 4830420 w 8636594"/>
              <a:gd name="connsiteY18" fmla="*/ 5206458 h 5649218"/>
              <a:gd name="connsiteX19" fmla="*/ 4859516 w 8636594"/>
              <a:gd name="connsiteY19" fmla="*/ 5175087 h 5649218"/>
              <a:gd name="connsiteX20" fmla="*/ 4888347 w 8636594"/>
              <a:gd name="connsiteY20" fmla="*/ 5143504 h 5649218"/>
              <a:gd name="connsiteX21" fmla="*/ 4916919 w 8636594"/>
              <a:gd name="connsiteY21" fmla="*/ 5111713 h 5649218"/>
              <a:gd name="connsiteX22" fmla="*/ 4945238 w 8636594"/>
              <a:gd name="connsiteY22" fmla="*/ 5079717 h 5649218"/>
              <a:gd name="connsiteX23" fmla="*/ 4973311 w 8636594"/>
              <a:gd name="connsiteY23" fmla="*/ 5047519 h 5649218"/>
              <a:gd name="connsiteX24" fmla="*/ 5001145 w 8636594"/>
              <a:gd name="connsiteY24" fmla="*/ 5015124 h 5649218"/>
              <a:gd name="connsiteX25" fmla="*/ 5028745 w 8636594"/>
              <a:gd name="connsiteY25" fmla="*/ 4982535 h 5649218"/>
              <a:gd name="connsiteX26" fmla="*/ 5056117 w 8636594"/>
              <a:gd name="connsiteY26" fmla="*/ 4949755 h 5649218"/>
              <a:gd name="connsiteX27" fmla="*/ 5083269 w 8636594"/>
              <a:gd name="connsiteY27" fmla="*/ 4916787 h 5649218"/>
              <a:gd name="connsiteX28" fmla="*/ 5110207 w 8636594"/>
              <a:gd name="connsiteY28" fmla="*/ 4883636 h 5649218"/>
              <a:gd name="connsiteX29" fmla="*/ 5136937 w 8636594"/>
              <a:gd name="connsiteY29" fmla="*/ 4850305 h 5649218"/>
              <a:gd name="connsiteX30" fmla="*/ 5163464 w 8636594"/>
              <a:gd name="connsiteY30" fmla="*/ 4816797 h 5649218"/>
              <a:gd name="connsiteX31" fmla="*/ 5215940 w 8636594"/>
              <a:gd name="connsiteY31" fmla="*/ 4749265 h 5649218"/>
              <a:gd name="connsiteX32" fmla="*/ 5267684 w 8636594"/>
              <a:gd name="connsiteY32" fmla="*/ 4681068 h 5649218"/>
              <a:gd name="connsiteX33" fmla="*/ 5318748 w 8636594"/>
              <a:gd name="connsiteY33" fmla="*/ 4612234 h 5649218"/>
              <a:gd name="connsiteX34" fmla="*/ 5369182 w 8636594"/>
              <a:gd name="connsiteY34" fmla="*/ 4542793 h 5649218"/>
              <a:gd name="connsiteX35" fmla="*/ 5419038 w 8636594"/>
              <a:gd name="connsiteY35" fmla="*/ 4472771 h 5649218"/>
              <a:gd name="connsiteX36" fmla="*/ 5468365 w 8636594"/>
              <a:gd name="connsiteY36" fmla="*/ 4402196 h 5649218"/>
              <a:gd name="connsiteX37" fmla="*/ 5517215 w 8636594"/>
              <a:gd name="connsiteY37" fmla="*/ 4331098 h 5649218"/>
              <a:gd name="connsiteX38" fmla="*/ 5565637 w 8636594"/>
              <a:gd name="connsiteY38" fmla="*/ 4259503 h 5649218"/>
              <a:gd name="connsiteX39" fmla="*/ 5613684 w 8636594"/>
              <a:gd name="connsiteY39" fmla="*/ 4187441 h 5649218"/>
              <a:gd name="connsiteX40" fmla="*/ 5685160 w 8636594"/>
              <a:gd name="connsiteY40" fmla="*/ 4078531 h 5649218"/>
              <a:gd name="connsiteX41" fmla="*/ 5756074 w 8636594"/>
              <a:gd name="connsiteY41" fmla="*/ 3968727 h 5649218"/>
              <a:gd name="connsiteX42" fmla="*/ 5873483 w 8636594"/>
              <a:gd name="connsiteY42" fmla="*/ 3783989 h 5649218"/>
              <a:gd name="connsiteX43" fmla="*/ 6203209 w 8636594"/>
              <a:gd name="connsiteY43" fmla="*/ 3258640 h 5649218"/>
              <a:gd name="connsiteX44" fmla="*/ 6299430 w 8636594"/>
              <a:gd name="connsiteY44" fmla="*/ 3107321 h 5649218"/>
              <a:gd name="connsiteX45" fmla="*/ 6372650 w 8636594"/>
              <a:gd name="connsiteY45" fmla="*/ 2993735 h 5649218"/>
              <a:gd name="connsiteX46" fmla="*/ 6453197 w 8636594"/>
              <a:gd name="connsiteY46" fmla="*/ 2869788 h 5649218"/>
              <a:gd name="connsiteX47" fmla="*/ 6564167 w 8636594"/>
              <a:gd name="connsiteY47" fmla="*/ 2696807 h 5649218"/>
              <a:gd name="connsiteX48" fmla="*/ 6976233 w 8636594"/>
              <a:gd name="connsiteY48" fmla="*/ 2045274 h 5649218"/>
              <a:gd name="connsiteX49" fmla="*/ 7086755 w 8636594"/>
              <a:gd name="connsiteY49" fmla="*/ 1872743 h 5649218"/>
              <a:gd name="connsiteX50" fmla="*/ 7170279 w 8636594"/>
              <a:gd name="connsiteY50" fmla="*/ 1744202 h 5649218"/>
              <a:gd name="connsiteX51" fmla="*/ 7226351 w 8636594"/>
              <a:gd name="connsiteY51" fmla="*/ 1659017 h 5649218"/>
              <a:gd name="connsiteX52" fmla="*/ 7282789 w 8636594"/>
              <a:gd name="connsiteY52" fmla="*/ 1574303 h 5649218"/>
              <a:gd name="connsiteX53" fmla="*/ 7339643 w 8636594"/>
              <a:gd name="connsiteY53" fmla="*/ 1490113 h 5649218"/>
              <a:gd name="connsiteX54" fmla="*/ 7396957 w 8636594"/>
              <a:gd name="connsiteY54" fmla="*/ 1406503 h 5649218"/>
              <a:gd name="connsiteX55" fmla="*/ 7454781 w 8636594"/>
              <a:gd name="connsiteY55" fmla="*/ 1323526 h 5649218"/>
              <a:gd name="connsiteX56" fmla="*/ 7513161 w 8636594"/>
              <a:gd name="connsiteY56" fmla="*/ 1241237 h 5649218"/>
              <a:gd name="connsiteX57" fmla="*/ 7572144 w 8636594"/>
              <a:gd name="connsiteY57" fmla="*/ 1159689 h 5649218"/>
              <a:gd name="connsiteX58" fmla="*/ 7601877 w 8636594"/>
              <a:gd name="connsiteY58" fmla="*/ 1119210 h 5649218"/>
              <a:gd name="connsiteX59" fmla="*/ 7631779 w 8636594"/>
              <a:gd name="connsiteY59" fmla="*/ 1078937 h 5649218"/>
              <a:gd name="connsiteX60" fmla="*/ 7661855 w 8636594"/>
              <a:gd name="connsiteY60" fmla="*/ 1038876 h 5649218"/>
              <a:gd name="connsiteX61" fmla="*/ 7692111 w 8636594"/>
              <a:gd name="connsiteY61" fmla="*/ 999035 h 5649218"/>
              <a:gd name="connsiteX62" fmla="*/ 7722554 w 8636594"/>
              <a:gd name="connsiteY62" fmla="*/ 959419 h 5649218"/>
              <a:gd name="connsiteX63" fmla="*/ 7753190 w 8636594"/>
              <a:gd name="connsiteY63" fmla="*/ 920037 h 5649218"/>
              <a:gd name="connsiteX64" fmla="*/ 7784023 w 8636594"/>
              <a:gd name="connsiteY64" fmla="*/ 880894 h 5649218"/>
              <a:gd name="connsiteX65" fmla="*/ 7815061 w 8636594"/>
              <a:gd name="connsiteY65" fmla="*/ 841997 h 5649218"/>
              <a:gd name="connsiteX66" fmla="*/ 7846308 w 8636594"/>
              <a:gd name="connsiteY66" fmla="*/ 803354 h 5649218"/>
              <a:gd name="connsiteX67" fmla="*/ 7877772 w 8636594"/>
              <a:gd name="connsiteY67" fmla="*/ 764970 h 5649218"/>
              <a:gd name="connsiteX68" fmla="*/ 7909458 w 8636594"/>
              <a:gd name="connsiteY68" fmla="*/ 726853 h 5649218"/>
              <a:gd name="connsiteX69" fmla="*/ 7941371 w 8636594"/>
              <a:gd name="connsiteY69" fmla="*/ 689010 h 5649218"/>
              <a:gd name="connsiteX70" fmla="*/ 7973518 w 8636594"/>
              <a:gd name="connsiteY70" fmla="*/ 651447 h 5649218"/>
              <a:gd name="connsiteX71" fmla="*/ 8005905 w 8636594"/>
              <a:gd name="connsiteY71" fmla="*/ 614171 h 5649218"/>
              <a:gd name="connsiteX72" fmla="*/ 8038538 w 8636594"/>
              <a:gd name="connsiteY72" fmla="*/ 577189 h 5649218"/>
              <a:gd name="connsiteX73" fmla="*/ 8071421 w 8636594"/>
              <a:gd name="connsiteY73" fmla="*/ 540507 h 5649218"/>
              <a:gd name="connsiteX74" fmla="*/ 8104563 w 8636594"/>
              <a:gd name="connsiteY74" fmla="*/ 504132 h 5649218"/>
              <a:gd name="connsiteX75" fmla="*/ 8137967 w 8636594"/>
              <a:gd name="connsiteY75" fmla="*/ 468072 h 5649218"/>
              <a:gd name="connsiteX76" fmla="*/ 8171641 w 8636594"/>
              <a:gd name="connsiteY76" fmla="*/ 432332 h 5649218"/>
              <a:gd name="connsiteX77" fmla="*/ 8205590 w 8636594"/>
              <a:gd name="connsiteY77" fmla="*/ 396920 h 5649218"/>
              <a:gd name="connsiteX78" fmla="*/ 8239820 w 8636594"/>
              <a:gd name="connsiteY78" fmla="*/ 361843 h 5649218"/>
              <a:gd name="connsiteX79" fmla="*/ 8274337 w 8636594"/>
              <a:gd name="connsiteY79" fmla="*/ 327107 h 5649218"/>
              <a:gd name="connsiteX80" fmla="*/ 8309147 w 8636594"/>
              <a:gd name="connsiteY80" fmla="*/ 292718 h 5649218"/>
              <a:gd name="connsiteX81" fmla="*/ 8344256 w 8636594"/>
              <a:gd name="connsiteY81" fmla="*/ 258685 h 5649218"/>
              <a:gd name="connsiteX82" fmla="*/ 8379669 w 8636594"/>
              <a:gd name="connsiteY82" fmla="*/ 225013 h 5649218"/>
              <a:gd name="connsiteX83" fmla="*/ 8415394 w 8636594"/>
              <a:gd name="connsiteY83" fmla="*/ 191709 h 5649218"/>
              <a:gd name="connsiteX84" fmla="*/ 8451434 w 8636594"/>
              <a:gd name="connsiteY84" fmla="*/ 158780 h 5649218"/>
              <a:gd name="connsiteX85" fmla="*/ 8487798 w 8636594"/>
              <a:gd name="connsiteY85" fmla="*/ 126233 h 5649218"/>
              <a:gd name="connsiteX86" fmla="*/ 8524489 w 8636594"/>
              <a:gd name="connsiteY86" fmla="*/ 94075 h 5649218"/>
              <a:gd name="connsiteX87" fmla="*/ 8561515 w 8636594"/>
              <a:gd name="connsiteY87" fmla="*/ 62312 h 5649218"/>
              <a:gd name="connsiteX88" fmla="*/ 8598881 w 8636594"/>
              <a:gd name="connsiteY88" fmla="*/ 30951 h 5649218"/>
              <a:gd name="connsiteX89" fmla="*/ 8636594 w 8636594"/>
              <a:gd name="connsiteY89" fmla="*/ 0 h 5649218"/>
              <a:gd name="connsiteX0" fmla="*/ 8636594 w 8636594"/>
              <a:gd name="connsiteY0" fmla="*/ 0 h 5649218"/>
              <a:gd name="connsiteX1" fmla="*/ 5293 w 8636594"/>
              <a:gd name="connsiteY1" fmla="*/ 0 h 5649218"/>
              <a:gd name="connsiteX2" fmla="*/ 0 w 8636594"/>
              <a:gd name="connsiteY2" fmla="*/ 5587843 h 5649218"/>
              <a:gd name="connsiteX3" fmla="*/ 4357854 w 8636594"/>
              <a:gd name="connsiteY3" fmla="*/ 5649218 h 5649218"/>
              <a:gd name="connsiteX4" fmla="*/ 4425162 w 8636594"/>
              <a:gd name="connsiteY4" fmla="*/ 5593409 h 5649218"/>
              <a:gd name="connsiteX5" fmla="*/ 4458281 w 8636594"/>
              <a:gd name="connsiteY5" fmla="*/ 5565111 h 5649218"/>
              <a:gd name="connsiteX6" fmla="*/ 4491053 w 8636594"/>
              <a:gd name="connsiteY6" fmla="*/ 5536556 h 5649218"/>
              <a:gd name="connsiteX7" fmla="*/ 4523484 w 8636594"/>
              <a:gd name="connsiteY7" fmla="*/ 5507747 h 5649218"/>
              <a:gd name="connsiteX8" fmla="*/ 4555580 w 8636594"/>
              <a:gd name="connsiteY8" fmla="*/ 5478687 h 5649218"/>
              <a:gd name="connsiteX9" fmla="*/ 4587347 w 8636594"/>
              <a:gd name="connsiteY9" fmla="*/ 5449380 h 5649218"/>
              <a:gd name="connsiteX10" fmla="*/ 4618793 w 8636594"/>
              <a:gd name="connsiteY10" fmla="*/ 5419830 h 5649218"/>
              <a:gd name="connsiteX11" fmla="*/ 4649922 w 8636594"/>
              <a:gd name="connsiteY11" fmla="*/ 5390040 h 5649218"/>
              <a:gd name="connsiteX12" fmla="*/ 4680742 w 8636594"/>
              <a:gd name="connsiteY12" fmla="*/ 5360014 h 5649218"/>
              <a:gd name="connsiteX13" fmla="*/ 4711259 w 8636594"/>
              <a:gd name="connsiteY13" fmla="*/ 5329755 h 5649218"/>
              <a:gd name="connsiteX14" fmla="*/ 4741478 w 8636594"/>
              <a:gd name="connsiteY14" fmla="*/ 5299266 h 5649218"/>
              <a:gd name="connsiteX15" fmla="*/ 4771408 w 8636594"/>
              <a:gd name="connsiteY15" fmla="*/ 5268551 h 5649218"/>
              <a:gd name="connsiteX16" fmla="*/ 4801053 w 8636594"/>
              <a:gd name="connsiteY16" fmla="*/ 5237614 h 5649218"/>
              <a:gd name="connsiteX17" fmla="*/ 4830420 w 8636594"/>
              <a:gd name="connsiteY17" fmla="*/ 5206458 h 5649218"/>
              <a:gd name="connsiteX18" fmla="*/ 4859516 w 8636594"/>
              <a:gd name="connsiteY18" fmla="*/ 5175087 h 5649218"/>
              <a:gd name="connsiteX19" fmla="*/ 4888347 w 8636594"/>
              <a:gd name="connsiteY19" fmla="*/ 5143504 h 5649218"/>
              <a:gd name="connsiteX20" fmla="*/ 4916919 w 8636594"/>
              <a:gd name="connsiteY20" fmla="*/ 5111713 h 5649218"/>
              <a:gd name="connsiteX21" fmla="*/ 4945238 w 8636594"/>
              <a:gd name="connsiteY21" fmla="*/ 5079717 h 5649218"/>
              <a:gd name="connsiteX22" fmla="*/ 4973311 w 8636594"/>
              <a:gd name="connsiteY22" fmla="*/ 5047519 h 5649218"/>
              <a:gd name="connsiteX23" fmla="*/ 5001145 w 8636594"/>
              <a:gd name="connsiteY23" fmla="*/ 5015124 h 5649218"/>
              <a:gd name="connsiteX24" fmla="*/ 5028745 w 8636594"/>
              <a:gd name="connsiteY24" fmla="*/ 4982535 h 5649218"/>
              <a:gd name="connsiteX25" fmla="*/ 5056117 w 8636594"/>
              <a:gd name="connsiteY25" fmla="*/ 4949755 h 5649218"/>
              <a:gd name="connsiteX26" fmla="*/ 5083269 w 8636594"/>
              <a:gd name="connsiteY26" fmla="*/ 4916787 h 5649218"/>
              <a:gd name="connsiteX27" fmla="*/ 5110207 w 8636594"/>
              <a:gd name="connsiteY27" fmla="*/ 4883636 h 5649218"/>
              <a:gd name="connsiteX28" fmla="*/ 5136937 w 8636594"/>
              <a:gd name="connsiteY28" fmla="*/ 4850305 h 5649218"/>
              <a:gd name="connsiteX29" fmla="*/ 5163464 w 8636594"/>
              <a:gd name="connsiteY29" fmla="*/ 4816797 h 5649218"/>
              <a:gd name="connsiteX30" fmla="*/ 5215940 w 8636594"/>
              <a:gd name="connsiteY30" fmla="*/ 4749265 h 5649218"/>
              <a:gd name="connsiteX31" fmla="*/ 5267684 w 8636594"/>
              <a:gd name="connsiteY31" fmla="*/ 4681068 h 5649218"/>
              <a:gd name="connsiteX32" fmla="*/ 5318748 w 8636594"/>
              <a:gd name="connsiteY32" fmla="*/ 4612234 h 5649218"/>
              <a:gd name="connsiteX33" fmla="*/ 5369182 w 8636594"/>
              <a:gd name="connsiteY33" fmla="*/ 4542793 h 5649218"/>
              <a:gd name="connsiteX34" fmla="*/ 5419038 w 8636594"/>
              <a:gd name="connsiteY34" fmla="*/ 4472771 h 5649218"/>
              <a:gd name="connsiteX35" fmla="*/ 5468365 w 8636594"/>
              <a:gd name="connsiteY35" fmla="*/ 4402196 h 5649218"/>
              <a:gd name="connsiteX36" fmla="*/ 5517215 w 8636594"/>
              <a:gd name="connsiteY36" fmla="*/ 4331098 h 5649218"/>
              <a:gd name="connsiteX37" fmla="*/ 5565637 w 8636594"/>
              <a:gd name="connsiteY37" fmla="*/ 4259503 h 5649218"/>
              <a:gd name="connsiteX38" fmla="*/ 5613684 w 8636594"/>
              <a:gd name="connsiteY38" fmla="*/ 4187441 h 5649218"/>
              <a:gd name="connsiteX39" fmla="*/ 5685160 w 8636594"/>
              <a:gd name="connsiteY39" fmla="*/ 4078531 h 5649218"/>
              <a:gd name="connsiteX40" fmla="*/ 5756074 w 8636594"/>
              <a:gd name="connsiteY40" fmla="*/ 3968727 h 5649218"/>
              <a:gd name="connsiteX41" fmla="*/ 5873483 w 8636594"/>
              <a:gd name="connsiteY41" fmla="*/ 3783989 h 5649218"/>
              <a:gd name="connsiteX42" fmla="*/ 6203209 w 8636594"/>
              <a:gd name="connsiteY42" fmla="*/ 3258640 h 5649218"/>
              <a:gd name="connsiteX43" fmla="*/ 6299430 w 8636594"/>
              <a:gd name="connsiteY43" fmla="*/ 3107321 h 5649218"/>
              <a:gd name="connsiteX44" fmla="*/ 6372650 w 8636594"/>
              <a:gd name="connsiteY44" fmla="*/ 2993735 h 5649218"/>
              <a:gd name="connsiteX45" fmla="*/ 6453197 w 8636594"/>
              <a:gd name="connsiteY45" fmla="*/ 2869788 h 5649218"/>
              <a:gd name="connsiteX46" fmla="*/ 6564167 w 8636594"/>
              <a:gd name="connsiteY46" fmla="*/ 2696807 h 5649218"/>
              <a:gd name="connsiteX47" fmla="*/ 6976233 w 8636594"/>
              <a:gd name="connsiteY47" fmla="*/ 2045274 h 5649218"/>
              <a:gd name="connsiteX48" fmla="*/ 7086755 w 8636594"/>
              <a:gd name="connsiteY48" fmla="*/ 1872743 h 5649218"/>
              <a:gd name="connsiteX49" fmla="*/ 7170279 w 8636594"/>
              <a:gd name="connsiteY49" fmla="*/ 1744202 h 5649218"/>
              <a:gd name="connsiteX50" fmla="*/ 7226351 w 8636594"/>
              <a:gd name="connsiteY50" fmla="*/ 1659017 h 5649218"/>
              <a:gd name="connsiteX51" fmla="*/ 7282789 w 8636594"/>
              <a:gd name="connsiteY51" fmla="*/ 1574303 h 5649218"/>
              <a:gd name="connsiteX52" fmla="*/ 7339643 w 8636594"/>
              <a:gd name="connsiteY52" fmla="*/ 1490113 h 5649218"/>
              <a:gd name="connsiteX53" fmla="*/ 7396957 w 8636594"/>
              <a:gd name="connsiteY53" fmla="*/ 1406503 h 5649218"/>
              <a:gd name="connsiteX54" fmla="*/ 7454781 w 8636594"/>
              <a:gd name="connsiteY54" fmla="*/ 1323526 h 5649218"/>
              <a:gd name="connsiteX55" fmla="*/ 7513161 w 8636594"/>
              <a:gd name="connsiteY55" fmla="*/ 1241237 h 5649218"/>
              <a:gd name="connsiteX56" fmla="*/ 7572144 w 8636594"/>
              <a:gd name="connsiteY56" fmla="*/ 1159689 h 5649218"/>
              <a:gd name="connsiteX57" fmla="*/ 7601877 w 8636594"/>
              <a:gd name="connsiteY57" fmla="*/ 1119210 h 5649218"/>
              <a:gd name="connsiteX58" fmla="*/ 7631779 w 8636594"/>
              <a:gd name="connsiteY58" fmla="*/ 1078937 h 5649218"/>
              <a:gd name="connsiteX59" fmla="*/ 7661855 w 8636594"/>
              <a:gd name="connsiteY59" fmla="*/ 1038876 h 5649218"/>
              <a:gd name="connsiteX60" fmla="*/ 7692111 w 8636594"/>
              <a:gd name="connsiteY60" fmla="*/ 999035 h 5649218"/>
              <a:gd name="connsiteX61" fmla="*/ 7722554 w 8636594"/>
              <a:gd name="connsiteY61" fmla="*/ 959419 h 5649218"/>
              <a:gd name="connsiteX62" fmla="*/ 7753190 w 8636594"/>
              <a:gd name="connsiteY62" fmla="*/ 920037 h 5649218"/>
              <a:gd name="connsiteX63" fmla="*/ 7784023 w 8636594"/>
              <a:gd name="connsiteY63" fmla="*/ 880894 h 5649218"/>
              <a:gd name="connsiteX64" fmla="*/ 7815061 w 8636594"/>
              <a:gd name="connsiteY64" fmla="*/ 841997 h 5649218"/>
              <a:gd name="connsiteX65" fmla="*/ 7846308 w 8636594"/>
              <a:gd name="connsiteY65" fmla="*/ 803354 h 5649218"/>
              <a:gd name="connsiteX66" fmla="*/ 7877772 w 8636594"/>
              <a:gd name="connsiteY66" fmla="*/ 764970 h 5649218"/>
              <a:gd name="connsiteX67" fmla="*/ 7909458 w 8636594"/>
              <a:gd name="connsiteY67" fmla="*/ 726853 h 5649218"/>
              <a:gd name="connsiteX68" fmla="*/ 7941371 w 8636594"/>
              <a:gd name="connsiteY68" fmla="*/ 689010 h 5649218"/>
              <a:gd name="connsiteX69" fmla="*/ 7973518 w 8636594"/>
              <a:gd name="connsiteY69" fmla="*/ 651447 h 5649218"/>
              <a:gd name="connsiteX70" fmla="*/ 8005905 w 8636594"/>
              <a:gd name="connsiteY70" fmla="*/ 614171 h 5649218"/>
              <a:gd name="connsiteX71" fmla="*/ 8038538 w 8636594"/>
              <a:gd name="connsiteY71" fmla="*/ 577189 h 5649218"/>
              <a:gd name="connsiteX72" fmla="*/ 8071421 w 8636594"/>
              <a:gd name="connsiteY72" fmla="*/ 540507 h 5649218"/>
              <a:gd name="connsiteX73" fmla="*/ 8104563 w 8636594"/>
              <a:gd name="connsiteY73" fmla="*/ 504132 h 5649218"/>
              <a:gd name="connsiteX74" fmla="*/ 8137967 w 8636594"/>
              <a:gd name="connsiteY74" fmla="*/ 468072 h 5649218"/>
              <a:gd name="connsiteX75" fmla="*/ 8171641 w 8636594"/>
              <a:gd name="connsiteY75" fmla="*/ 432332 h 5649218"/>
              <a:gd name="connsiteX76" fmla="*/ 8205590 w 8636594"/>
              <a:gd name="connsiteY76" fmla="*/ 396920 h 5649218"/>
              <a:gd name="connsiteX77" fmla="*/ 8239820 w 8636594"/>
              <a:gd name="connsiteY77" fmla="*/ 361843 h 5649218"/>
              <a:gd name="connsiteX78" fmla="*/ 8274337 w 8636594"/>
              <a:gd name="connsiteY78" fmla="*/ 327107 h 5649218"/>
              <a:gd name="connsiteX79" fmla="*/ 8309147 w 8636594"/>
              <a:gd name="connsiteY79" fmla="*/ 292718 h 5649218"/>
              <a:gd name="connsiteX80" fmla="*/ 8344256 w 8636594"/>
              <a:gd name="connsiteY80" fmla="*/ 258685 h 5649218"/>
              <a:gd name="connsiteX81" fmla="*/ 8379669 w 8636594"/>
              <a:gd name="connsiteY81" fmla="*/ 225013 h 5649218"/>
              <a:gd name="connsiteX82" fmla="*/ 8415394 w 8636594"/>
              <a:gd name="connsiteY82" fmla="*/ 191709 h 5649218"/>
              <a:gd name="connsiteX83" fmla="*/ 8451434 w 8636594"/>
              <a:gd name="connsiteY83" fmla="*/ 158780 h 5649218"/>
              <a:gd name="connsiteX84" fmla="*/ 8487798 w 8636594"/>
              <a:gd name="connsiteY84" fmla="*/ 126233 h 5649218"/>
              <a:gd name="connsiteX85" fmla="*/ 8524489 w 8636594"/>
              <a:gd name="connsiteY85" fmla="*/ 94075 h 5649218"/>
              <a:gd name="connsiteX86" fmla="*/ 8561515 w 8636594"/>
              <a:gd name="connsiteY86" fmla="*/ 62312 h 5649218"/>
              <a:gd name="connsiteX87" fmla="*/ 8598881 w 8636594"/>
              <a:gd name="connsiteY87" fmla="*/ 30951 h 5649218"/>
              <a:gd name="connsiteX88" fmla="*/ 8636594 w 8636594"/>
              <a:gd name="connsiteY88" fmla="*/ 0 h 5649218"/>
              <a:gd name="connsiteX0" fmla="*/ 8636594 w 8636594"/>
              <a:gd name="connsiteY0" fmla="*/ 0 h 5593409"/>
              <a:gd name="connsiteX1" fmla="*/ 5293 w 8636594"/>
              <a:gd name="connsiteY1" fmla="*/ 0 h 5593409"/>
              <a:gd name="connsiteX2" fmla="*/ 0 w 8636594"/>
              <a:gd name="connsiteY2" fmla="*/ 5587843 h 5593409"/>
              <a:gd name="connsiteX3" fmla="*/ 4425162 w 8636594"/>
              <a:gd name="connsiteY3" fmla="*/ 5593409 h 5593409"/>
              <a:gd name="connsiteX4" fmla="*/ 4458281 w 8636594"/>
              <a:gd name="connsiteY4" fmla="*/ 5565111 h 5593409"/>
              <a:gd name="connsiteX5" fmla="*/ 4491053 w 8636594"/>
              <a:gd name="connsiteY5" fmla="*/ 5536556 h 5593409"/>
              <a:gd name="connsiteX6" fmla="*/ 4523484 w 8636594"/>
              <a:gd name="connsiteY6" fmla="*/ 5507747 h 5593409"/>
              <a:gd name="connsiteX7" fmla="*/ 4555580 w 8636594"/>
              <a:gd name="connsiteY7" fmla="*/ 5478687 h 5593409"/>
              <a:gd name="connsiteX8" fmla="*/ 4587347 w 8636594"/>
              <a:gd name="connsiteY8" fmla="*/ 5449380 h 5593409"/>
              <a:gd name="connsiteX9" fmla="*/ 4618793 w 8636594"/>
              <a:gd name="connsiteY9" fmla="*/ 5419830 h 5593409"/>
              <a:gd name="connsiteX10" fmla="*/ 4649922 w 8636594"/>
              <a:gd name="connsiteY10" fmla="*/ 5390040 h 5593409"/>
              <a:gd name="connsiteX11" fmla="*/ 4680742 w 8636594"/>
              <a:gd name="connsiteY11" fmla="*/ 5360014 h 5593409"/>
              <a:gd name="connsiteX12" fmla="*/ 4711259 w 8636594"/>
              <a:gd name="connsiteY12" fmla="*/ 5329755 h 5593409"/>
              <a:gd name="connsiteX13" fmla="*/ 4741478 w 8636594"/>
              <a:gd name="connsiteY13" fmla="*/ 5299266 h 5593409"/>
              <a:gd name="connsiteX14" fmla="*/ 4771408 w 8636594"/>
              <a:gd name="connsiteY14" fmla="*/ 5268551 h 5593409"/>
              <a:gd name="connsiteX15" fmla="*/ 4801053 w 8636594"/>
              <a:gd name="connsiteY15" fmla="*/ 5237614 h 5593409"/>
              <a:gd name="connsiteX16" fmla="*/ 4830420 w 8636594"/>
              <a:gd name="connsiteY16" fmla="*/ 5206458 h 5593409"/>
              <a:gd name="connsiteX17" fmla="*/ 4859516 w 8636594"/>
              <a:gd name="connsiteY17" fmla="*/ 5175087 h 5593409"/>
              <a:gd name="connsiteX18" fmla="*/ 4888347 w 8636594"/>
              <a:gd name="connsiteY18" fmla="*/ 5143504 h 5593409"/>
              <a:gd name="connsiteX19" fmla="*/ 4916919 w 8636594"/>
              <a:gd name="connsiteY19" fmla="*/ 5111713 h 5593409"/>
              <a:gd name="connsiteX20" fmla="*/ 4945238 w 8636594"/>
              <a:gd name="connsiteY20" fmla="*/ 5079717 h 5593409"/>
              <a:gd name="connsiteX21" fmla="*/ 4973311 w 8636594"/>
              <a:gd name="connsiteY21" fmla="*/ 5047519 h 5593409"/>
              <a:gd name="connsiteX22" fmla="*/ 5001145 w 8636594"/>
              <a:gd name="connsiteY22" fmla="*/ 5015124 h 5593409"/>
              <a:gd name="connsiteX23" fmla="*/ 5028745 w 8636594"/>
              <a:gd name="connsiteY23" fmla="*/ 4982535 h 5593409"/>
              <a:gd name="connsiteX24" fmla="*/ 5056117 w 8636594"/>
              <a:gd name="connsiteY24" fmla="*/ 4949755 h 5593409"/>
              <a:gd name="connsiteX25" fmla="*/ 5083269 w 8636594"/>
              <a:gd name="connsiteY25" fmla="*/ 4916787 h 5593409"/>
              <a:gd name="connsiteX26" fmla="*/ 5110207 w 8636594"/>
              <a:gd name="connsiteY26" fmla="*/ 4883636 h 5593409"/>
              <a:gd name="connsiteX27" fmla="*/ 5136937 w 8636594"/>
              <a:gd name="connsiteY27" fmla="*/ 4850305 h 5593409"/>
              <a:gd name="connsiteX28" fmla="*/ 5163464 w 8636594"/>
              <a:gd name="connsiteY28" fmla="*/ 4816797 h 5593409"/>
              <a:gd name="connsiteX29" fmla="*/ 5215940 w 8636594"/>
              <a:gd name="connsiteY29" fmla="*/ 4749265 h 5593409"/>
              <a:gd name="connsiteX30" fmla="*/ 5267684 w 8636594"/>
              <a:gd name="connsiteY30" fmla="*/ 4681068 h 5593409"/>
              <a:gd name="connsiteX31" fmla="*/ 5318748 w 8636594"/>
              <a:gd name="connsiteY31" fmla="*/ 4612234 h 5593409"/>
              <a:gd name="connsiteX32" fmla="*/ 5369182 w 8636594"/>
              <a:gd name="connsiteY32" fmla="*/ 4542793 h 5593409"/>
              <a:gd name="connsiteX33" fmla="*/ 5419038 w 8636594"/>
              <a:gd name="connsiteY33" fmla="*/ 4472771 h 5593409"/>
              <a:gd name="connsiteX34" fmla="*/ 5468365 w 8636594"/>
              <a:gd name="connsiteY34" fmla="*/ 4402196 h 5593409"/>
              <a:gd name="connsiteX35" fmla="*/ 5517215 w 8636594"/>
              <a:gd name="connsiteY35" fmla="*/ 4331098 h 5593409"/>
              <a:gd name="connsiteX36" fmla="*/ 5565637 w 8636594"/>
              <a:gd name="connsiteY36" fmla="*/ 4259503 h 5593409"/>
              <a:gd name="connsiteX37" fmla="*/ 5613684 w 8636594"/>
              <a:gd name="connsiteY37" fmla="*/ 4187441 h 5593409"/>
              <a:gd name="connsiteX38" fmla="*/ 5685160 w 8636594"/>
              <a:gd name="connsiteY38" fmla="*/ 4078531 h 5593409"/>
              <a:gd name="connsiteX39" fmla="*/ 5756074 w 8636594"/>
              <a:gd name="connsiteY39" fmla="*/ 3968727 h 5593409"/>
              <a:gd name="connsiteX40" fmla="*/ 5873483 w 8636594"/>
              <a:gd name="connsiteY40" fmla="*/ 3783989 h 5593409"/>
              <a:gd name="connsiteX41" fmla="*/ 6203209 w 8636594"/>
              <a:gd name="connsiteY41" fmla="*/ 3258640 h 5593409"/>
              <a:gd name="connsiteX42" fmla="*/ 6299430 w 8636594"/>
              <a:gd name="connsiteY42" fmla="*/ 3107321 h 5593409"/>
              <a:gd name="connsiteX43" fmla="*/ 6372650 w 8636594"/>
              <a:gd name="connsiteY43" fmla="*/ 2993735 h 5593409"/>
              <a:gd name="connsiteX44" fmla="*/ 6453197 w 8636594"/>
              <a:gd name="connsiteY44" fmla="*/ 2869788 h 5593409"/>
              <a:gd name="connsiteX45" fmla="*/ 6564167 w 8636594"/>
              <a:gd name="connsiteY45" fmla="*/ 2696807 h 5593409"/>
              <a:gd name="connsiteX46" fmla="*/ 6976233 w 8636594"/>
              <a:gd name="connsiteY46" fmla="*/ 2045274 h 5593409"/>
              <a:gd name="connsiteX47" fmla="*/ 7086755 w 8636594"/>
              <a:gd name="connsiteY47" fmla="*/ 1872743 h 5593409"/>
              <a:gd name="connsiteX48" fmla="*/ 7170279 w 8636594"/>
              <a:gd name="connsiteY48" fmla="*/ 1744202 h 5593409"/>
              <a:gd name="connsiteX49" fmla="*/ 7226351 w 8636594"/>
              <a:gd name="connsiteY49" fmla="*/ 1659017 h 5593409"/>
              <a:gd name="connsiteX50" fmla="*/ 7282789 w 8636594"/>
              <a:gd name="connsiteY50" fmla="*/ 1574303 h 5593409"/>
              <a:gd name="connsiteX51" fmla="*/ 7339643 w 8636594"/>
              <a:gd name="connsiteY51" fmla="*/ 1490113 h 5593409"/>
              <a:gd name="connsiteX52" fmla="*/ 7396957 w 8636594"/>
              <a:gd name="connsiteY52" fmla="*/ 1406503 h 5593409"/>
              <a:gd name="connsiteX53" fmla="*/ 7454781 w 8636594"/>
              <a:gd name="connsiteY53" fmla="*/ 1323526 h 5593409"/>
              <a:gd name="connsiteX54" fmla="*/ 7513161 w 8636594"/>
              <a:gd name="connsiteY54" fmla="*/ 1241237 h 5593409"/>
              <a:gd name="connsiteX55" fmla="*/ 7572144 w 8636594"/>
              <a:gd name="connsiteY55" fmla="*/ 1159689 h 5593409"/>
              <a:gd name="connsiteX56" fmla="*/ 7601877 w 8636594"/>
              <a:gd name="connsiteY56" fmla="*/ 1119210 h 5593409"/>
              <a:gd name="connsiteX57" fmla="*/ 7631779 w 8636594"/>
              <a:gd name="connsiteY57" fmla="*/ 1078937 h 5593409"/>
              <a:gd name="connsiteX58" fmla="*/ 7661855 w 8636594"/>
              <a:gd name="connsiteY58" fmla="*/ 1038876 h 5593409"/>
              <a:gd name="connsiteX59" fmla="*/ 7692111 w 8636594"/>
              <a:gd name="connsiteY59" fmla="*/ 999035 h 5593409"/>
              <a:gd name="connsiteX60" fmla="*/ 7722554 w 8636594"/>
              <a:gd name="connsiteY60" fmla="*/ 959419 h 5593409"/>
              <a:gd name="connsiteX61" fmla="*/ 7753190 w 8636594"/>
              <a:gd name="connsiteY61" fmla="*/ 920037 h 5593409"/>
              <a:gd name="connsiteX62" fmla="*/ 7784023 w 8636594"/>
              <a:gd name="connsiteY62" fmla="*/ 880894 h 5593409"/>
              <a:gd name="connsiteX63" fmla="*/ 7815061 w 8636594"/>
              <a:gd name="connsiteY63" fmla="*/ 841997 h 5593409"/>
              <a:gd name="connsiteX64" fmla="*/ 7846308 w 8636594"/>
              <a:gd name="connsiteY64" fmla="*/ 803354 h 5593409"/>
              <a:gd name="connsiteX65" fmla="*/ 7877772 w 8636594"/>
              <a:gd name="connsiteY65" fmla="*/ 764970 h 5593409"/>
              <a:gd name="connsiteX66" fmla="*/ 7909458 w 8636594"/>
              <a:gd name="connsiteY66" fmla="*/ 726853 h 5593409"/>
              <a:gd name="connsiteX67" fmla="*/ 7941371 w 8636594"/>
              <a:gd name="connsiteY67" fmla="*/ 689010 h 5593409"/>
              <a:gd name="connsiteX68" fmla="*/ 7973518 w 8636594"/>
              <a:gd name="connsiteY68" fmla="*/ 651447 h 5593409"/>
              <a:gd name="connsiteX69" fmla="*/ 8005905 w 8636594"/>
              <a:gd name="connsiteY69" fmla="*/ 614171 h 5593409"/>
              <a:gd name="connsiteX70" fmla="*/ 8038538 w 8636594"/>
              <a:gd name="connsiteY70" fmla="*/ 577189 h 5593409"/>
              <a:gd name="connsiteX71" fmla="*/ 8071421 w 8636594"/>
              <a:gd name="connsiteY71" fmla="*/ 540507 h 5593409"/>
              <a:gd name="connsiteX72" fmla="*/ 8104563 w 8636594"/>
              <a:gd name="connsiteY72" fmla="*/ 504132 h 5593409"/>
              <a:gd name="connsiteX73" fmla="*/ 8137967 w 8636594"/>
              <a:gd name="connsiteY73" fmla="*/ 468072 h 5593409"/>
              <a:gd name="connsiteX74" fmla="*/ 8171641 w 8636594"/>
              <a:gd name="connsiteY74" fmla="*/ 432332 h 5593409"/>
              <a:gd name="connsiteX75" fmla="*/ 8205590 w 8636594"/>
              <a:gd name="connsiteY75" fmla="*/ 396920 h 5593409"/>
              <a:gd name="connsiteX76" fmla="*/ 8239820 w 8636594"/>
              <a:gd name="connsiteY76" fmla="*/ 361843 h 5593409"/>
              <a:gd name="connsiteX77" fmla="*/ 8274337 w 8636594"/>
              <a:gd name="connsiteY77" fmla="*/ 327107 h 5593409"/>
              <a:gd name="connsiteX78" fmla="*/ 8309147 w 8636594"/>
              <a:gd name="connsiteY78" fmla="*/ 292718 h 5593409"/>
              <a:gd name="connsiteX79" fmla="*/ 8344256 w 8636594"/>
              <a:gd name="connsiteY79" fmla="*/ 258685 h 5593409"/>
              <a:gd name="connsiteX80" fmla="*/ 8379669 w 8636594"/>
              <a:gd name="connsiteY80" fmla="*/ 225013 h 5593409"/>
              <a:gd name="connsiteX81" fmla="*/ 8415394 w 8636594"/>
              <a:gd name="connsiteY81" fmla="*/ 191709 h 5593409"/>
              <a:gd name="connsiteX82" fmla="*/ 8451434 w 8636594"/>
              <a:gd name="connsiteY82" fmla="*/ 158780 h 5593409"/>
              <a:gd name="connsiteX83" fmla="*/ 8487798 w 8636594"/>
              <a:gd name="connsiteY83" fmla="*/ 126233 h 5593409"/>
              <a:gd name="connsiteX84" fmla="*/ 8524489 w 8636594"/>
              <a:gd name="connsiteY84" fmla="*/ 94075 h 5593409"/>
              <a:gd name="connsiteX85" fmla="*/ 8561515 w 8636594"/>
              <a:gd name="connsiteY85" fmla="*/ 62312 h 5593409"/>
              <a:gd name="connsiteX86" fmla="*/ 8598881 w 8636594"/>
              <a:gd name="connsiteY86" fmla="*/ 30951 h 5593409"/>
              <a:gd name="connsiteX87" fmla="*/ 8636594 w 8636594"/>
              <a:gd name="connsiteY87" fmla="*/ 0 h 5593409"/>
              <a:gd name="connsiteX0" fmla="*/ 8631811 w 8631811"/>
              <a:gd name="connsiteY0" fmla="*/ 0 h 5593409"/>
              <a:gd name="connsiteX1" fmla="*/ 510 w 8631811"/>
              <a:gd name="connsiteY1" fmla="*/ 0 h 5593409"/>
              <a:gd name="connsiteX2" fmla="*/ 510 w 8631811"/>
              <a:gd name="connsiteY2" fmla="*/ 5282464 h 5593409"/>
              <a:gd name="connsiteX3" fmla="*/ 4420379 w 8631811"/>
              <a:gd name="connsiteY3" fmla="*/ 5593409 h 5593409"/>
              <a:gd name="connsiteX4" fmla="*/ 4453498 w 8631811"/>
              <a:gd name="connsiteY4" fmla="*/ 5565111 h 5593409"/>
              <a:gd name="connsiteX5" fmla="*/ 4486270 w 8631811"/>
              <a:gd name="connsiteY5" fmla="*/ 5536556 h 5593409"/>
              <a:gd name="connsiteX6" fmla="*/ 4518701 w 8631811"/>
              <a:gd name="connsiteY6" fmla="*/ 5507747 h 5593409"/>
              <a:gd name="connsiteX7" fmla="*/ 4550797 w 8631811"/>
              <a:gd name="connsiteY7" fmla="*/ 5478687 h 5593409"/>
              <a:gd name="connsiteX8" fmla="*/ 4582564 w 8631811"/>
              <a:gd name="connsiteY8" fmla="*/ 5449380 h 5593409"/>
              <a:gd name="connsiteX9" fmla="*/ 4614010 w 8631811"/>
              <a:gd name="connsiteY9" fmla="*/ 5419830 h 5593409"/>
              <a:gd name="connsiteX10" fmla="*/ 4645139 w 8631811"/>
              <a:gd name="connsiteY10" fmla="*/ 5390040 h 5593409"/>
              <a:gd name="connsiteX11" fmla="*/ 4675959 w 8631811"/>
              <a:gd name="connsiteY11" fmla="*/ 5360014 h 5593409"/>
              <a:gd name="connsiteX12" fmla="*/ 4706476 w 8631811"/>
              <a:gd name="connsiteY12" fmla="*/ 5329755 h 5593409"/>
              <a:gd name="connsiteX13" fmla="*/ 4736695 w 8631811"/>
              <a:gd name="connsiteY13" fmla="*/ 5299266 h 5593409"/>
              <a:gd name="connsiteX14" fmla="*/ 4766625 w 8631811"/>
              <a:gd name="connsiteY14" fmla="*/ 5268551 h 5593409"/>
              <a:gd name="connsiteX15" fmla="*/ 4796270 w 8631811"/>
              <a:gd name="connsiteY15" fmla="*/ 5237614 h 5593409"/>
              <a:gd name="connsiteX16" fmla="*/ 4825637 w 8631811"/>
              <a:gd name="connsiteY16" fmla="*/ 5206458 h 5593409"/>
              <a:gd name="connsiteX17" fmla="*/ 4854733 w 8631811"/>
              <a:gd name="connsiteY17" fmla="*/ 5175087 h 5593409"/>
              <a:gd name="connsiteX18" fmla="*/ 4883564 w 8631811"/>
              <a:gd name="connsiteY18" fmla="*/ 5143504 h 5593409"/>
              <a:gd name="connsiteX19" fmla="*/ 4912136 w 8631811"/>
              <a:gd name="connsiteY19" fmla="*/ 5111713 h 5593409"/>
              <a:gd name="connsiteX20" fmla="*/ 4940455 w 8631811"/>
              <a:gd name="connsiteY20" fmla="*/ 5079717 h 5593409"/>
              <a:gd name="connsiteX21" fmla="*/ 4968528 w 8631811"/>
              <a:gd name="connsiteY21" fmla="*/ 5047519 h 5593409"/>
              <a:gd name="connsiteX22" fmla="*/ 4996362 w 8631811"/>
              <a:gd name="connsiteY22" fmla="*/ 5015124 h 5593409"/>
              <a:gd name="connsiteX23" fmla="*/ 5023962 w 8631811"/>
              <a:gd name="connsiteY23" fmla="*/ 4982535 h 5593409"/>
              <a:gd name="connsiteX24" fmla="*/ 5051334 w 8631811"/>
              <a:gd name="connsiteY24" fmla="*/ 4949755 h 5593409"/>
              <a:gd name="connsiteX25" fmla="*/ 5078486 w 8631811"/>
              <a:gd name="connsiteY25" fmla="*/ 4916787 h 5593409"/>
              <a:gd name="connsiteX26" fmla="*/ 5105424 w 8631811"/>
              <a:gd name="connsiteY26" fmla="*/ 4883636 h 5593409"/>
              <a:gd name="connsiteX27" fmla="*/ 5132154 w 8631811"/>
              <a:gd name="connsiteY27" fmla="*/ 4850305 h 5593409"/>
              <a:gd name="connsiteX28" fmla="*/ 5158681 w 8631811"/>
              <a:gd name="connsiteY28" fmla="*/ 4816797 h 5593409"/>
              <a:gd name="connsiteX29" fmla="*/ 5211157 w 8631811"/>
              <a:gd name="connsiteY29" fmla="*/ 4749265 h 5593409"/>
              <a:gd name="connsiteX30" fmla="*/ 5262901 w 8631811"/>
              <a:gd name="connsiteY30" fmla="*/ 4681068 h 5593409"/>
              <a:gd name="connsiteX31" fmla="*/ 5313965 w 8631811"/>
              <a:gd name="connsiteY31" fmla="*/ 4612234 h 5593409"/>
              <a:gd name="connsiteX32" fmla="*/ 5364399 w 8631811"/>
              <a:gd name="connsiteY32" fmla="*/ 4542793 h 5593409"/>
              <a:gd name="connsiteX33" fmla="*/ 5414255 w 8631811"/>
              <a:gd name="connsiteY33" fmla="*/ 4472771 h 5593409"/>
              <a:gd name="connsiteX34" fmla="*/ 5463582 w 8631811"/>
              <a:gd name="connsiteY34" fmla="*/ 4402196 h 5593409"/>
              <a:gd name="connsiteX35" fmla="*/ 5512432 w 8631811"/>
              <a:gd name="connsiteY35" fmla="*/ 4331098 h 5593409"/>
              <a:gd name="connsiteX36" fmla="*/ 5560854 w 8631811"/>
              <a:gd name="connsiteY36" fmla="*/ 4259503 h 5593409"/>
              <a:gd name="connsiteX37" fmla="*/ 5608901 w 8631811"/>
              <a:gd name="connsiteY37" fmla="*/ 4187441 h 5593409"/>
              <a:gd name="connsiteX38" fmla="*/ 5680377 w 8631811"/>
              <a:gd name="connsiteY38" fmla="*/ 4078531 h 5593409"/>
              <a:gd name="connsiteX39" fmla="*/ 5751291 w 8631811"/>
              <a:gd name="connsiteY39" fmla="*/ 3968727 h 5593409"/>
              <a:gd name="connsiteX40" fmla="*/ 5868700 w 8631811"/>
              <a:gd name="connsiteY40" fmla="*/ 3783989 h 5593409"/>
              <a:gd name="connsiteX41" fmla="*/ 6198426 w 8631811"/>
              <a:gd name="connsiteY41" fmla="*/ 3258640 h 5593409"/>
              <a:gd name="connsiteX42" fmla="*/ 6294647 w 8631811"/>
              <a:gd name="connsiteY42" fmla="*/ 3107321 h 5593409"/>
              <a:gd name="connsiteX43" fmla="*/ 6367867 w 8631811"/>
              <a:gd name="connsiteY43" fmla="*/ 2993735 h 5593409"/>
              <a:gd name="connsiteX44" fmla="*/ 6448414 w 8631811"/>
              <a:gd name="connsiteY44" fmla="*/ 2869788 h 5593409"/>
              <a:gd name="connsiteX45" fmla="*/ 6559384 w 8631811"/>
              <a:gd name="connsiteY45" fmla="*/ 2696807 h 5593409"/>
              <a:gd name="connsiteX46" fmla="*/ 6971450 w 8631811"/>
              <a:gd name="connsiteY46" fmla="*/ 2045274 h 5593409"/>
              <a:gd name="connsiteX47" fmla="*/ 7081972 w 8631811"/>
              <a:gd name="connsiteY47" fmla="*/ 1872743 h 5593409"/>
              <a:gd name="connsiteX48" fmla="*/ 7165496 w 8631811"/>
              <a:gd name="connsiteY48" fmla="*/ 1744202 h 5593409"/>
              <a:gd name="connsiteX49" fmla="*/ 7221568 w 8631811"/>
              <a:gd name="connsiteY49" fmla="*/ 1659017 h 5593409"/>
              <a:gd name="connsiteX50" fmla="*/ 7278006 w 8631811"/>
              <a:gd name="connsiteY50" fmla="*/ 1574303 h 5593409"/>
              <a:gd name="connsiteX51" fmla="*/ 7334860 w 8631811"/>
              <a:gd name="connsiteY51" fmla="*/ 1490113 h 5593409"/>
              <a:gd name="connsiteX52" fmla="*/ 7392174 w 8631811"/>
              <a:gd name="connsiteY52" fmla="*/ 1406503 h 5593409"/>
              <a:gd name="connsiteX53" fmla="*/ 7449998 w 8631811"/>
              <a:gd name="connsiteY53" fmla="*/ 1323526 h 5593409"/>
              <a:gd name="connsiteX54" fmla="*/ 7508378 w 8631811"/>
              <a:gd name="connsiteY54" fmla="*/ 1241237 h 5593409"/>
              <a:gd name="connsiteX55" fmla="*/ 7567361 w 8631811"/>
              <a:gd name="connsiteY55" fmla="*/ 1159689 h 5593409"/>
              <a:gd name="connsiteX56" fmla="*/ 7597094 w 8631811"/>
              <a:gd name="connsiteY56" fmla="*/ 1119210 h 5593409"/>
              <a:gd name="connsiteX57" fmla="*/ 7626996 w 8631811"/>
              <a:gd name="connsiteY57" fmla="*/ 1078937 h 5593409"/>
              <a:gd name="connsiteX58" fmla="*/ 7657072 w 8631811"/>
              <a:gd name="connsiteY58" fmla="*/ 1038876 h 5593409"/>
              <a:gd name="connsiteX59" fmla="*/ 7687328 w 8631811"/>
              <a:gd name="connsiteY59" fmla="*/ 999035 h 5593409"/>
              <a:gd name="connsiteX60" fmla="*/ 7717771 w 8631811"/>
              <a:gd name="connsiteY60" fmla="*/ 959419 h 5593409"/>
              <a:gd name="connsiteX61" fmla="*/ 7748407 w 8631811"/>
              <a:gd name="connsiteY61" fmla="*/ 920037 h 5593409"/>
              <a:gd name="connsiteX62" fmla="*/ 7779240 w 8631811"/>
              <a:gd name="connsiteY62" fmla="*/ 880894 h 5593409"/>
              <a:gd name="connsiteX63" fmla="*/ 7810278 w 8631811"/>
              <a:gd name="connsiteY63" fmla="*/ 841997 h 5593409"/>
              <a:gd name="connsiteX64" fmla="*/ 7841525 w 8631811"/>
              <a:gd name="connsiteY64" fmla="*/ 803354 h 5593409"/>
              <a:gd name="connsiteX65" fmla="*/ 7872989 w 8631811"/>
              <a:gd name="connsiteY65" fmla="*/ 764970 h 5593409"/>
              <a:gd name="connsiteX66" fmla="*/ 7904675 w 8631811"/>
              <a:gd name="connsiteY66" fmla="*/ 726853 h 5593409"/>
              <a:gd name="connsiteX67" fmla="*/ 7936588 w 8631811"/>
              <a:gd name="connsiteY67" fmla="*/ 689010 h 5593409"/>
              <a:gd name="connsiteX68" fmla="*/ 7968735 w 8631811"/>
              <a:gd name="connsiteY68" fmla="*/ 651447 h 5593409"/>
              <a:gd name="connsiteX69" fmla="*/ 8001122 w 8631811"/>
              <a:gd name="connsiteY69" fmla="*/ 614171 h 5593409"/>
              <a:gd name="connsiteX70" fmla="*/ 8033755 w 8631811"/>
              <a:gd name="connsiteY70" fmla="*/ 577189 h 5593409"/>
              <a:gd name="connsiteX71" fmla="*/ 8066638 w 8631811"/>
              <a:gd name="connsiteY71" fmla="*/ 540507 h 5593409"/>
              <a:gd name="connsiteX72" fmla="*/ 8099780 w 8631811"/>
              <a:gd name="connsiteY72" fmla="*/ 504132 h 5593409"/>
              <a:gd name="connsiteX73" fmla="*/ 8133184 w 8631811"/>
              <a:gd name="connsiteY73" fmla="*/ 468072 h 5593409"/>
              <a:gd name="connsiteX74" fmla="*/ 8166858 w 8631811"/>
              <a:gd name="connsiteY74" fmla="*/ 432332 h 5593409"/>
              <a:gd name="connsiteX75" fmla="*/ 8200807 w 8631811"/>
              <a:gd name="connsiteY75" fmla="*/ 396920 h 5593409"/>
              <a:gd name="connsiteX76" fmla="*/ 8235037 w 8631811"/>
              <a:gd name="connsiteY76" fmla="*/ 361843 h 5593409"/>
              <a:gd name="connsiteX77" fmla="*/ 8269554 w 8631811"/>
              <a:gd name="connsiteY77" fmla="*/ 327107 h 5593409"/>
              <a:gd name="connsiteX78" fmla="*/ 8304364 w 8631811"/>
              <a:gd name="connsiteY78" fmla="*/ 292718 h 5593409"/>
              <a:gd name="connsiteX79" fmla="*/ 8339473 w 8631811"/>
              <a:gd name="connsiteY79" fmla="*/ 258685 h 5593409"/>
              <a:gd name="connsiteX80" fmla="*/ 8374886 w 8631811"/>
              <a:gd name="connsiteY80" fmla="*/ 225013 h 5593409"/>
              <a:gd name="connsiteX81" fmla="*/ 8410611 w 8631811"/>
              <a:gd name="connsiteY81" fmla="*/ 191709 h 5593409"/>
              <a:gd name="connsiteX82" fmla="*/ 8446651 w 8631811"/>
              <a:gd name="connsiteY82" fmla="*/ 158780 h 5593409"/>
              <a:gd name="connsiteX83" fmla="*/ 8483015 w 8631811"/>
              <a:gd name="connsiteY83" fmla="*/ 126233 h 5593409"/>
              <a:gd name="connsiteX84" fmla="*/ 8519706 w 8631811"/>
              <a:gd name="connsiteY84" fmla="*/ 94075 h 5593409"/>
              <a:gd name="connsiteX85" fmla="*/ 8556732 w 8631811"/>
              <a:gd name="connsiteY85" fmla="*/ 62312 h 5593409"/>
              <a:gd name="connsiteX86" fmla="*/ 8594098 w 8631811"/>
              <a:gd name="connsiteY86" fmla="*/ 30951 h 5593409"/>
              <a:gd name="connsiteX87" fmla="*/ 8631811 w 8631811"/>
              <a:gd name="connsiteY87" fmla="*/ 0 h 5593409"/>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10058"/>
              <a:gd name="connsiteX1" fmla="*/ 510 w 8631811"/>
              <a:gd name="connsiteY1" fmla="*/ 0 h 5610058"/>
              <a:gd name="connsiteX2" fmla="*/ 510 w 8631811"/>
              <a:gd name="connsiteY2" fmla="*/ 5593952 h 5610058"/>
              <a:gd name="connsiteX3" fmla="*/ 4420379 w 8631811"/>
              <a:gd name="connsiteY3" fmla="*/ 5593409 h 5610058"/>
              <a:gd name="connsiteX4" fmla="*/ 4453498 w 8631811"/>
              <a:gd name="connsiteY4" fmla="*/ 5565111 h 5610058"/>
              <a:gd name="connsiteX5" fmla="*/ 4486270 w 8631811"/>
              <a:gd name="connsiteY5" fmla="*/ 5536556 h 5610058"/>
              <a:gd name="connsiteX6" fmla="*/ 4518701 w 8631811"/>
              <a:gd name="connsiteY6" fmla="*/ 5507747 h 5610058"/>
              <a:gd name="connsiteX7" fmla="*/ 4550797 w 8631811"/>
              <a:gd name="connsiteY7" fmla="*/ 5478687 h 5610058"/>
              <a:gd name="connsiteX8" fmla="*/ 4582564 w 8631811"/>
              <a:gd name="connsiteY8" fmla="*/ 5449380 h 5610058"/>
              <a:gd name="connsiteX9" fmla="*/ 4614010 w 8631811"/>
              <a:gd name="connsiteY9" fmla="*/ 5419830 h 5610058"/>
              <a:gd name="connsiteX10" fmla="*/ 4645139 w 8631811"/>
              <a:gd name="connsiteY10" fmla="*/ 5390040 h 5610058"/>
              <a:gd name="connsiteX11" fmla="*/ 4675959 w 8631811"/>
              <a:gd name="connsiteY11" fmla="*/ 5360014 h 5610058"/>
              <a:gd name="connsiteX12" fmla="*/ 4706476 w 8631811"/>
              <a:gd name="connsiteY12" fmla="*/ 5329755 h 5610058"/>
              <a:gd name="connsiteX13" fmla="*/ 4736695 w 8631811"/>
              <a:gd name="connsiteY13" fmla="*/ 5299266 h 5610058"/>
              <a:gd name="connsiteX14" fmla="*/ 4766625 w 8631811"/>
              <a:gd name="connsiteY14" fmla="*/ 5268551 h 5610058"/>
              <a:gd name="connsiteX15" fmla="*/ 4796270 w 8631811"/>
              <a:gd name="connsiteY15" fmla="*/ 5237614 h 5610058"/>
              <a:gd name="connsiteX16" fmla="*/ 4825637 w 8631811"/>
              <a:gd name="connsiteY16" fmla="*/ 5206458 h 5610058"/>
              <a:gd name="connsiteX17" fmla="*/ 4854733 w 8631811"/>
              <a:gd name="connsiteY17" fmla="*/ 5175087 h 5610058"/>
              <a:gd name="connsiteX18" fmla="*/ 4883564 w 8631811"/>
              <a:gd name="connsiteY18" fmla="*/ 5143504 h 5610058"/>
              <a:gd name="connsiteX19" fmla="*/ 4912136 w 8631811"/>
              <a:gd name="connsiteY19" fmla="*/ 5111713 h 5610058"/>
              <a:gd name="connsiteX20" fmla="*/ 4940455 w 8631811"/>
              <a:gd name="connsiteY20" fmla="*/ 5079717 h 5610058"/>
              <a:gd name="connsiteX21" fmla="*/ 4968528 w 8631811"/>
              <a:gd name="connsiteY21" fmla="*/ 5047519 h 5610058"/>
              <a:gd name="connsiteX22" fmla="*/ 4996362 w 8631811"/>
              <a:gd name="connsiteY22" fmla="*/ 5015124 h 5610058"/>
              <a:gd name="connsiteX23" fmla="*/ 5023962 w 8631811"/>
              <a:gd name="connsiteY23" fmla="*/ 4982535 h 5610058"/>
              <a:gd name="connsiteX24" fmla="*/ 5051334 w 8631811"/>
              <a:gd name="connsiteY24" fmla="*/ 4949755 h 5610058"/>
              <a:gd name="connsiteX25" fmla="*/ 5078486 w 8631811"/>
              <a:gd name="connsiteY25" fmla="*/ 4916787 h 5610058"/>
              <a:gd name="connsiteX26" fmla="*/ 5105424 w 8631811"/>
              <a:gd name="connsiteY26" fmla="*/ 4883636 h 5610058"/>
              <a:gd name="connsiteX27" fmla="*/ 5132154 w 8631811"/>
              <a:gd name="connsiteY27" fmla="*/ 4850305 h 5610058"/>
              <a:gd name="connsiteX28" fmla="*/ 5158681 w 8631811"/>
              <a:gd name="connsiteY28" fmla="*/ 4816797 h 5610058"/>
              <a:gd name="connsiteX29" fmla="*/ 5211157 w 8631811"/>
              <a:gd name="connsiteY29" fmla="*/ 4749265 h 5610058"/>
              <a:gd name="connsiteX30" fmla="*/ 5262901 w 8631811"/>
              <a:gd name="connsiteY30" fmla="*/ 4681068 h 5610058"/>
              <a:gd name="connsiteX31" fmla="*/ 5313965 w 8631811"/>
              <a:gd name="connsiteY31" fmla="*/ 4612234 h 5610058"/>
              <a:gd name="connsiteX32" fmla="*/ 5364399 w 8631811"/>
              <a:gd name="connsiteY32" fmla="*/ 4542793 h 5610058"/>
              <a:gd name="connsiteX33" fmla="*/ 5414255 w 8631811"/>
              <a:gd name="connsiteY33" fmla="*/ 4472771 h 5610058"/>
              <a:gd name="connsiteX34" fmla="*/ 5463582 w 8631811"/>
              <a:gd name="connsiteY34" fmla="*/ 4402196 h 5610058"/>
              <a:gd name="connsiteX35" fmla="*/ 5512432 w 8631811"/>
              <a:gd name="connsiteY35" fmla="*/ 4331098 h 5610058"/>
              <a:gd name="connsiteX36" fmla="*/ 5560854 w 8631811"/>
              <a:gd name="connsiteY36" fmla="*/ 4259503 h 5610058"/>
              <a:gd name="connsiteX37" fmla="*/ 5608901 w 8631811"/>
              <a:gd name="connsiteY37" fmla="*/ 4187441 h 5610058"/>
              <a:gd name="connsiteX38" fmla="*/ 5680377 w 8631811"/>
              <a:gd name="connsiteY38" fmla="*/ 4078531 h 5610058"/>
              <a:gd name="connsiteX39" fmla="*/ 5751291 w 8631811"/>
              <a:gd name="connsiteY39" fmla="*/ 3968727 h 5610058"/>
              <a:gd name="connsiteX40" fmla="*/ 5868700 w 8631811"/>
              <a:gd name="connsiteY40" fmla="*/ 3783989 h 5610058"/>
              <a:gd name="connsiteX41" fmla="*/ 6198426 w 8631811"/>
              <a:gd name="connsiteY41" fmla="*/ 3258640 h 5610058"/>
              <a:gd name="connsiteX42" fmla="*/ 6294647 w 8631811"/>
              <a:gd name="connsiteY42" fmla="*/ 3107321 h 5610058"/>
              <a:gd name="connsiteX43" fmla="*/ 6367867 w 8631811"/>
              <a:gd name="connsiteY43" fmla="*/ 2993735 h 5610058"/>
              <a:gd name="connsiteX44" fmla="*/ 6448414 w 8631811"/>
              <a:gd name="connsiteY44" fmla="*/ 2869788 h 5610058"/>
              <a:gd name="connsiteX45" fmla="*/ 6559384 w 8631811"/>
              <a:gd name="connsiteY45" fmla="*/ 2696807 h 5610058"/>
              <a:gd name="connsiteX46" fmla="*/ 6971450 w 8631811"/>
              <a:gd name="connsiteY46" fmla="*/ 2045274 h 5610058"/>
              <a:gd name="connsiteX47" fmla="*/ 7081972 w 8631811"/>
              <a:gd name="connsiteY47" fmla="*/ 1872743 h 5610058"/>
              <a:gd name="connsiteX48" fmla="*/ 7165496 w 8631811"/>
              <a:gd name="connsiteY48" fmla="*/ 1744202 h 5610058"/>
              <a:gd name="connsiteX49" fmla="*/ 7221568 w 8631811"/>
              <a:gd name="connsiteY49" fmla="*/ 1659017 h 5610058"/>
              <a:gd name="connsiteX50" fmla="*/ 7278006 w 8631811"/>
              <a:gd name="connsiteY50" fmla="*/ 1574303 h 5610058"/>
              <a:gd name="connsiteX51" fmla="*/ 7334860 w 8631811"/>
              <a:gd name="connsiteY51" fmla="*/ 1490113 h 5610058"/>
              <a:gd name="connsiteX52" fmla="*/ 7392174 w 8631811"/>
              <a:gd name="connsiteY52" fmla="*/ 1406503 h 5610058"/>
              <a:gd name="connsiteX53" fmla="*/ 7449998 w 8631811"/>
              <a:gd name="connsiteY53" fmla="*/ 1323526 h 5610058"/>
              <a:gd name="connsiteX54" fmla="*/ 7508378 w 8631811"/>
              <a:gd name="connsiteY54" fmla="*/ 1241237 h 5610058"/>
              <a:gd name="connsiteX55" fmla="*/ 7567361 w 8631811"/>
              <a:gd name="connsiteY55" fmla="*/ 1159689 h 5610058"/>
              <a:gd name="connsiteX56" fmla="*/ 7597094 w 8631811"/>
              <a:gd name="connsiteY56" fmla="*/ 1119210 h 5610058"/>
              <a:gd name="connsiteX57" fmla="*/ 7626996 w 8631811"/>
              <a:gd name="connsiteY57" fmla="*/ 1078937 h 5610058"/>
              <a:gd name="connsiteX58" fmla="*/ 7657072 w 8631811"/>
              <a:gd name="connsiteY58" fmla="*/ 1038876 h 5610058"/>
              <a:gd name="connsiteX59" fmla="*/ 7687328 w 8631811"/>
              <a:gd name="connsiteY59" fmla="*/ 999035 h 5610058"/>
              <a:gd name="connsiteX60" fmla="*/ 7717771 w 8631811"/>
              <a:gd name="connsiteY60" fmla="*/ 959419 h 5610058"/>
              <a:gd name="connsiteX61" fmla="*/ 7748407 w 8631811"/>
              <a:gd name="connsiteY61" fmla="*/ 920037 h 5610058"/>
              <a:gd name="connsiteX62" fmla="*/ 7779240 w 8631811"/>
              <a:gd name="connsiteY62" fmla="*/ 880894 h 5610058"/>
              <a:gd name="connsiteX63" fmla="*/ 7810278 w 8631811"/>
              <a:gd name="connsiteY63" fmla="*/ 841997 h 5610058"/>
              <a:gd name="connsiteX64" fmla="*/ 7841525 w 8631811"/>
              <a:gd name="connsiteY64" fmla="*/ 803354 h 5610058"/>
              <a:gd name="connsiteX65" fmla="*/ 7872989 w 8631811"/>
              <a:gd name="connsiteY65" fmla="*/ 764970 h 5610058"/>
              <a:gd name="connsiteX66" fmla="*/ 7904675 w 8631811"/>
              <a:gd name="connsiteY66" fmla="*/ 726853 h 5610058"/>
              <a:gd name="connsiteX67" fmla="*/ 7936588 w 8631811"/>
              <a:gd name="connsiteY67" fmla="*/ 689010 h 5610058"/>
              <a:gd name="connsiteX68" fmla="*/ 7968735 w 8631811"/>
              <a:gd name="connsiteY68" fmla="*/ 651447 h 5610058"/>
              <a:gd name="connsiteX69" fmla="*/ 8001122 w 8631811"/>
              <a:gd name="connsiteY69" fmla="*/ 614171 h 5610058"/>
              <a:gd name="connsiteX70" fmla="*/ 8033755 w 8631811"/>
              <a:gd name="connsiteY70" fmla="*/ 577189 h 5610058"/>
              <a:gd name="connsiteX71" fmla="*/ 8066638 w 8631811"/>
              <a:gd name="connsiteY71" fmla="*/ 540507 h 5610058"/>
              <a:gd name="connsiteX72" fmla="*/ 8099780 w 8631811"/>
              <a:gd name="connsiteY72" fmla="*/ 504132 h 5610058"/>
              <a:gd name="connsiteX73" fmla="*/ 8133184 w 8631811"/>
              <a:gd name="connsiteY73" fmla="*/ 468072 h 5610058"/>
              <a:gd name="connsiteX74" fmla="*/ 8166858 w 8631811"/>
              <a:gd name="connsiteY74" fmla="*/ 432332 h 5610058"/>
              <a:gd name="connsiteX75" fmla="*/ 8200807 w 8631811"/>
              <a:gd name="connsiteY75" fmla="*/ 396920 h 5610058"/>
              <a:gd name="connsiteX76" fmla="*/ 8235037 w 8631811"/>
              <a:gd name="connsiteY76" fmla="*/ 361843 h 5610058"/>
              <a:gd name="connsiteX77" fmla="*/ 8269554 w 8631811"/>
              <a:gd name="connsiteY77" fmla="*/ 327107 h 5610058"/>
              <a:gd name="connsiteX78" fmla="*/ 8304364 w 8631811"/>
              <a:gd name="connsiteY78" fmla="*/ 292718 h 5610058"/>
              <a:gd name="connsiteX79" fmla="*/ 8339473 w 8631811"/>
              <a:gd name="connsiteY79" fmla="*/ 258685 h 5610058"/>
              <a:gd name="connsiteX80" fmla="*/ 8374886 w 8631811"/>
              <a:gd name="connsiteY80" fmla="*/ 225013 h 5610058"/>
              <a:gd name="connsiteX81" fmla="*/ 8410611 w 8631811"/>
              <a:gd name="connsiteY81" fmla="*/ 191709 h 5610058"/>
              <a:gd name="connsiteX82" fmla="*/ 8446651 w 8631811"/>
              <a:gd name="connsiteY82" fmla="*/ 158780 h 5610058"/>
              <a:gd name="connsiteX83" fmla="*/ 8483015 w 8631811"/>
              <a:gd name="connsiteY83" fmla="*/ 126233 h 5610058"/>
              <a:gd name="connsiteX84" fmla="*/ 8519706 w 8631811"/>
              <a:gd name="connsiteY84" fmla="*/ 94075 h 5610058"/>
              <a:gd name="connsiteX85" fmla="*/ 8556732 w 8631811"/>
              <a:gd name="connsiteY85" fmla="*/ 62312 h 5610058"/>
              <a:gd name="connsiteX86" fmla="*/ 8594098 w 8631811"/>
              <a:gd name="connsiteY86" fmla="*/ 30951 h 5610058"/>
              <a:gd name="connsiteX87" fmla="*/ 8631811 w 8631811"/>
              <a:gd name="connsiteY87" fmla="*/ 0 h 5610058"/>
              <a:gd name="connsiteX0" fmla="*/ 8631811 w 8631811"/>
              <a:gd name="connsiteY0" fmla="*/ 0 h 5593952"/>
              <a:gd name="connsiteX1" fmla="*/ 510 w 8631811"/>
              <a:gd name="connsiteY1" fmla="*/ 0 h 5593952"/>
              <a:gd name="connsiteX2" fmla="*/ 510 w 8631811"/>
              <a:gd name="connsiteY2" fmla="*/ 5593952 h 5593952"/>
              <a:gd name="connsiteX3" fmla="*/ 4420379 w 8631811"/>
              <a:gd name="connsiteY3" fmla="*/ 5593409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9020"/>
              <a:gd name="connsiteX1" fmla="*/ 510 w 8631811"/>
              <a:gd name="connsiteY1" fmla="*/ 0 h 5599020"/>
              <a:gd name="connsiteX2" fmla="*/ 510 w 8631811"/>
              <a:gd name="connsiteY2" fmla="*/ 5593952 h 5599020"/>
              <a:gd name="connsiteX3" fmla="*/ 4420379 w 8631811"/>
              <a:gd name="connsiteY3" fmla="*/ 5593409 h 5599020"/>
              <a:gd name="connsiteX4" fmla="*/ 4453498 w 8631811"/>
              <a:gd name="connsiteY4" fmla="*/ 5565111 h 5599020"/>
              <a:gd name="connsiteX5" fmla="*/ 4486270 w 8631811"/>
              <a:gd name="connsiteY5" fmla="*/ 5536556 h 5599020"/>
              <a:gd name="connsiteX6" fmla="*/ 4518701 w 8631811"/>
              <a:gd name="connsiteY6" fmla="*/ 5507747 h 5599020"/>
              <a:gd name="connsiteX7" fmla="*/ 4550797 w 8631811"/>
              <a:gd name="connsiteY7" fmla="*/ 5478687 h 5599020"/>
              <a:gd name="connsiteX8" fmla="*/ 4582564 w 8631811"/>
              <a:gd name="connsiteY8" fmla="*/ 5449380 h 5599020"/>
              <a:gd name="connsiteX9" fmla="*/ 4614010 w 8631811"/>
              <a:gd name="connsiteY9" fmla="*/ 5419830 h 5599020"/>
              <a:gd name="connsiteX10" fmla="*/ 4645139 w 8631811"/>
              <a:gd name="connsiteY10" fmla="*/ 5390040 h 5599020"/>
              <a:gd name="connsiteX11" fmla="*/ 4675959 w 8631811"/>
              <a:gd name="connsiteY11" fmla="*/ 5360014 h 5599020"/>
              <a:gd name="connsiteX12" fmla="*/ 4706476 w 8631811"/>
              <a:gd name="connsiteY12" fmla="*/ 5329755 h 5599020"/>
              <a:gd name="connsiteX13" fmla="*/ 4736695 w 8631811"/>
              <a:gd name="connsiteY13" fmla="*/ 5299266 h 5599020"/>
              <a:gd name="connsiteX14" fmla="*/ 4766625 w 8631811"/>
              <a:gd name="connsiteY14" fmla="*/ 5268551 h 5599020"/>
              <a:gd name="connsiteX15" fmla="*/ 4796270 w 8631811"/>
              <a:gd name="connsiteY15" fmla="*/ 5237614 h 5599020"/>
              <a:gd name="connsiteX16" fmla="*/ 4825637 w 8631811"/>
              <a:gd name="connsiteY16" fmla="*/ 5206458 h 5599020"/>
              <a:gd name="connsiteX17" fmla="*/ 4854733 w 8631811"/>
              <a:gd name="connsiteY17" fmla="*/ 5175087 h 5599020"/>
              <a:gd name="connsiteX18" fmla="*/ 4883564 w 8631811"/>
              <a:gd name="connsiteY18" fmla="*/ 5143504 h 5599020"/>
              <a:gd name="connsiteX19" fmla="*/ 4912136 w 8631811"/>
              <a:gd name="connsiteY19" fmla="*/ 5111713 h 5599020"/>
              <a:gd name="connsiteX20" fmla="*/ 4940455 w 8631811"/>
              <a:gd name="connsiteY20" fmla="*/ 5079717 h 5599020"/>
              <a:gd name="connsiteX21" fmla="*/ 4968528 w 8631811"/>
              <a:gd name="connsiteY21" fmla="*/ 5047519 h 5599020"/>
              <a:gd name="connsiteX22" fmla="*/ 4996362 w 8631811"/>
              <a:gd name="connsiteY22" fmla="*/ 5015124 h 5599020"/>
              <a:gd name="connsiteX23" fmla="*/ 5023962 w 8631811"/>
              <a:gd name="connsiteY23" fmla="*/ 4982535 h 5599020"/>
              <a:gd name="connsiteX24" fmla="*/ 5051334 w 8631811"/>
              <a:gd name="connsiteY24" fmla="*/ 4949755 h 5599020"/>
              <a:gd name="connsiteX25" fmla="*/ 5078486 w 8631811"/>
              <a:gd name="connsiteY25" fmla="*/ 4916787 h 5599020"/>
              <a:gd name="connsiteX26" fmla="*/ 5105424 w 8631811"/>
              <a:gd name="connsiteY26" fmla="*/ 4883636 h 5599020"/>
              <a:gd name="connsiteX27" fmla="*/ 5132154 w 8631811"/>
              <a:gd name="connsiteY27" fmla="*/ 4850305 h 5599020"/>
              <a:gd name="connsiteX28" fmla="*/ 5158681 w 8631811"/>
              <a:gd name="connsiteY28" fmla="*/ 4816797 h 5599020"/>
              <a:gd name="connsiteX29" fmla="*/ 5211157 w 8631811"/>
              <a:gd name="connsiteY29" fmla="*/ 4749265 h 5599020"/>
              <a:gd name="connsiteX30" fmla="*/ 5262901 w 8631811"/>
              <a:gd name="connsiteY30" fmla="*/ 4681068 h 5599020"/>
              <a:gd name="connsiteX31" fmla="*/ 5313965 w 8631811"/>
              <a:gd name="connsiteY31" fmla="*/ 4612234 h 5599020"/>
              <a:gd name="connsiteX32" fmla="*/ 5364399 w 8631811"/>
              <a:gd name="connsiteY32" fmla="*/ 4542793 h 5599020"/>
              <a:gd name="connsiteX33" fmla="*/ 5414255 w 8631811"/>
              <a:gd name="connsiteY33" fmla="*/ 4472771 h 5599020"/>
              <a:gd name="connsiteX34" fmla="*/ 5463582 w 8631811"/>
              <a:gd name="connsiteY34" fmla="*/ 4402196 h 5599020"/>
              <a:gd name="connsiteX35" fmla="*/ 5512432 w 8631811"/>
              <a:gd name="connsiteY35" fmla="*/ 4331098 h 5599020"/>
              <a:gd name="connsiteX36" fmla="*/ 5560854 w 8631811"/>
              <a:gd name="connsiteY36" fmla="*/ 4259503 h 5599020"/>
              <a:gd name="connsiteX37" fmla="*/ 5608901 w 8631811"/>
              <a:gd name="connsiteY37" fmla="*/ 4187441 h 5599020"/>
              <a:gd name="connsiteX38" fmla="*/ 5680377 w 8631811"/>
              <a:gd name="connsiteY38" fmla="*/ 4078531 h 5599020"/>
              <a:gd name="connsiteX39" fmla="*/ 5751291 w 8631811"/>
              <a:gd name="connsiteY39" fmla="*/ 3968727 h 5599020"/>
              <a:gd name="connsiteX40" fmla="*/ 5868700 w 8631811"/>
              <a:gd name="connsiteY40" fmla="*/ 3783989 h 5599020"/>
              <a:gd name="connsiteX41" fmla="*/ 6198426 w 8631811"/>
              <a:gd name="connsiteY41" fmla="*/ 3258640 h 5599020"/>
              <a:gd name="connsiteX42" fmla="*/ 6294647 w 8631811"/>
              <a:gd name="connsiteY42" fmla="*/ 3107321 h 5599020"/>
              <a:gd name="connsiteX43" fmla="*/ 6367867 w 8631811"/>
              <a:gd name="connsiteY43" fmla="*/ 2993735 h 5599020"/>
              <a:gd name="connsiteX44" fmla="*/ 6448414 w 8631811"/>
              <a:gd name="connsiteY44" fmla="*/ 2869788 h 5599020"/>
              <a:gd name="connsiteX45" fmla="*/ 6559384 w 8631811"/>
              <a:gd name="connsiteY45" fmla="*/ 2696807 h 5599020"/>
              <a:gd name="connsiteX46" fmla="*/ 6971450 w 8631811"/>
              <a:gd name="connsiteY46" fmla="*/ 2045274 h 5599020"/>
              <a:gd name="connsiteX47" fmla="*/ 7081972 w 8631811"/>
              <a:gd name="connsiteY47" fmla="*/ 1872743 h 5599020"/>
              <a:gd name="connsiteX48" fmla="*/ 7165496 w 8631811"/>
              <a:gd name="connsiteY48" fmla="*/ 1744202 h 5599020"/>
              <a:gd name="connsiteX49" fmla="*/ 7221568 w 8631811"/>
              <a:gd name="connsiteY49" fmla="*/ 1659017 h 5599020"/>
              <a:gd name="connsiteX50" fmla="*/ 7278006 w 8631811"/>
              <a:gd name="connsiteY50" fmla="*/ 1574303 h 5599020"/>
              <a:gd name="connsiteX51" fmla="*/ 7334860 w 8631811"/>
              <a:gd name="connsiteY51" fmla="*/ 1490113 h 5599020"/>
              <a:gd name="connsiteX52" fmla="*/ 7392174 w 8631811"/>
              <a:gd name="connsiteY52" fmla="*/ 1406503 h 5599020"/>
              <a:gd name="connsiteX53" fmla="*/ 7449998 w 8631811"/>
              <a:gd name="connsiteY53" fmla="*/ 1323526 h 5599020"/>
              <a:gd name="connsiteX54" fmla="*/ 7508378 w 8631811"/>
              <a:gd name="connsiteY54" fmla="*/ 1241237 h 5599020"/>
              <a:gd name="connsiteX55" fmla="*/ 7567361 w 8631811"/>
              <a:gd name="connsiteY55" fmla="*/ 1159689 h 5599020"/>
              <a:gd name="connsiteX56" fmla="*/ 7597094 w 8631811"/>
              <a:gd name="connsiteY56" fmla="*/ 1119210 h 5599020"/>
              <a:gd name="connsiteX57" fmla="*/ 7626996 w 8631811"/>
              <a:gd name="connsiteY57" fmla="*/ 1078937 h 5599020"/>
              <a:gd name="connsiteX58" fmla="*/ 7657072 w 8631811"/>
              <a:gd name="connsiteY58" fmla="*/ 1038876 h 5599020"/>
              <a:gd name="connsiteX59" fmla="*/ 7687328 w 8631811"/>
              <a:gd name="connsiteY59" fmla="*/ 999035 h 5599020"/>
              <a:gd name="connsiteX60" fmla="*/ 7717771 w 8631811"/>
              <a:gd name="connsiteY60" fmla="*/ 959419 h 5599020"/>
              <a:gd name="connsiteX61" fmla="*/ 7748407 w 8631811"/>
              <a:gd name="connsiteY61" fmla="*/ 920037 h 5599020"/>
              <a:gd name="connsiteX62" fmla="*/ 7779240 w 8631811"/>
              <a:gd name="connsiteY62" fmla="*/ 880894 h 5599020"/>
              <a:gd name="connsiteX63" fmla="*/ 7810278 w 8631811"/>
              <a:gd name="connsiteY63" fmla="*/ 841997 h 5599020"/>
              <a:gd name="connsiteX64" fmla="*/ 7841525 w 8631811"/>
              <a:gd name="connsiteY64" fmla="*/ 803354 h 5599020"/>
              <a:gd name="connsiteX65" fmla="*/ 7872989 w 8631811"/>
              <a:gd name="connsiteY65" fmla="*/ 764970 h 5599020"/>
              <a:gd name="connsiteX66" fmla="*/ 7904675 w 8631811"/>
              <a:gd name="connsiteY66" fmla="*/ 726853 h 5599020"/>
              <a:gd name="connsiteX67" fmla="*/ 7936588 w 8631811"/>
              <a:gd name="connsiteY67" fmla="*/ 689010 h 5599020"/>
              <a:gd name="connsiteX68" fmla="*/ 7968735 w 8631811"/>
              <a:gd name="connsiteY68" fmla="*/ 651447 h 5599020"/>
              <a:gd name="connsiteX69" fmla="*/ 8001122 w 8631811"/>
              <a:gd name="connsiteY69" fmla="*/ 614171 h 5599020"/>
              <a:gd name="connsiteX70" fmla="*/ 8033755 w 8631811"/>
              <a:gd name="connsiteY70" fmla="*/ 577189 h 5599020"/>
              <a:gd name="connsiteX71" fmla="*/ 8066638 w 8631811"/>
              <a:gd name="connsiteY71" fmla="*/ 540507 h 5599020"/>
              <a:gd name="connsiteX72" fmla="*/ 8099780 w 8631811"/>
              <a:gd name="connsiteY72" fmla="*/ 504132 h 5599020"/>
              <a:gd name="connsiteX73" fmla="*/ 8133184 w 8631811"/>
              <a:gd name="connsiteY73" fmla="*/ 468072 h 5599020"/>
              <a:gd name="connsiteX74" fmla="*/ 8166858 w 8631811"/>
              <a:gd name="connsiteY74" fmla="*/ 432332 h 5599020"/>
              <a:gd name="connsiteX75" fmla="*/ 8200807 w 8631811"/>
              <a:gd name="connsiteY75" fmla="*/ 396920 h 5599020"/>
              <a:gd name="connsiteX76" fmla="*/ 8235037 w 8631811"/>
              <a:gd name="connsiteY76" fmla="*/ 361843 h 5599020"/>
              <a:gd name="connsiteX77" fmla="*/ 8269554 w 8631811"/>
              <a:gd name="connsiteY77" fmla="*/ 327107 h 5599020"/>
              <a:gd name="connsiteX78" fmla="*/ 8304364 w 8631811"/>
              <a:gd name="connsiteY78" fmla="*/ 292718 h 5599020"/>
              <a:gd name="connsiteX79" fmla="*/ 8339473 w 8631811"/>
              <a:gd name="connsiteY79" fmla="*/ 258685 h 5599020"/>
              <a:gd name="connsiteX80" fmla="*/ 8374886 w 8631811"/>
              <a:gd name="connsiteY80" fmla="*/ 225013 h 5599020"/>
              <a:gd name="connsiteX81" fmla="*/ 8410611 w 8631811"/>
              <a:gd name="connsiteY81" fmla="*/ 191709 h 5599020"/>
              <a:gd name="connsiteX82" fmla="*/ 8446651 w 8631811"/>
              <a:gd name="connsiteY82" fmla="*/ 158780 h 5599020"/>
              <a:gd name="connsiteX83" fmla="*/ 8483015 w 8631811"/>
              <a:gd name="connsiteY83" fmla="*/ 126233 h 5599020"/>
              <a:gd name="connsiteX84" fmla="*/ 8519706 w 8631811"/>
              <a:gd name="connsiteY84" fmla="*/ 94075 h 5599020"/>
              <a:gd name="connsiteX85" fmla="*/ 8556732 w 8631811"/>
              <a:gd name="connsiteY85" fmla="*/ 62312 h 5599020"/>
              <a:gd name="connsiteX86" fmla="*/ 8594098 w 8631811"/>
              <a:gd name="connsiteY86" fmla="*/ 30951 h 5599020"/>
              <a:gd name="connsiteX87" fmla="*/ 8631811 w 8631811"/>
              <a:gd name="connsiteY87" fmla="*/ 0 h 5599020"/>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50434 w 8631811"/>
              <a:gd name="connsiteY3" fmla="*/ 5562872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593952"/>
              <a:gd name="connsiteX1" fmla="*/ 510 w 8631811"/>
              <a:gd name="connsiteY1" fmla="*/ 0 h 5593952"/>
              <a:gd name="connsiteX2" fmla="*/ 510 w 8631811"/>
              <a:gd name="connsiteY2" fmla="*/ 5593952 h 5593952"/>
              <a:gd name="connsiteX3" fmla="*/ 4182192 w 8631811"/>
              <a:gd name="connsiteY3" fmla="*/ 5550657 h 5593952"/>
              <a:gd name="connsiteX4" fmla="*/ 4453498 w 8631811"/>
              <a:gd name="connsiteY4" fmla="*/ 5565111 h 5593952"/>
              <a:gd name="connsiteX5" fmla="*/ 4486270 w 8631811"/>
              <a:gd name="connsiteY5" fmla="*/ 5536556 h 5593952"/>
              <a:gd name="connsiteX6" fmla="*/ 4518701 w 8631811"/>
              <a:gd name="connsiteY6" fmla="*/ 5507747 h 5593952"/>
              <a:gd name="connsiteX7" fmla="*/ 4550797 w 8631811"/>
              <a:gd name="connsiteY7" fmla="*/ 5478687 h 5593952"/>
              <a:gd name="connsiteX8" fmla="*/ 4582564 w 8631811"/>
              <a:gd name="connsiteY8" fmla="*/ 5449380 h 5593952"/>
              <a:gd name="connsiteX9" fmla="*/ 4614010 w 8631811"/>
              <a:gd name="connsiteY9" fmla="*/ 5419830 h 5593952"/>
              <a:gd name="connsiteX10" fmla="*/ 4645139 w 8631811"/>
              <a:gd name="connsiteY10" fmla="*/ 5390040 h 5593952"/>
              <a:gd name="connsiteX11" fmla="*/ 4675959 w 8631811"/>
              <a:gd name="connsiteY11" fmla="*/ 5360014 h 5593952"/>
              <a:gd name="connsiteX12" fmla="*/ 4706476 w 8631811"/>
              <a:gd name="connsiteY12" fmla="*/ 5329755 h 5593952"/>
              <a:gd name="connsiteX13" fmla="*/ 4736695 w 8631811"/>
              <a:gd name="connsiteY13" fmla="*/ 5299266 h 5593952"/>
              <a:gd name="connsiteX14" fmla="*/ 4766625 w 8631811"/>
              <a:gd name="connsiteY14" fmla="*/ 5268551 h 5593952"/>
              <a:gd name="connsiteX15" fmla="*/ 4796270 w 8631811"/>
              <a:gd name="connsiteY15" fmla="*/ 5237614 h 5593952"/>
              <a:gd name="connsiteX16" fmla="*/ 4825637 w 8631811"/>
              <a:gd name="connsiteY16" fmla="*/ 5206458 h 5593952"/>
              <a:gd name="connsiteX17" fmla="*/ 4854733 w 8631811"/>
              <a:gd name="connsiteY17" fmla="*/ 5175087 h 5593952"/>
              <a:gd name="connsiteX18" fmla="*/ 4883564 w 8631811"/>
              <a:gd name="connsiteY18" fmla="*/ 5143504 h 5593952"/>
              <a:gd name="connsiteX19" fmla="*/ 4912136 w 8631811"/>
              <a:gd name="connsiteY19" fmla="*/ 5111713 h 5593952"/>
              <a:gd name="connsiteX20" fmla="*/ 4940455 w 8631811"/>
              <a:gd name="connsiteY20" fmla="*/ 5079717 h 5593952"/>
              <a:gd name="connsiteX21" fmla="*/ 4968528 w 8631811"/>
              <a:gd name="connsiteY21" fmla="*/ 5047519 h 5593952"/>
              <a:gd name="connsiteX22" fmla="*/ 4996362 w 8631811"/>
              <a:gd name="connsiteY22" fmla="*/ 5015124 h 5593952"/>
              <a:gd name="connsiteX23" fmla="*/ 5023962 w 8631811"/>
              <a:gd name="connsiteY23" fmla="*/ 4982535 h 5593952"/>
              <a:gd name="connsiteX24" fmla="*/ 5051334 w 8631811"/>
              <a:gd name="connsiteY24" fmla="*/ 4949755 h 5593952"/>
              <a:gd name="connsiteX25" fmla="*/ 5078486 w 8631811"/>
              <a:gd name="connsiteY25" fmla="*/ 4916787 h 5593952"/>
              <a:gd name="connsiteX26" fmla="*/ 5105424 w 8631811"/>
              <a:gd name="connsiteY26" fmla="*/ 4883636 h 5593952"/>
              <a:gd name="connsiteX27" fmla="*/ 5132154 w 8631811"/>
              <a:gd name="connsiteY27" fmla="*/ 4850305 h 5593952"/>
              <a:gd name="connsiteX28" fmla="*/ 5158681 w 8631811"/>
              <a:gd name="connsiteY28" fmla="*/ 4816797 h 5593952"/>
              <a:gd name="connsiteX29" fmla="*/ 5211157 w 8631811"/>
              <a:gd name="connsiteY29" fmla="*/ 4749265 h 5593952"/>
              <a:gd name="connsiteX30" fmla="*/ 5262901 w 8631811"/>
              <a:gd name="connsiteY30" fmla="*/ 4681068 h 5593952"/>
              <a:gd name="connsiteX31" fmla="*/ 5313965 w 8631811"/>
              <a:gd name="connsiteY31" fmla="*/ 4612234 h 5593952"/>
              <a:gd name="connsiteX32" fmla="*/ 5364399 w 8631811"/>
              <a:gd name="connsiteY32" fmla="*/ 4542793 h 5593952"/>
              <a:gd name="connsiteX33" fmla="*/ 5414255 w 8631811"/>
              <a:gd name="connsiteY33" fmla="*/ 4472771 h 5593952"/>
              <a:gd name="connsiteX34" fmla="*/ 5463582 w 8631811"/>
              <a:gd name="connsiteY34" fmla="*/ 4402196 h 5593952"/>
              <a:gd name="connsiteX35" fmla="*/ 5512432 w 8631811"/>
              <a:gd name="connsiteY35" fmla="*/ 4331098 h 5593952"/>
              <a:gd name="connsiteX36" fmla="*/ 5560854 w 8631811"/>
              <a:gd name="connsiteY36" fmla="*/ 4259503 h 5593952"/>
              <a:gd name="connsiteX37" fmla="*/ 5608901 w 8631811"/>
              <a:gd name="connsiteY37" fmla="*/ 4187441 h 5593952"/>
              <a:gd name="connsiteX38" fmla="*/ 5680377 w 8631811"/>
              <a:gd name="connsiteY38" fmla="*/ 4078531 h 5593952"/>
              <a:gd name="connsiteX39" fmla="*/ 5751291 w 8631811"/>
              <a:gd name="connsiteY39" fmla="*/ 3968727 h 5593952"/>
              <a:gd name="connsiteX40" fmla="*/ 5868700 w 8631811"/>
              <a:gd name="connsiteY40" fmla="*/ 3783989 h 5593952"/>
              <a:gd name="connsiteX41" fmla="*/ 6198426 w 8631811"/>
              <a:gd name="connsiteY41" fmla="*/ 3258640 h 5593952"/>
              <a:gd name="connsiteX42" fmla="*/ 6294647 w 8631811"/>
              <a:gd name="connsiteY42" fmla="*/ 3107321 h 5593952"/>
              <a:gd name="connsiteX43" fmla="*/ 6367867 w 8631811"/>
              <a:gd name="connsiteY43" fmla="*/ 2993735 h 5593952"/>
              <a:gd name="connsiteX44" fmla="*/ 6448414 w 8631811"/>
              <a:gd name="connsiteY44" fmla="*/ 2869788 h 5593952"/>
              <a:gd name="connsiteX45" fmla="*/ 6559384 w 8631811"/>
              <a:gd name="connsiteY45" fmla="*/ 2696807 h 5593952"/>
              <a:gd name="connsiteX46" fmla="*/ 6971450 w 8631811"/>
              <a:gd name="connsiteY46" fmla="*/ 2045274 h 5593952"/>
              <a:gd name="connsiteX47" fmla="*/ 7081972 w 8631811"/>
              <a:gd name="connsiteY47" fmla="*/ 1872743 h 5593952"/>
              <a:gd name="connsiteX48" fmla="*/ 7165496 w 8631811"/>
              <a:gd name="connsiteY48" fmla="*/ 1744202 h 5593952"/>
              <a:gd name="connsiteX49" fmla="*/ 7221568 w 8631811"/>
              <a:gd name="connsiteY49" fmla="*/ 1659017 h 5593952"/>
              <a:gd name="connsiteX50" fmla="*/ 7278006 w 8631811"/>
              <a:gd name="connsiteY50" fmla="*/ 1574303 h 5593952"/>
              <a:gd name="connsiteX51" fmla="*/ 7334860 w 8631811"/>
              <a:gd name="connsiteY51" fmla="*/ 1490113 h 5593952"/>
              <a:gd name="connsiteX52" fmla="*/ 7392174 w 8631811"/>
              <a:gd name="connsiteY52" fmla="*/ 1406503 h 5593952"/>
              <a:gd name="connsiteX53" fmla="*/ 7449998 w 8631811"/>
              <a:gd name="connsiteY53" fmla="*/ 1323526 h 5593952"/>
              <a:gd name="connsiteX54" fmla="*/ 7508378 w 8631811"/>
              <a:gd name="connsiteY54" fmla="*/ 1241237 h 5593952"/>
              <a:gd name="connsiteX55" fmla="*/ 7567361 w 8631811"/>
              <a:gd name="connsiteY55" fmla="*/ 1159689 h 5593952"/>
              <a:gd name="connsiteX56" fmla="*/ 7597094 w 8631811"/>
              <a:gd name="connsiteY56" fmla="*/ 1119210 h 5593952"/>
              <a:gd name="connsiteX57" fmla="*/ 7626996 w 8631811"/>
              <a:gd name="connsiteY57" fmla="*/ 1078937 h 5593952"/>
              <a:gd name="connsiteX58" fmla="*/ 7657072 w 8631811"/>
              <a:gd name="connsiteY58" fmla="*/ 1038876 h 5593952"/>
              <a:gd name="connsiteX59" fmla="*/ 7687328 w 8631811"/>
              <a:gd name="connsiteY59" fmla="*/ 999035 h 5593952"/>
              <a:gd name="connsiteX60" fmla="*/ 7717771 w 8631811"/>
              <a:gd name="connsiteY60" fmla="*/ 959419 h 5593952"/>
              <a:gd name="connsiteX61" fmla="*/ 7748407 w 8631811"/>
              <a:gd name="connsiteY61" fmla="*/ 920037 h 5593952"/>
              <a:gd name="connsiteX62" fmla="*/ 7779240 w 8631811"/>
              <a:gd name="connsiteY62" fmla="*/ 880894 h 5593952"/>
              <a:gd name="connsiteX63" fmla="*/ 7810278 w 8631811"/>
              <a:gd name="connsiteY63" fmla="*/ 841997 h 5593952"/>
              <a:gd name="connsiteX64" fmla="*/ 7841525 w 8631811"/>
              <a:gd name="connsiteY64" fmla="*/ 803354 h 5593952"/>
              <a:gd name="connsiteX65" fmla="*/ 7872989 w 8631811"/>
              <a:gd name="connsiteY65" fmla="*/ 764970 h 5593952"/>
              <a:gd name="connsiteX66" fmla="*/ 7904675 w 8631811"/>
              <a:gd name="connsiteY66" fmla="*/ 726853 h 5593952"/>
              <a:gd name="connsiteX67" fmla="*/ 7936588 w 8631811"/>
              <a:gd name="connsiteY67" fmla="*/ 689010 h 5593952"/>
              <a:gd name="connsiteX68" fmla="*/ 7968735 w 8631811"/>
              <a:gd name="connsiteY68" fmla="*/ 651447 h 5593952"/>
              <a:gd name="connsiteX69" fmla="*/ 8001122 w 8631811"/>
              <a:gd name="connsiteY69" fmla="*/ 614171 h 5593952"/>
              <a:gd name="connsiteX70" fmla="*/ 8033755 w 8631811"/>
              <a:gd name="connsiteY70" fmla="*/ 577189 h 5593952"/>
              <a:gd name="connsiteX71" fmla="*/ 8066638 w 8631811"/>
              <a:gd name="connsiteY71" fmla="*/ 540507 h 5593952"/>
              <a:gd name="connsiteX72" fmla="*/ 8099780 w 8631811"/>
              <a:gd name="connsiteY72" fmla="*/ 504132 h 5593952"/>
              <a:gd name="connsiteX73" fmla="*/ 8133184 w 8631811"/>
              <a:gd name="connsiteY73" fmla="*/ 468072 h 5593952"/>
              <a:gd name="connsiteX74" fmla="*/ 8166858 w 8631811"/>
              <a:gd name="connsiteY74" fmla="*/ 432332 h 5593952"/>
              <a:gd name="connsiteX75" fmla="*/ 8200807 w 8631811"/>
              <a:gd name="connsiteY75" fmla="*/ 396920 h 5593952"/>
              <a:gd name="connsiteX76" fmla="*/ 8235037 w 8631811"/>
              <a:gd name="connsiteY76" fmla="*/ 361843 h 5593952"/>
              <a:gd name="connsiteX77" fmla="*/ 8269554 w 8631811"/>
              <a:gd name="connsiteY77" fmla="*/ 327107 h 5593952"/>
              <a:gd name="connsiteX78" fmla="*/ 8304364 w 8631811"/>
              <a:gd name="connsiteY78" fmla="*/ 292718 h 5593952"/>
              <a:gd name="connsiteX79" fmla="*/ 8339473 w 8631811"/>
              <a:gd name="connsiteY79" fmla="*/ 258685 h 5593952"/>
              <a:gd name="connsiteX80" fmla="*/ 8374886 w 8631811"/>
              <a:gd name="connsiteY80" fmla="*/ 225013 h 5593952"/>
              <a:gd name="connsiteX81" fmla="*/ 8410611 w 8631811"/>
              <a:gd name="connsiteY81" fmla="*/ 191709 h 5593952"/>
              <a:gd name="connsiteX82" fmla="*/ 8446651 w 8631811"/>
              <a:gd name="connsiteY82" fmla="*/ 158780 h 5593952"/>
              <a:gd name="connsiteX83" fmla="*/ 8483015 w 8631811"/>
              <a:gd name="connsiteY83" fmla="*/ 126233 h 5593952"/>
              <a:gd name="connsiteX84" fmla="*/ 8519706 w 8631811"/>
              <a:gd name="connsiteY84" fmla="*/ 94075 h 5593952"/>
              <a:gd name="connsiteX85" fmla="*/ 8556732 w 8631811"/>
              <a:gd name="connsiteY85" fmla="*/ 62312 h 5593952"/>
              <a:gd name="connsiteX86" fmla="*/ 8594098 w 8631811"/>
              <a:gd name="connsiteY86" fmla="*/ 30951 h 5593952"/>
              <a:gd name="connsiteX87" fmla="*/ 8631811 w 8631811"/>
              <a:gd name="connsiteY87" fmla="*/ 0 h 5593952"/>
              <a:gd name="connsiteX0" fmla="*/ 8631811 w 8631811"/>
              <a:gd name="connsiteY0" fmla="*/ 0 h 5655902"/>
              <a:gd name="connsiteX1" fmla="*/ 510 w 8631811"/>
              <a:gd name="connsiteY1" fmla="*/ 0 h 5655902"/>
              <a:gd name="connsiteX2" fmla="*/ 510 w 8631811"/>
              <a:gd name="connsiteY2" fmla="*/ 5593952 h 5655902"/>
              <a:gd name="connsiteX3" fmla="*/ 4362155 w 8631811"/>
              <a:gd name="connsiteY3" fmla="*/ 5654487 h 5655902"/>
              <a:gd name="connsiteX4" fmla="*/ 4453498 w 8631811"/>
              <a:gd name="connsiteY4" fmla="*/ 5565111 h 5655902"/>
              <a:gd name="connsiteX5" fmla="*/ 4486270 w 8631811"/>
              <a:gd name="connsiteY5" fmla="*/ 5536556 h 5655902"/>
              <a:gd name="connsiteX6" fmla="*/ 4518701 w 8631811"/>
              <a:gd name="connsiteY6" fmla="*/ 5507747 h 5655902"/>
              <a:gd name="connsiteX7" fmla="*/ 4550797 w 8631811"/>
              <a:gd name="connsiteY7" fmla="*/ 5478687 h 5655902"/>
              <a:gd name="connsiteX8" fmla="*/ 4582564 w 8631811"/>
              <a:gd name="connsiteY8" fmla="*/ 5449380 h 5655902"/>
              <a:gd name="connsiteX9" fmla="*/ 4614010 w 8631811"/>
              <a:gd name="connsiteY9" fmla="*/ 5419830 h 5655902"/>
              <a:gd name="connsiteX10" fmla="*/ 4645139 w 8631811"/>
              <a:gd name="connsiteY10" fmla="*/ 5390040 h 5655902"/>
              <a:gd name="connsiteX11" fmla="*/ 4675959 w 8631811"/>
              <a:gd name="connsiteY11" fmla="*/ 5360014 h 5655902"/>
              <a:gd name="connsiteX12" fmla="*/ 4706476 w 8631811"/>
              <a:gd name="connsiteY12" fmla="*/ 5329755 h 5655902"/>
              <a:gd name="connsiteX13" fmla="*/ 4736695 w 8631811"/>
              <a:gd name="connsiteY13" fmla="*/ 5299266 h 5655902"/>
              <a:gd name="connsiteX14" fmla="*/ 4766625 w 8631811"/>
              <a:gd name="connsiteY14" fmla="*/ 5268551 h 5655902"/>
              <a:gd name="connsiteX15" fmla="*/ 4796270 w 8631811"/>
              <a:gd name="connsiteY15" fmla="*/ 5237614 h 5655902"/>
              <a:gd name="connsiteX16" fmla="*/ 4825637 w 8631811"/>
              <a:gd name="connsiteY16" fmla="*/ 5206458 h 5655902"/>
              <a:gd name="connsiteX17" fmla="*/ 4854733 w 8631811"/>
              <a:gd name="connsiteY17" fmla="*/ 5175087 h 5655902"/>
              <a:gd name="connsiteX18" fmla="*/ 4883564 w 8631811"/>
              <a:gd name="connsiteY18" fmla="*/ 5143504 h 5655902"/>
              <a:gd name="connsiteX19" fmla="*/ 4912136 w 8631811"/>
              <a:gd name="connsiteY19" fmla="*/ 5111713 h 5655902"/>
              <a:gd name="connsiteX20" fmla="*/ 4940455 w 8631811"/>
              <a:gd name="connsiteY20" fmla="*/ 5079717 h 5655902"/>
              <a:gd name="connsiteX21" fmla="*/ 4968528 w 8631811"/>
              <a:gd name="connsiteY21" fmla="*/ 5047519 h 5655902"/>
              <a:gd name="connsiteX22" fmla="*/ 4996362 w 8631811"/>
              <a:gd name="connsiteY22" fmla="*/ 5015124 h 5655902"/>
              <a:gd name="connsiteX23" fmla="*/ 5023962 w 8631811"/>
              <a:gd name="connsiteY23" fmla="*/ 4982535 h 5655902"/>
              <a:gd name="connsiteX24" fmla="*/ 5051334 w 8631811"/>
              <a:gd name="connsiteY24" fmla="*/ 4949755 h 5655902"/>
              <a:gd name="connsiteX25" fmla="*/ 5078486 w 8631811"/>
              <a:gd name="connsiteY25" fmla="*/ 4916787 h 5655902"/>
              <a:gd name="connsiteX26" fmla="*/ 5105424 w 8631811"/>
              <a:gd name="connsiteY26" fmla="*/ 4883636 h 5655902"/>
              <a:gd name="connsiteX27" fmla="*/ 5132154 w 8631811"/>
              <a:gd name="connsiteY27" fmla="*/ 4850305 h 5655902"/>
              <a:gd name="connsiteX28" fmla="*/ 5158681 w 8631811"/>
              <a:gd name="connsiteY28" fmla="*/ 4816797 h 5655902"/>
              <a:gd name="connsiteX29" fmla="*/ 5211157 w 8631811"/>
              <a:gd name="connsiteY29" fmla="*/ 4749265 h 5655902"/>
              <a:gd name="connsiteX30" fmla="*/ 5262901 w 8631811"/>
              <a:gd name="connsiteY30" fmla="*/ 4681068 h 5655902"/>
              <a:gd name="connsiteX31" fmla="*/ 5313965 w 8631811"/>
              <a:gd name="connsiteY31" fmla="*/ 4612234 h 5655902"/>
              <a:gd name="connsiteX32" fmla="*/ 5364399 w 8631811"/>
              <a:gd name="connsiteY32" fmla="*/ 4542793 h 5655902"/>
              <a:gd name="connsiteX33" fmla="*/ 5414255 w 8631811"/>
              <a:gd name="connsiteY33" fmla="*/ 4472771 h 5655902"/>
              <a:gd name="connsiteX34" fmla="*/ 5463582 w 8631811"/>
              <a:gd name="connsiteY34" fmla="*/ 4402196 h 5655902"/>
              <a:gd name="connsiteX35" fmla="*/ 5512432 w 8631811"/>
              <a:gd name="connsiteY35" fmla="*/ 4331098 h 5655902"/>
              <a:gd name="connsiteX36" fmla="*/ 5560854 w 8631811"/>
              <a:gd name="connsiteY36" fmla="*/ 4259503 h 5655902"/>
              <a:gd name="connsiteX37" fmla="*/ 5608901 w 8631811"/>
              <a:gd name="connsiteY37" fmla="*/ 4187441 h 5655902"/>
              <a:gd name="connsiteX38" fmla="*/ 5680377 w 8631811"/>
              <a:gd name="connsiteY38" fmla="*/ 4078531 h 5655902"/>
              <a:gd name="connsiteX39" fmla="*/ 5751291 w 8631811"/>
              <a:gd name="connsiteY39" fmla="*/ 3968727 h 5655902"/>
              <a:gd name="connsiteX40" fmla="*/ 5868700 w 8631811"/>
              <a:gd name="connsiteY40" fmla="*/ 3783989 h 5655902"/>
              <a:gd name="connsiteX41" fmla="*/ 6198426 w 8631811"/>
              <a:gd name="connsiteY41" fmla="*/ 3258640 h 5655902"/>
              <a:gd name="connsiteX42" fmla="*/ 6294647 w 8631811"/>
              <a:gd name="connsiteY42" fmla="*/ 3107321 h 5655902"/>
              <a:gd name="connsiteX43" fmla="*/ 6367867 w 8631811"/>
              <a:gd name="connsiteY43" fmla="*/ 2993735 h 5655902"/>
              <a:gd name="connsiteX44" fmla="*/ 6448414 w 8631811"/>
              <a:gd name="connsiteY44" fmla="*/ 2869788 h 5655902"/>
              <a:gd name="connsiteX45" fmla="*/ 6559384 w 8631811"/>
              <a:gd name="connsiteY45" fmla="*/ 2696807 h 5655902"/>
              <a:gd name="connsiteX46" fmla="*/ 6971450 w 8631811"/>
              <a:gd name="connsiteY46" fmla="*/ 2045274 h 5655902"/>
              <a:gd name="connsiteX47" fmla="*/ 7081972 w 8631811"/>
              <a:gd name="connsiteY47" fmla="*/ 1872743 h 5655902"/>
              <a:gd name="connsiteX48" fmla="*/ 7165496 w 8631811"/>
              <a:gd name="connsiteY48" fmla="*/ 1744202 h 5655902"/>
              <a:gd name="connsiteX49" fmla="*/ 7221568 w 8631811"/>
              <a:gd name="connsiteY49" fmla="*/ 1659017 h 5655902"/>
              <a:gd name="connsiteX50" fmla="*/ 7278006 w 8631811"/>
              <a:gd name="connsiteY50" fmla="*/ 1574303 h 5655902"/>
              <a:gd name="connsiteX51" fmla="*/ 7334860 w 8631811"/>
              <a:gd name="connsiteY51" fmla="*/ 1490113 h 5655902"/>
              <a:gd name="connsiteX52" fmla="*/ 7392174 w 8631811"/>
              <a:gd name="connsiteY52" fmla="*/ 1406503 h 5655902"/>
              <a:gd name="connsiteX53" fmla="*/ 7449998 w 8631811"/>
              <a:gd name="connsiteY53" fmla="*/ 1323526 h 5655902"/>
              <a:gd name="connsiteX54" fmla="*/ 7508378 w 8631811"/>
              <a:gd name="connsiteY54" fmla="*/ 1241237 h 5655902"/>
              <a:gd name="connsiteX55" fmla="*/ 7567361 w 8631811"/>
              <a:gd name="connsiteY55" fmla="*/ 1159689 h 5655902"/>
              <a:gd name="connsiteX56" fmla="*/ 7597094 w 8631811"/>
              <a:gd name="connsiteY56" fmla="*/ 1119210 h 5655902"/>
              <a:gd name="connsiteX57" fmla="*/ 7626996 w 8631811"/>
              <a:gd name="connsiteY57" fmla="*/ 1078937 h 5655902"/>
              <a:gd name="connsiteX58" fmla="*/ 7657072 w 8631811"/>
              <a:gd name="connsiteY58" fmla="*/ 1038876 h 5655902"/>
              <a:gd name="connsiteX59" fmla="*/ 7687328 w 8631811"/>
              <a:gd name="connsiteY59" fmla="*/ 999035 h 5655902"/>
              <a:gd name="connsiteX60" fmla="*/ 7717771 w 8631811"/>
              <a:gd name="connsiteY60" fmla="*/ 959419 h 5655902"/>
              <a:gd name="connsiteX61" fmla="*/ 7748407 w 8631811"/>
              <a:gd name="connsiteY61" fmla="*/ 920037 h 5655902"/>
              <a:gd name="connsiteX62" fmla="*/ 7779240 w 8631811"/>
              <a:gd name="connsiteY62" fmla="*/ 880894 h 5655902"/>
              <a:gd name="connsiteX63" fmla="*/ 7810278 w 8631811"/>
              <a:gd name="connsiteY63" fmla="*/ 841997 h 5655902"/>
              <a:gd name="connsiteX64" fmla="*/ 7841525 w 8631811"/>
              <a:gd name="connsiteY64" fmla="*/ 803354 h 5655902"/>
              <a:gd name="connsiteX65" fmla="*/ 7872989 w 8631811"/>
              <a:gd name="connsiteY65" fmla="*/ 764970 h 5655902"/>
              <a:gd name="connsiteX66" fmla="*/ 7904675 w 8631811"/>
              <a:gd name="connsiteY66" fmla="*/ 726853 h 5655902"/>
              <a:gd name="connsiteX67" fmla="*/ 7936588 w 8631811"/>
              <a:gd name="connsiteY67" fmla="*/ 689010 h 5655902"/>
              <a:gd name="connsiteX68" fmla="*/ 7968735 w 8631811"/>
              <a:gd name="connsiteY68" fmla="*/ 651447 h 5655902"/>
              <a:gd name="connsiteX69" fmla="*/ 8001122 w 8631811"/>
              <a:gd name="connsiteY69" fmla="*/ 614171 h 5655902"/>
              <a:gd name="connsiteX70" fmla="*/ 8033755 w 8631811"/>
              <a:gd name="connsiteY70" fmla="*/ 577189 h 5655902"/>
              <a:gd name="connsiteX71" fmla="*/ 8066638 w 8631811"/>
              <a:gd name="connsiteY71" fmla="*/ 540507 h 5655902"/>
              <a:gd name="connsiteX72" fmla="*/ 8099780 w 8631811"/>
              <a:gd name="connsiteY72" fmla="*/ 504132 h 5655902"/>
              <a:gd name="connsiteX73" fmla="*/ 8133184 w 8631811"/>
              <a:gd name="connsiteY73" fmla="*/ 468072 h 5655902"/>
              <a:gd name="connsiteX74" fmla="*/ 8166858 w 8631811"/>
              <a:gd name="connsiteY74" fmla="*/ 432332 h 5655902"/>
              <a:gd name="connsiteX75" fmla="*/ 8200807 w 8631811"/>
              <a:gd name="connsiteY75" fmla="*/ 396920 h 5655902"/>
              <a:gd name="connsiteX76" fmla="*/ 8235037 w 8631811"/>
              <a:gd name="connsiteY76" fmla="*/ 361843 h 5655902"/>
              <a:gd name="connsiteX77" fmla="*/ 8269554 w 8631811"/>
              <a:gd name="connsiteY77" fmla="*/ 327107 h 5655902"/>
              <a:gd name="connsiteX78" fmla="*/ 8304364 w 8631811"/>
              <a:gd name="connsiteY78" fmla="*/ 292718 h 5655902"/>
              <a:gd name="connsiteX79" fmla="*/ 8339473 w 8631811"/>
              <a:gd name="connsiteY79" fmla="*/ 258685 h 5655902"/>
              <a:gd name="connsiteX80" fmla="*/ 8374886 w 8631811"/>
              <a:gd name="connsiteY80" fmla="*/ 225013 h 5655902"/>
              <a:gd name="connsiteX81" fmla="*/ 8410611 w 8631811"/>
              <a:gd name="connsiteY81" fmla="*/ 191709 h 5655902"/>
              <a:gd name="connsiteX82" fmla="*/ 8446651 w 8631811"/>
              <a:gd name="connsiteY82" fmla="*/ 158780 h 5655902"/>
              <a:gd name="connsiteX83" fmla="*/ 8483015 w 8631811"/>
              <a:gd name="connsiteY83" fmla="*/ 126233 h 5655902"/>
              <a:gd name="connsiteX84" fmla="*/ 8519706 w 8631811"/>
              <a:gd name="connsiteY84" fmla="*/ 94075 h 5655902"/>
              <a:gd name="connsiteX85" fmla="*/ 8556732 w 8631811"/>
              <a:gd name="connsiteY85" fmla="*/ 62312 h 5655902"/>
              <a:gd name="connsiteX86" fmla="*/ 8594098 w 8631811"/>
              <a:gd name="connsiteY86" fmla="*/ 30951 h 5655902"/>
              <a:gd name="connsiteX87" fmla="*/ 8631811 w 8631811"/>
              <a:gd name="connsiteY87" fmla="*/ 0 h 5655902"/>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 name="connsiteX0" fmla="*/ 8631811 w 8631811"/>
              <a:gd name="connsiteY0" fmla="*/ 0 h 5609155"/>
              <a:gd name="connsiteX1" fmla="*/ 510 w 8631811"/>
              <a:gd name="connsiteY1" fmla="*/ 0 h 5609155"/>
              <a:gd name="connsiteX2" fmla="*/ 510 w 8631811"/>
              <a:gd name="connsiteY2" fmla="*/ 5593952 h 5609155"/>
              <a:gd name="connsiteX3" fmla="*/ 4415084 w 8631811"/>
              <a:gd name="connsiteY3" fmla="*/ 5605626 h 5609155"/>
              <a:gd name="connsiteX4" fmla="*/ 4453498 w 8631811"/>
              <a:gd name="connsiteY4" fmla="*/ 5565111 h 5609155"/>
              <a:gd name="connsiteX5" fmla="*/ 4486270 w 8631811"/>
              <a:gd name="connsiteY5" fmla="*/ 5536556 h 5609155"/>
              <a:gd name="connsiteX6" fmla="*/ 4518701 w 8631811"/>
              <a:gd name="connsiteY6" fmla="*/ 5507747 h 5609155"/>
              <a:gd name="connsiteX7" fmla="*/ 4550797 w 8631811"/>
              <a:gd name="connsiteY7" fmla="*/ 5478687 h 5609155"/>
              <a:gd name="connsiteX8" fmla="*/ 4582564 w 8631811"/>
              <a:gd name="connsiteY8" fmla="*/ 5449380 h 5609155"/>
              <a:gd name="connsiteX9" fmla="*/ 4614010 w 8631811"/>
              <a:gd name="connsiteY9" fmla="*/ 5419830 h 5609155"/>
              <a:gd name="connsiteX10" fmla="*/ 4645139 w 8631811"/>
              <a:gd name="connsiteY10" fmla="*/ 5390040 h 5609155"/>
              <a:gd name="connsiteX11" fmla="*/ 4675959 w 8631811"/>
              <a:gd name="connsiteY11" fmla="*/ 5360014 h 5609155"/>
              <a:gd name="connsiteX12" fmla="*/ 4706476 w 8631811"/>
              <a:gd name="connsiteY12" fmla="*/ 5329755 h 5609155"/>
              <a:gd name="connsiteX13" fmla="*/ 4736695 w 8631811"/>
              <a:gd name="connsiteY13" fmla="*/ 5299266 h 5609155"/>
              <a:gd name="connsiteX14" fmla="*/ 4766625 w 8631811"/>
              <a:gd name="connsiteY14" fmla="*/ 5268551 h 5609155"/>
              <a:gd name="connsiteX15" fmla="*/ 4796270 w 8631811"/>
              <a:gd name="connsiteY15" fmla="*/ 5237614 h 5609155"/>
              <a:gd name="connsiteX16" fmla="*/ 4825637 w 8631811"/>
              <a:gd name="connsiteY16" fmla="*/ 5206458 h 5609155"/>
              <a:gd name="connsiteX17" fmla="*/ 4854733 w 8631811"/>
              <a:gd name="connsiteY17" fmla="*/ 5175087 h 5609155"/>
              <a:gd name="connsiteX18" fmla="*/ 4883564 w 8631811"/>
              <a:gd name="connsiteY18" fmla="*/ 5143504 h 5609155"/>
              <a:gd name="connsiteX19" fmla="*/ 4912136 w 8631811"/>
              <a:gd name="connsiteY19" fmla="*/ 5111713 h 5609155"/>
              <a:gd name="connsiteX20" fmla="*/ 4940455 w 8631811"/>
              <a:gd name="connsiteY20" fmla="*/ 5079717 h 5609155"/>
              <a:gd name="connsiteX21" fmla="*/ 4968528 w 8631811"/>
              <a:gd name="connsiteY21" fmla="*/ 5047519 h 5609155"/>
              <a:gd name="connsiteX22" fmla="*/ 4996362 w 8631811"/>
              <a:gd name="connsiteY22" fmla="*/ 5015124 h 5609155"/>
              <a:gd name="connsiteX23" fmla="*/ 5023962 w 8631811"/>
              <a:gd name="connsiteY23" fmla="*/ 4982535 h 5609155"/>
              <a:gd name="connsiteX24" fmla="*/ 5051334 w 8631811"/>
              <a:gd name="connsiteY24" fmla="*/ 4949755 h 5609155"/>
              <a:gd name="connsiteX25" fmla="*/ 5078486 w 8631811"/>
              <a:gd name="connsiteY25" fmla="*/ 4916787 h 5609155"/>
              <a:gd name="connsiteX26" fmla="*/ 5105424 w 8631811"/>
              <a:gd name="connsiteY26" fmla="*/ 4883636 h 5609155"/>
              <a:gd name="connsiteX27" fmla="*/ 5132154 w 8631811"/>
              <a:gd name="connsiteY27" fmla="*/ 4850305 h 5609155"/>
              <a:gd name="connsiteX28" fmla="*/ 5158681 w 8631811"/>
              <a:gd name="connsiteY28" fmla="*/ 4816797 h 5609155"/>
              <a:gd name="connsiteX29" fmla="*/ 5211157 w 8631811"/>
              <a:gd name="connsiteY29" fmla="*/ 4749265 h 5609155"/>
              <a:gd name="connsiteX30" fmla="*/ 5262901 w 8631811"/>
              <a:gd name="connsiteY30" fmla="*/ 4681068 h 5609155"/>
              <a:gd name="connsiteX31" fmla="*/ 5313965 w 8631811"/>
              <a:gd name="connsiteY31" fmla="*/ 4612234 h 5609155"/>
              <a:gd name="connsiteX32" fmla="*/ 5364399 w 8631811"/>
              <a:gd name="connsiteY32" fmla="*/ 4542793 h 5609155"/>
              <a:gd name="connsiteX33" fmla="*/ 5414255 w 8631811"/>
              <a:gd name="connsiteY33" fmla="*/ 4472771 h 5609155"/>
              <a:gd name="connsiteX34" fmla="*/ 5463582 w 8631811"/>
              <a:gd name="connsiteY34" fmla="*/ 4402196 h 5609155"/>
              <a:gd name="connsiteX35" fmla="*/ 5512432 w 8631811"/>
              <a:gd name="connsiteY35" fmla="*/ 4331098 h 5609155"/>
              <a:gd name="connsiteX36" fmla="*/ 5560854 w 8631811"/>
              <a:gd name="connsiteY36" fmla="*/ 4259503 h 5609155"/>
              <a:gd name="connsiteX37" fmla="*/ 5608901 w 8631811"/>
              <a:gd name="connsiteY37" fmla="*/ 4187441 h 5609155"/>
              <a:gd name="connsiteX38" fmla="*/ 5680377 w 8631811"/>
              <a:gd name="connsiteY38" fmla="*/ 4078531 h 5609155"/>
              <a:gd name="connsiteX39" fmla="*/ 5751291 w 8631811"/>
              <a:gd name="connsiteY39" fmla="*/ 3968727 h 5609155"/>
              <a:gd name="connsiteX40" fmla="*/ 5868700 w 8631811"/>
              <a:gd name="connsiteY40" fmla="*/ 3783989 h 5609155"/>
              <a:gd name="connsiteX41" fmla="*/ 6198426 w 8631811"/>
              <a:gd name="connsiteY41" fmla="*/ 3258640 h 5609155"/>
              <a:gd name="connsiteX42" fmla="*/ 6294647 w 8631811"/>
              <a:gd name="connsiteY42" fmla="*/ 3107321 h 5609155"/>
              <a:gd name="connsiteX43" fmla="*/ 6367867 w 8631811"/>
              <a:gd name="connsiteY43" fmla="*/ 2993735 h 5609155"/>
              <a:gd name="connsiteX44" fmla="*/ 6448414 w 8631811"/>
              <a:gd name="connsiteY44" fmla="*/ 2869788 h 5609155"/>
              <a:gd name="connsiteX45" fmla="*/ 6559384 w 8631811"/>
              <a:gd name="connsiteY45" fmla="*/ 2696807 h 5609155"/>
              <a:gd name="connsiteX46" fmla="*/ 6971450 w 8631811"/>
              <a:gd name="connsiteY46" fmla="*/ 2045274 h 5609155"/>
              <a:gd name="connsiteX47" fmla="*/ 7081972 w 8631811"/>
              <a:gd name="connsiteY47" fmla="*/ 1872743 h 5609155"/>
              <a:gd name="connsiteX48" fmla="*/ 7165496 w 8631811"/>
              <a:gd name="connsiteY48" fmla="*/ 1744202 h 5609155"/>
              <a:gd name="connsiteX49" fmla="*/ 7221568 w 8631811"/>
              <a:gd name="connsiteY49" fmla="*/ 1659017 h 5609155"/>
              <a:gd name="connsiteX50" fmla="*/ 7278006 w 8631811"/>
              <a:gd name="connsiteY50" fmla="*/ 1574303 h 5609155"/>
              <a:gd name="connsiteX51" fmla="*/ 7334860 w 8631811"/>
              <a:gd name="connsiteY51" fmla="*/ 1490113 h 5609155"/>
              <a:gd name="connsiteX52" fmla="*/ 7392174 w 8631811"/>
              <a:gd name="connsiteY52" fmla="*/ 1406503 h 5609155"/>
              <a:gd name="connsiteX53" fmla="*/ 7449998 w 8631811"/>
              <a:gd name="connsiteY53" fmla="*/ 1323526 h 5609155"/>
              <a:gd name="connsiteX54" fmla="*/ 7508378 w 8631811"/>
              <a:gd name="connsiteY54" fmla="*/ 1241237 h 5609155"/>
              <a:gd name="connsiteX55" fmla="*/ 7567361 w 8631811"/>
              <a:gd name="connsiteY55" fmla="*/ 1159689 h 5609155"/>
              <a:gd name="connsiteX56" fmla="*/ 7597094 w 8631811"/>
              <a:gd name="connsiteY56" fmla="*/ 1119210 h 5609155"/>
              <a:gd name="connsiteX57" fmla="*/ 7626996 w 8631811"/>
              <a:gd name="connsiteY57" fmla="*/ 1078937 h 5609155"/>
              <a:gd name="connsiteX58" fmla="*/ 7657072 w 8631811"/>
              <a:gd name="connsiteY58" fmla="*/ 1038876 h 5609155"/>
              <a:gd name="connsiteX59" fmla="*/ 7687328 w 8631811"/>
              <a:gd name="connsiteY59" fmla="*/ 999035 h 5609155"/>
              <a:gd name="connsiteX60" fmla="*/ 7717771 w 8631811"/>
              <a:gd name="connsiteY60" fmla="*/ 959419 h 5609155"/>
              <a:gd name="connsiteX61" fmla="*/ 7748407 w 8631811"/>
              <a:gd name="connsiteY61" fmla="*/ 920037 h 5609155"/>
              <a:gd name="connsiteX62" fmla="*/ 7779240 w 8631811"/>
              <a:gd name="connsiteY62" fmla="*/ 880894 h 5609155"/>
              <a:gd name="connsiteX63" fmla="*/ 7810278 w 8631811"/>
              <a:gd name="connsiteY63" fmla="*/ 841997 h 5609155"/>
              <a:gd name="connsiteX64" fmla="*/ 7841525 w 8631811"/>
              <a:gd name="connsiteY64" fmla="*/ 803354 h 5609155"/>
              <a:gd name="connsiteX65" fmla="*/ 7872989 w 8631811"/>
              <a:gd name="connsiteY65" fmla="*/ 764970 h 5609155"/>
              <a:gd name="connsiteX66" fmla="*/ 7904675 w 8631811"/>
              <a:gd name="connsiteY66" fmla="*/ 726853 h 5609155"/>
              <a:gd name="connsiteX67" fmla="*/ 7936588 w 8631811"/>
              <a:gd name="connsiteY67" fmla="*/ 689010 h 5609155"/>
              <a:gd name="connsiteX68" fmla="*/ 7968735 w 8631811"/>
              <a:gd name="connsiteY68" fmla="*/ 651447 h 5609155"/>
              <a:gd name="connsiteX69" fmla="*/ 8001122 w 8631811"/>
              <a:gd name="connsiteY69" fmla="*/ 614171 h 5609155"/>
              <a:gd name="connsiteX70" fmla="*/ 8033755 w 8631811"/>
              <a:gd name="connsiteY70" fmla="*/ 577189 h 5609155"/>
              <a:gd name="connsiteX71" fmla="*/ 8066638 w 8631811"/>
              <a:gd name="connsiteY71" fmla="*/ 540507 h 5609155"/>
              <a:gd name="connsiteX72" fmla="*/ 8099780 w 8631811"/>
              <a:gd name="connsiteY72" fmla="*/ 504132 h 5609155"/>
              <a:gd name="connsiteX73" fmla="*/ 8133184 w 8631811"/>
              <a:gd name="connsiteY73" fmla="*/ 468072 h 5609155"/>
              <a:gd name="connsiteX74" fmla="*/ 8166858 w 8631811"/>
              <a:gd name="connsiteY74" fmla="*/ 432332 h 5609155"/>
              <a:gd name="connsiteX75" fmla="*/ 8200807 w 8631811"/>
              <a:gd name="connsiteY75" fmla="*/ 396920 h 5609155"/>
              <a:gd name="connsiteX76" fmla="*/ 8235037 w 8631811"/>
              <a:gd name="connsiteY76" fmla="*/ 361843 h 5609155"/>
              <a:gd name="connsiteX77" fmla="*/ 8269554 w 8631811"/>
              <a:gd name="connsiteY77" fmla="*/ 327107 h 5609155"/>
              <a:gd name="connsiteX78" fmla="*/ 8304364 w 8631811"/>
              <a:gd name="connsiteY78" fmla="*/ 292718 h 5609155"/>
              <a:gd name="connsiteX79" fmla="*/ 8339473 w 8631811"/>
              <a:gd name="connsiteY79" fmla="*/ 258685 h 5609155"/>
              <a:gd name="connsiteX80" fmla="*/ 8374886 w 8631811"/>
              <a:gd name="connsiteY80" fmla="*/ 225013 h 5609155"/>
              <a:gd name="connsiteX81" fmla="*/ 8410611 w 8631811"/>
              <a:gd name="connsiteY81" fmla="*/ 191709 h 5609155"/>
              <a:gd name="connsiteX82" fmla="*/ 8446651 w 8631811"/>
              <a:gd name="connsiteY82" fmla="*/ 158780 h 5609155"/>
              <a:gd name="connsiteX83" fmla="*/ 8483015 w 8631811"/>
              <a:gd name="connsiteY83" fmla="*/ 126233 h 5609155"/>
              <a:gd name="connsiteX84" fmla="*/ 8519706 w 8631811"/>
              <a:gd name="connsiteY84" fmla="*/ 94075 h 5609155"/>
              <a:gd name="connsiteX85" fmla="*/ 8556732 w 8631811"/>
              <a:gd name="connsiteY85" fmla="*/ 62312 h 5609155"/>
              <a:gd name="connsiteX86" fmla="*/ 8594098 w 8631811"/>
              <a:gd name="connsiteY86" fmla="*/ 30951 h 5609155"/>
              <a:gd name="connsiteX87" fmla="*/ 8631811 w 8631811"/>
              <a:gd name="connsiteY87" fmla="*/ 0 h 560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631811" h="5609155">
                <a:moveTo>
                  <a:pt x="8631811" y="0"/>
                </a:moveTo>
                <a:lnTo>
                  <a:pt x="510" y="0"/>
                </a:lnTo>
                <a:cubicBezTo>
                  <a:pt x="-1254" y="1862614"/>
                  <a:pt x="2274" y="3731338"/>
                  <a:pt x="510" y="5593952"/>
                </a:cubicBezTo>
                <a:cubicBezTo>
                  <a:pt x="2341" y="5593771"/>
                  <a:pt x="4397374" y="5618022"/>
                  <a:pt x="4415084" y="5605626"/>
                </a:cubicBezTo>
                <a:cubicBezTo>
                  <a:pt x="4394366" y="5618587"/>
                  <a:pt x="4458338" y="5576581"/>
                  <a:pt x="4453498" y="5565111"/>
                </a:cubicBezTo>
                <a:cubicBezTo>
                  <a:pt x="4458213" y="5577087"/>
                  <a:pt x="4475346" y="5546074"/>
                  <a:pt x="4486270" y="5536556"/>
                </a:cubicBezTo>
                <a:lnTo>
                  <a:pt x="4518701" y="5507747"/>
                </a:lnTo>
                <a:lnTo>
                  <a:pt x="4550797" y="5478687"/>
                </a:lnTo>
                <a:lnTo>
                  <a:pt x="4582564" y="5449380"/>
                </a:lnTo>
                <a:lnTo>
                  <a:pt x="4614010" y="5419830"/>
                </a:lnTo>
                <a:lnTo>
                  <a:pt x="4645139" y="5390040"/>
                </a:lnTo>
                <a:lnTo>
                  <a:pt x="4675959" y="5360014"/>
                </a:lnTo>
                <a:lnTo>
                  <a:pt x="4706476" y="5329755"/>
                </a:lnTo>
                <a:lnTo>
                  <a:pt x="4736695" y="5299266"/>
                </a:lnTo>
                <a:lnTo>
                  <a:pt x="4766625" y="5268551"/>
                </a:lnTo>
                <a:lnTo>
                  <a:pt x="4796270" y="5237614"/>
                </a:lnTo>
                <a:lnTo>
                  <a:pt x="4825637" y="5206458"/>
                </a:lnTo>
                <a:lnTo>
                  <a:pt x="4854733" y="5175087"/>
                </a:lnTo>
                <a:lnTo>
                  <a:pt x="4883564" y="5143504"/>
                </a:lnTo>
                <a:lnTo>
                  <a:pt x="4912136" y="5111713"/>
                </a:lnTo>
                <a:lnTo>
                  <a:pt x="4940455" y="5079717"/>
                </a:lnTo>
                <a:lnTo>
                  <a:pt x="4968528" y="5047519"/>
                </a:lnTo>
                <a:lnTo>
                  <a:pt x="4996362" y="5015124"/>
                </a:lnTo>
                <a:lnTo>
                  <a:pt x="5023962" y="4982535"/>
                </a:lnTo>
                <a:lnTo>
                  <a:pt x="5051334" y="4949755"/>
                </a:lnTo>
                <a:lnTo>
                  <a:pt x="5078486" y="4916787"/>
                </a:lnTo>
                <a:lnTo>
                  <a:pt x="5105424" y="4883636"/>
                </a:lnTo>
                <a:lnTo>
                  <a:pt x="5132154" y="4850305"/>
                </a:lnTo>
                <a:lnTo>
                  <a:pt x="5158681" y="4816797"/>
                </a:lnTo>
                <a:lnTo>
                  <a:pt x="5211157" y="4749265"/>
                </a:lnTo>
                <a:lnTo>
                  <a:pt x="5262901" y="4681068"/>
                </a:lnTo>
                <a:lnTo>
                  <a:pt x="5313965" y="4612234"/>
                </a:lnTo>
                <a:lnTo>
                  <a:pt x="5364399" y="4542793"/>
                </a:lnTo>
                <a:lnTo>
                  <a:pt x="5414255" y="4472771"/>
                </a:lnTo>
                <a:lnTo>
                  <a:pt x="5463582" y="4402196"/>
                </a:lnTo>
                <a:lnTo>
                  <a:pt x="5512432" y="4331098"/>
                </a:lnTo>
                <a:lnTo>
                  <a:pt x="5560854" y="4259503"/>
                </a:lnTo>
                <a:lnTo>
                  <a:pt x="5608901" y="4187441"/>
                </a:lnTo>
                <a:lnTo>
                  <a:pt x="5680377" y="4078531"/>
                </a:lnTo>
                <a:lnTo>
                  <a:pt x="5751291" y="3968727"/>
                </a:lnTo>
                <a:lnTo>
                  <a:pt x="5868700" y="3783989"/>
                </a:lnTo>
                <a:lnTo>
                  <a:pt x="6198426" y="3258640"/>
                </a:lnTo>
                <a:lnTo>
                  <a:pt x="6294647" y="3107321"/>
                </a:lnTo>
                <a:lnTo>
                  <a:pt x="6367867" y="2993735"/>
                </a:lnTo>
                <a:lnTo>
                  <a:pt x="6448414" y="2869788"/>
                </a:lnTo>
                <a:lnTo>
                  <a:pt x="6559384" y="2696807"/>
                </a:lnTo>
                <a:lnTo>
                  <a:pt x="6971450" y="2045274"/>
                </a:lnTo>
                <a:lnTo>
                  <a:pt x="7081972" y="1872743"/>
                </a:lnTo>
                <a:lnTo>
                  <a:pt x="7165496" y="1744202"/>
                </a:lnTo>
                <a:lnTo>
                  <a:pt x="7221568" y="1659017"/>
                </a:lnTo>
                <a:lnTo>
                  <a:pt x="7278006" y="1574303"/>
                </a:lnTo>
                <a:lnTo>
                  <a:pt x="7334860" y="1490113"/>
                </a:lnTo>
                <a:lnTo>
                  <a:pt x="7392174" y="1406503"/>
                </a:lnTo>
                <a:lnTo>
                  <a:pt x="7449998" y="1323526"/>
                </a:lnTo>
                <a:lnTo>
                  <a:pt x="7508378" y="1241237"/>
                </a:lnTo>
                <a:lnTo>
                  <a:pt x="7567361" y="1159689"/>
                </a:lnTo>
                <a:lnTo>
                  <a:pt x="7597094" y="1119210"/>
                </a:lnTo>
                <a:lnTo>
                  <a:pt x="7626996" y="1078937"/>
                </a:lnTo>
                <a:lnTo>
                  <a:pt x="7657072" y="1038876"/>
                </a:lnTo>
                <a:lnTo>
                  <a:pt x="7687328" y="999035"/>
                </a:lnTo>
                <a:lnTo>
                  <a:pt x="7717771" y="959419"/>
                </a:lnTo>
                <a:lnTo>
                  <a:pt x="7748407" y="920037"/>
                </a:lnTo>
                <a:lnTo>
                  <a:pt x="7779240" y="880894"/>
                </a:lnTo>
                <a:lnTo>
                  <a:pt x="7810278" y="841997"/>
                </a:lnTo>
                <a:lnTo>
                  <a:pt x="7841525" y="803354"/>
                </a:lnTo>
                <a:lnTo>
                  <a:pt x="7872989" y="764970"/>
                </a:lnTo>
                <a:lnTo>
                  <a:pt x="7904675" y="726853"/>
                </a:lnTo>
                <a:lnTo>
                  <a:pt x="7936588" y="689010"/>
                </a:lnTo>
                <a:lnTo>
                  <a:pt x="7968735" y="651447"/>
                </a:lnTo>
                <a:lnTo>
                  <a:pt x="8001122" y="614171"/>
                </a:lnTo>
                <a:lnTo>
                  <a:pt x="8033755" y="577189"/>
                </a:lnTo>
                <a:lnTo>
                  <a:pt x="8066638" y="540507"/>
                </a:lnTo>
                <a:lnTo>
                  <a:pt x="8099780" y="504132"/>
                </a:lnTo>
                <a:lnTo>
                  <a:pt x="8133184" y="468072"/>
                </a:lnTo>
                <a:lnTo>
                  <a:pt x="8166858" y="432332"/>
                </a:lnTo>
                <a:lnTo>
                  <a:pt x="8200807" y="396920"/>
                </a:lnTo>
                <a:lnTo>
                  <a:pt x="8235037" y="361843"/>
                </a:lnTo>
                <a:lnTo>
                  <a:pt x="8269554" y="327107"/>
                </a:lnTo>
                <a:lnTo>
                  <a:pt x="8304364" y="292718"/>
                </a:lnTo>
                <a:lnTo>
                  <a:pt x="8339473" y="258685"/>
                </a:lnTo>
                <a:lnTo>
                  <a:pt x="8374886" y="225013"/>
                </a:lnTo>
                <a:lnTo>
                  <a:pt x="8410611" y="191709"/>
                </a:lnTo>
                <a:lnTo>
                  <a:pt x="8446651" y="158780"/>
                </a:lnTo>
                <a:lnTo>
                  <a:pt x="8483015" y="126233"/>
                </a:lnTo>
                <a:lnTo>
                  <a:pt x="8519706" y="94075"/>
                </a:lnTo>
                <a:lnTo>
                  <a:pt x="8556732" y="62312"/>
                </a:lnTo>
                <a:lnTo>
                  <a:pt x="8594098" y="30951"/>
                </a:lnTo>
                <a:lnTo>
                  <a:pt x="8631811" y="0"/>
                </a:lnTo>
                <a:close/>
              </a:path>
            </a:pathLst>
          </a:custGeom>
          <a:solidFill>
            <a:schemeClr val="bg1"/>
          </a:solidFill>
        </p:spPr>
        <p:txBody>
          <a:bodyPr wrap="square" lIns="0" tIns="0" rIns="0" bIns="0" rtlCol="0"/>
          <a:lstStyle/>
          <a:p>
            <a:endParaRPr/>
          </a:p>
        </p:txBody>
      </p:sp>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C1E0F7"/>
                </a:solidFill>
                <a:latin typeface="Avenir Next LT Pro Demi" panose="020B0704020202020204" pitchFamily="34" charset="0"/>
              </a:rPr>
              <a:pPr algn="r"/>
              <a:t>‹#›</a:t>
            </a:fld>
            <a:endParaRPr lang="en-GB">
              <a:solidFill>
                <a:srgbClr val="C1E0F7"/>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6693747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2892247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4" name="Tijdelijke aanduiding voor inhoud 2">
            <a:extLst>
              <a:ext uri="{FF2B5EF4-FFF2-40B4-BE49-F238E27FC236}">
                <a16:creationId xmlns:a16="http://schemas.microsoft.com/office/drawing/2014/main" id="{ABE99CAF-2B6B-D3B7-3276-2F78CF56013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914400" indent="-4572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a:p>
            <a:pPr lvl="3"/>
            <a:r>
              <a:rPr lang="nl-NL"/>
              <a:t>	</a:t>
            </a:r>
          </a:p>
        </p:txBody>
      </p: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32622166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userDrawn="1"/>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9" name="object 2">
            <a:extLst>
              <a:ext uri="{FF2B5EF4-FFF2-40B4-BE49-F238E27FC236}">
                <a16:creationId xmlns:a16="http://schemas.microsoft.com/office/drawing/2014/main" id="{ACCBBD6F-4DDA-7EBF-8B2B-98C145727807}"/>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16332299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ContentPage-Simpl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D7A8FF-5576-4700-8E4E-78B34DA0BA14}"/>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4" name="Straight Connector 3">
            <a:extLst>
              <a:ext uri="{FF2B5EF4-FFF2-40B4-BE49-F238E27FC236}">
                <a16:creationId xmlns:a16="http://schemas.microsoft.com/office/drawing/2014/main" id="{ED35927B-2CDD-149A-67CF-A3E95A499FD0}"/>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pic>
        <p:nvPicPr>
          <p:cNvPr id="13" name="Afbeelding 9">
            <a:extLst>
              <a:ext uri="{FF2B5EF4-FFF2-40B4-BE49-F238E27FC236}">
                <a16:creationId xmlns:a16="http://schemas.microsoft.com/office/drawing/2014/main" id="{B765137F-92BE-CAC7-9BB1-0EAED8F070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6" name="Tijdelijke aanduiding voor inhoud 2">
            <a:extLst>
              <a:ext uri="{FF2B5EF4-FFF2-40B4-BE49-F238E27FC236}">
                <a16:creationId xmlns:a16="http://schemas.microsoft.com/office/drawing/2014/main" id="{47E1EC04-2CA4-6D3E-D3AE-CBAAD3DEA424}"/>
              </a:ext>
            </a:extLst>
          </p:cNvPr>
          <p:cNvSpPr>
            <a:spLocks noGrp="1"/>
          </p:cNvSpPr>
          <p:nvPr>
            <p:ph idx="10" hasCustomPrompt="1"/>
          </p:nvPr>
        </p:nvSpPr>
        <p:spPr>
          <a:xfrm>
            <a:off x="919845" y="4377269"/>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19" name="Tijdelijke aanduiding voor inhoud 2">
            <a:extLst>
              <a:ext uri="{FF2B5EF4-FFF2-40B4-BE49-F238E27FC236}">
                <a16:creationId xmlns:a16="http://schemas.microsoft.com/office/drawing/2014/main" id="{5771DA71-9147-364A-B744-030478CB95FE}"/>
              </a:ext>
            </a:extLst>
          </p:cNvPr>
          <p:cNvSpPr>
            <a:spLocks noGrp="1"/>
          </p:cNvSpPr>
          <p:nvPr>
            <p:ph idx="11" hasCustomPrompt="1"/>
          </p:nvPr>
        </p:nvSpPr>
        <p:spPr>
          <a:xfrm>
            <a:off x="7827469" y="4368800"/>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20" name="Tijdelijke aanduiding voor inhoud 2">
            <a:extLst>
              <a:ext uri="{FF2B5EF4-FFF2-40B4-BE49-F238E27FC236}">
                <a16:creationId xmlns:a16="http://schemas.microsoft.com/office/drawing/2014/main" id="{C4CDA7BC-97C0-ADB4-CC45-08E61EEB268E}"/>
              </a:ext>
            </a:extLst>
          </p:cNvPr>
          <p:cNvSpPr>
            <a:spLocks noGrp="1"/>
          </p:cNvSpPr>
          <p:nvPr>
            <p:ph idx="12" hasCustomPrompt="1"/>
          </p:nvPr>
        </p:nvSpPr>
        <p:spPr>
          <a:xfrm>
            <a:off x="4378515" y="4377268"/>
            <a:ext cx="3254218" cy="1986584"/>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sp>
        <p:nvSpPr>
          <p:cNvPr id="21" name="Tijdelijke aanduiding voor inhoud 2">
            <a:extLst>
              <a:ext uri="{FF2B5EF4-FFF2-40B4-BE49-F238E27FC236}">
                <a16:creationId xmlns:a16="http://schemas.microsoft.com/office/drawing/2014/main" id="{70382A54-31FD-48F3-5D44-4C99AD5B9C8F}"/>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22" name="Titel 1">
            <a:extLst>
              <a:ext uri="{FF2B5EF4-FFF2-40B4-BE49-F238E27FC236}">
                <a16:creationId xmlns:a16="http://schemas.microsoft.com/office/drawing/2014/main" id="{597A4BAC-36C6-B0BD-EAA6-F4A887BA04A3}"/>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24" name="object 2">
            <a:extLst>
              <a:ext uri="{FF2B5EF4-FFF2-40B4-BE49-F238E27FC236}">
                <a16:creationId xmlns:a16="http://schemas.microsoft.com/office/drawing/2014/main" id="{273AC5AD-9A64-04BF-711D-D1DBF7E2C10C}"/>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5" name="object 2">
            <a:extLst>
              <a:ext uri="{FF2B5EF4-FFF2-40B4-BE49-F238E27FC236}">
                <a16:creationId xmlns:a16="http://schemas.microsoft.com/office/drawing/2014/main" id="{A83B9580-1B81-E4A6-EA76-E84C36BB9F97}"/>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6453109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ontentPage-Simpl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D7A8FF-5576-4700-8E4E-78B34DA0BA14}"/>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4" name="Straight Connector 3">
            <a:extLst>
              <a:ext uri="{FF2B5EF4-FFF2-40B4-BE49-F238E27FC236}">
                <a16:creationId xmlns:a16="http://schemas.microsoft.com/office/drawing/2014/main" id="{ED35927B-2CDD-149A-67CF-A3E95A499FD0}"/>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3" name="Tijdelijke aanduiding voor inhoud 2">
            <a:extLst>
              <a:ext uri="{FF2B5EF4-FFF2-40B4-BE49-F238E27FC236}">
                <a16:creationId xmlns:a16="http://schemas.microsoft.com/office/drawing/2014/main" id="{1A2561F8-5EA4-9F7F-6D86-B9BCCB9FD094}"/>
              </a:ext>
            </a:extLst>
          </p:cNvPr>
          <p:cNvSpPr>
            <a:spLocks noGrp="1"/>
          </p:cNvSpPr>
          <p:nvPr>
            <p:ph idx="10" hasCustomPrompt="1"/>
          </p:nvPr>
        </p:nvSpPr>
        <p:spPr>
          <a:xfrm>
            <a:off x="756555" y="2218967"/>
            <a:ext cx="3133392" cy="4196687"/>
          </a:xfrm>
          <a:prstGeom prst="rect">
            <a:avLst/>
          </a:prstGeom>
        </p:spPr>
        <p:txBody>
          <a:bodyPr/>
          <a:lstStyle>
            <a:lvl1pPr marL="0" indent="0">
              <a:buNone/>
              <a:defRPr>
                <a:solidFill>
                  <a:srgbClr val="2C3051"/>
                </a:solidFill>
                <a:latin typeface="Avenir" panose="02000503020000020003"/>
              </a:defRPr>
            </a:lvl1pPr>
            <a:lvl2pPr marL="685800" indent="-228600">
              <a:buClr>
                <a:srgbClr val="D86533"/>
              </a:buClr>
              <a:buSzPct val="50000"/>
              <a:buFont typeface="Courier New" panose="02070309020205020404" pitchFamily="49" charset="0"/>
              <a:buChar char="o"/>
              <a:defRPr b="0" i="0">
                <a:solidFill>
                  <a:srgbClr val="2C3051"/>
                </a:solidFill>
                <a:latin typeface="Avenir Medium" panose="02000503020000020003" pitchFamily="2" charset="0"/>
              </a:defRPr>
            </a:lvl2pPr>
            <a:lvl3pPr marL="1143000" indent="-228600">
              <a:buClr>
                <a:srgbClr val="2C3051"/>
              </a:buClr>
              <a:buSzPct val="50000"/>
              <a:buFont typeface="Courier New" panose="02070309020205020404" pitchFamily="49" charset="0"/>
              <a:buChar char="o"/>
              <a:defRPr sz="1800">
                <a:solidFill>
                  <a:srgbClr val="2C3051"/>
                </a:solidFill>
                <a:latin typeface="Avenir Book" panose="02000503020000020003" pitchFamily="2" charset="0"/>
              </a:defRPr>
            </a:lvl3pPr>
            <a:lvl4pPr marL="1600200" indent="-228600">
              <a:buClr>
                <a:srgbClr val="C1E0F7"/>
              </a:buClr>
              <a:buFont typeface="Arial" panose="020B0604020202020204" pitchFamily="34" charset="0"/>
              <a:buChar char="•"/>
              <a:defRPr sz="1600">
                <a:solidFill>
                  <a:srgbClr val="2C3051"/>
                </a:solidFill>
                <a:latin typeface="Avenir Book" panose="02000503020000020003" pitchFamily="2" charset="0"/>
              </a:defRPr>
            </a:lvl4pPr>
            <a:lvl5pPr>
              <a:defRPr>
                <a:solidFill>
                  <a:srgbClr val="2C3051"/>
                </a:solidFill>
                <a:latin typeface="Avenir Book" panose="02000503020000020003" pitchFamily="2" charset="0"/>
              </a:defRPr>
            </a:lvl5pPr>
          </a:lstStyle>
          <a:p>
            <a:pPr lvl="0"/>
            <a:r>
              <a:rPr lang="nl-NL"/>
              <a:t>Image</a:t>
            </a:r>
          </a:p>
        </p:txBody>
      </p:sp>
      <p:pic>
        <p:nvPicPr>
          <p:cNvPr id="15" name="Afbeelding 9">
            <a:extLst>
              <a:ext uri="{FF2B5EF4-FFF2-40B4-BE49-F238E27FC236}">
                <a16:creationId xmlns:a16="http://schemas.microsoft.com/office/drawing/2014/main" id="{D2982903-82CD-1214-4468-992295E62FA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8" name="Tijdelijke aanduiding voor inhoud 2">
            <a:extLst>
              <a:ext uri="{FF2B5EF4-FFF2-40B4-BE49-F238E27FC236}">
                <a16:creationId xmlns:a16="http://schemas.microsoft.com/office/drawing/2014/main" id="{F1BE5FF6-F4BC-7B03-1970-1AFBCBD156DC}"/>
              </a:ext>
            </a:extLst>
          </p:cNvPr>
          <p:cNvSpPr>
            <a:spLocks noGrp="1"/>
          </p:cNvSpPr>
          <p:nvPr>
            <p:ph idx="1" hasCustomPrompt="1"/>
          </p:nvPr>
        </p:nvSpPr>
        <p:spPr>
          <a:xfrm>
            <a:off x="4089399" y="2218967"/>
            <a:ext cx="7182756"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
        <p:nvSpPr>
          <p:cNvPr id="20" name="Titel 1">
            <a:extLst>
              <a:ext uri="{FF2B5EF4-FFF2-40B4-BE49-F238E27FC236}">
                <a16:creationId xmlns:a16="http://schemas.microsoft.com/office/drawing/2014/main" id="{94A05666-F05D-7446-A429-90E5C501D39E}"/>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21" name="object 2">
            <a:extLst>
              <a:ext uri="{FF2B5EF4-FFF2-40B4-BE49-F238E27FC236}">
                <a16:creationId xmlns:a16="http://schemas.microsoft.com/office/drawing/2014/main" id="{B624C766-B6F8-2B15-D9DA-AF0F4AB674F6}"/>
              </a:ext>
            </a:extLst>
          </p:cNvPr>
          <p:cNvSpPr/>
          <p:nvPr userDrawn="1"/>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2" name="object 2">
            <a:extLst>
              <a:ext uri="{FF2B5EF4-FFF2-40B4-BE49-F238E27FC236}">
                <a16:creationId xmlns:a16="http://schemas.microsoft.com/office/drawing/2014/main" id="{26AB7F64-1038-F629-CADB-42710BBA3FC0}"/>
              </a:ext>
            </a:extLst>
          </p:cNvPr>
          <p:cNvSpPr/>
          <p:nvPr userDrawn="1"/>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Tree>
    <p:extLst>
      <p:ext uri="{BB962C8B-B14F-4D97-AF65-F5344CB8AC3E}">
        <p14:creationId xmlns:p14="http://schemas.microsoft.com/office/powerpoint/2010/main" val="23912336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ContentPage-Simple">
    <p:spTree>
      <p:nvGrpSpPr>
        <p:cNvPr id="1" name=""/>
        <p:cNvGrpSpPr/>
        <p:nvPr/>
      </p:nvGrpSpPr>
      <p:grpSpPr>
        <a:xfrm>
          <a:off x="0" y="0"/>
          <a:ext cx="0" cy="0"/>
          <a:chOff x="0" y="0"/>
          <a:chExt cx="0" cy="0"/>
        </a:xfrm>
      </p:grpSpPr>
      <p:pic>
        <p:nvPicPr>
          <p:cNvPr id="7" name="object 16">
            <a:extLst>
              <a:ext uri="{FF2B5EF4-FFF2-40B4-BE49-F238E27FC236}">
                <a16:creationId xmlns:a16="http://schemas.microsoft.com/office/drawing/2014/main" id="{7E332878-5E44-86D9-EC1F-71F4B32B2F00}"/>
              </a:ext>
            </a:extLst>
          </p:cNvPr>
          <p:cNvPicPr/>
          <p:nvPr userDrawn="1"/>
        </p:nvPicPr>
        <p:blipFill rotWithShape="1">
          <a:blip r:embed="rId2" cstate="screen">
            <a:extLst>
              <a:ext uri="{28A0092B-C50C-407E-A947-70E740481C1C}">
                <a14:useLocalDpi xmlns:a14="http://schemas.microsoft.com/office/drawing/2010/main"/>
              </a:ext>
            </a:extLst>
          </a:blip>
          <a:srcRect/>
          <a:stretch/>
        </p:blipFill>
        <p:spPr>
          <a:xfrm>
            <a:off x="-29029" y="-79828"/>
            <a:ext cx="2770523" cy="2216948"/>
          </a:xfrm>
          <a:prstGeom prst="rect">
            <a:avLst/>
          </a:prstGeom>
        </p:spPr>
      </p:pic>
      <p:sp>
        <p:nvSpPr>
          <p:cNvPr id="20" name="object 2">
            <a:extLst>
              <a:ext uri="{FF2B5EF4-FFF2-40B4-BE49-F238E27FC236}">
                <a16:creationId xmlns:a16="http://schemas.microsoft.com/office/drawing/2014/main" id="{25F66D4E-5F42-A0FB-4EA5-96BBF1188BAD}"/>
              </a:ext>
            </a:extLst>
          </p:cNvPr>
          <p:cNvSpPr/>
          <p:nvPr userDrawn="1"/>
        </p:nvSpPr>
        <p:spPr>
          <a:xfrm>
            <a:off x="-29028" y="-79828"/>
            <a:ext cx="12453256" cy="6937827"/>
          </a:xfrm>
          <a:custGeom>
            <a:avLst/>
            <a:gdLst/>
            <a:ahLst/>
            <a:cxnLst/>
            <a:rect l="l" t="t" r="r" b="b"/>
            <a:pathLst>
              <a:path w="12134850" h="6681470">
                <a:moveTo>
                  <a:pt x="12134646" y="0"/>
                </a:moveTo>
                <a:lnTo>
                  <a:pt x="2527896" y="0"/>
                </a:lnTo>
                <a:lnTo>
                  <a:pt x="2487084" y="29083"/>
                </a:lnTo>
                <a:lnTo>
                  <a:pt x="2447387" y="59278"/>
                </a:lnTo>
                <a:lnTo>
                  <a:pt x="2408744" y="90527"/>
                </a:lnTo>
                <a:lnTo>
                  <a:pt x="2371096" y="122768"/>
                </a:lnTo>
                <a:lnTo>
                  <a:pt x="2334380" y="155946"/>
                </a:lnTo>
                <a:lnTo>
                  <a:pt x="2298536" y="189999"/>
                </a:lnTo>
                <a:lnTo>
                  <a:pt x="2263502" y="224870"/>
                </a:lnTo>
                <a:lnTo>
                  <a:pt x="2229218" y="260499"/>
                </a:lnTo>
                <a:lnTo>
                  <a:pt x="2195622" y="296828"/>
                </a:lnTo>
                <a:lnTo>
                  <a:pt x="2162654" y="333799"/>
                </a:lnTo>
                <a:lnTo>
                  <a:pt x="2130253" y="371351"/>
                </a:lnTo>
                <a:lnTo>
                  <a:pt x="2098357" y="409427"/>
                </a:lnTo>
                <a:lnTo>
                  <a:pt x="2066906" y="447967"/>
                </a:lnTo>
                <a:lnTo>
                  <a:pt x="2035838" y="486913"/>
                </a:lnTo>
                <a:lnTo>
                  <a:pt x="2005092" y="526206"/>
                </a:lnTo>
                <a:lnTo>
                  <a:pt x="1974608" y="565787"/>
                </a:lnTo>
                <a:lnTo>
                  <a:pt x="1914180" y="645578"/>
                </a:lnTo>
                <a:lnTo>
                  <a:pt x="1793777" y="806029"/>
                </a:lnTo>
                <a:lnTo>
                  <a:pt x="1763415" y="845980"/>
                </a:lnTo>
                <a:lnTo>
                  <a:pt x="1706368" y="920161"/>
                </a:lnTo>
                <a:lnTo>
                  <a:pt x="1654453" y="988919"/>
                </a:lnTo>
                <a:lnTo>
                  <a:pt x="1527585" y="1159060"/>
                </a:lnTo>
                <a:lnTo>
                  <a:pt x="1502213" y="1192554"/>
                </a:lnTo>
                <a:lnTo>
                  <a:pt x="1476695" y="1225802"/>
                </a:lnTo>
                <a:lnTo>
                  <a:pt x="1450969" y="1258775"/>
                </a:lnTo>
                <a:lnTo>
                  <a:pt x="1424972" y="1291443"/>
                </a:lnTo>
                <a:lnTo>
                  <a:pt x="1398643" y="1323778"/>
                </a:lnTo>
                <a:lnTo>
                  <a:pt x="1371918" y="1355750"/>
                </a:lnTo>
                <a:lnTo>
                  <a:pt x="1344736" y="1387331"/>
                </a:lnTo>
                <a:lnTo>
                  <a:pt x="1317034" y="1418490"/>
                </a:lnTo>
                <a:lnTo>
                  <a:pt x="1288748" y="1449199"/>
                </a:lnTo>
                <a:lnTo>
                  <a:pt x="1259818" y="1479429"/>
                </a:lnTo>
                <a:lnTo>
                  <a:pt x="1230180" y="1509150"/>
                </a:lnTo>
                <a:lnTo>
                  <a:pt x="1199772" y="1538333"/>
                </a:lnTo>
                <a:lnTo>
                  <a:pt x="1168531" y="1566950"/>
                </a:lnTo>
                <a:lnTo>
                  <a:pt x="1136396" y="1594970"/>
                </a:lnTo>
                <a:lnTo>
                  <a:pt x="1103303" y="1622366"/>
                </a:lnTo>
                <a:lnTo>
                  <a:pt x="1069190" y="1649107"/>
                </a:lnTo>
                <a:lnTo>
                  <a:pt x="1033994" y="1675165"/>
                </a:lnTo>
                <a:lnTo>
                  <a:pt x="997654" y="1700510"/>
                </a:lnTo>
                <a:lnTo>
                  <a:pt x="960106" y="1725113"/>
                </a:lnTo>
                <a:lnTo>
                  <a:pt x="921289" y="1748945"/>
                </a:lnTo>
                <a:lnTo>
                  <a:pt x="881139" y="1771977"/>
                </a:lnTo>
                <a:lnTo>
                  <a:pt x="839595" y="1794179"/>
                </a:lnTo>
                <a:lnTo>
                  <a:pt x="796594" y="1815523"/>
                </a:lnTo>
                <a:lnTo>
                  <a:pt x="752072" y="1835980"/>
                </a:lnTo>
                <a:lnTo>
                  <a:pt x="705969" y="1855520"/>
                </a:lnTo>
                <a:lnTo>
                  <a:pt x="658221" y="1874113"/>
                </a:lnTo>
                <a:lnTo>
                  <a:pt x="608767" y="1891732"/>
                </a:lnTo>
                <a:lnTo>
                  <a:pt x="557542" y="1908346"/>
                </a:lnTo>
                <a:lnTo>
                  <a:pt x="504486" y="1923927"/>
                </a:lnTo>
                <a:lnTo>
                  <a:pt x="449536" y="1938445"/>
                </a:lnTo>
                <a:lnTo>
                  <a:pt x="392628" y="1951872"/>
                </a:lnTo>
                <a:lnTo>
                  <a:pt x="333701" y="1964177"/>
                </a:lnTo>
                <a:lnTo>
                  <a:pt x="272693" y="1975332"/>
                </a:lnTo>
                <a:lnTo>
                  <a:pt x="209540" y="1985309"/>
                </a:lnTo>
                <a:lnTo>
                  <a:pt x="144180" y="1994076"/>
                </a:lnTo>
                <a:lnTo>
                  <a:pt x="76551" y="2001606"/>
                </a:lnTo>
                <a:lnTo>
                  <a:pt x="6591" y="2007870"/>
                </a:lnTo>
                <a:lnTo>
                  <a:pt x="0" y="2007870"/>
                </a:lnTo>
                <a:lnTo>
                  <a:pt x="0" y="6680860"/>
                </a:lnTo>
                <a:lnTo>
                  <a:pt x="12134646" y="6680860"/>
                </a:lnTo>
                <a:lnTo>
                  <a:pt x="12134646" y="0"/>
                </a:lnTo>
                <a:close/>
              </a:path>
            </a:pathLst>
          </a:custGeom>
          <a:solidFill>
            <a:schemeClr val="bg1"/>
          </a:solidFill>
        </p:spPr>
        <p:txBody>
          <a:bodyPr wrap="square" lIns="0" tIns="0" rIns="0" bIns="0" rtlCol="0"/>
          <a:lstStyle/>
          <a:p>
            <a:endParaRPr/>
          </a:p>
        </p:txBody>
      </p:sp>
      <p:sp>
        <p:nvSpPr>
          <p:cNvPr id="9" name="Titel 1">
            <a:extLst>
              <a:ext uri="{FF2B5EF4-FFF2-40B4-BE49-F238E27FC236}">
                <a16:creationId xmlns:a16="http://schemas.microsoft.com/office/drawing/2014/main" id="{DC0F8866-52FC-8D00-548F-06A6C3C72580}"/>
              </a:ext>
            </a:extLst>
          </p:cNvPr>
          <p:cNvSpPr>
            <a:spLocks noGrp="1"/>
          </p:cNvSpPr>
          <p:nvPr>
            <p:ph type="title"/>
          </p:nvPr>
        </p:nvSpPr>
        <p:spPr>
          <a:xfrm>
            <a:off x="2152733"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fr-FR"/>
              <a:t>Modifiez le style du titre</a:t>
            </a:r>
            <a:endParaRPr lang="nl-BE"/>
          </a:p>
        </p:txBody>
      </p:sp>
      <p:sp>
        <p:nvSpPr>
          <p:cNvPr id="10" name="TextBox 9">
            <a:extLst>
              <a:ext uri="{FF2B5EF4-FFF2-40B4-BE49-F238E27FC236}">
                <a16:creationId xmlns:a16="http://schemas.microsoft.com/office/drawing/2014/main" id="{1328CA91-A3DB-33CC-D3E5-1C0AC867218B}"/>
              </a:ext>
            </a:extLst>
          </p:cNvPr>
          <p:cNvSpPr txBox="1"/>
          <p:nvPr userDrawn="1"/>
        </p:nvSpPr>
        <p:spPr>
          <a:xfrm>
            <a:off x="10921174" y="6363852"/>
            <a:ext cx="1182254" cy="307777"/>
          </a:xfrm>
          <a:prstGeom prst="rect">
            <a:avLst/>
          </a:prstGeom>
          <a:noFill/>
        </p:spPr>
        <p:txBody>
          <a:bodyPr wrap="square" rtlCol="0">
            <a:spAutoFit/>
          </a:bodyPr>
          <a:lstStyle/>
          <a:p>
            <a:pPr algn="r"/>
            <a:fld id="{854852F9-C3A0-4A3E-9AC1-EC03AA4C68BF}" type="slidenum">
              <a:rPr lang="en-GB" sz="1400" smtClean="0">
                <a:latin typeface="Avenir Next LT Pro Demi" panose="020B0704020202020204" pitchFamily="34" charset="0"/>
              </a:rPr>
              <a:pPr algn="r"/>
              <a:t>‹#›</a:t>
            </a:fld>
            <a:endParaRPr lang="en-GB">
              <a:latin typeface="Avenir Next LT Pro Demi" panose="020B0704020202020204" pitchFamily="34" charset="0"/>
            </a:endParaRPr>
          </a:p>
        </p:txBody>
      </p:sp>
      <p:cxnSp>
        <p:nvCxnSpPr>
          <p:cNvPr id="11" name="Straight Connector 10">
            <a:extLst>
              <a:ext uri="{FF2B5EF4-FFF2-40B4-BE49-F238E27FC236}">
                <a16:creationId xmlns:a16="http://schemas.microsoft.com/office/drawing/2014/main" id="{6A61C723-F0CA-A753-38DE-99307249D89E}"/>
              </a:ext>
            </a:extLst>
          </p:cNvPr>
          <p:cNvCxnSpPr/>
          <p:nvPr userDrawn="1"/>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pic>
        <p:nvPicPr>
          <p:cNvPr id="14" name="Afbeelding 9">
            <a:extLst>
              <a:ext uri="{FF2B5EF4-FFF2-40B4-BE49-F238E27FC236}">
                <a16:creationId xmlns:a16="http://schemas.microsoft.com/office/drawing/2014/main" id="{738C446F-A8C3-AEA3-FD0D-827420965CD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sp>
        <p:nvSpPr>
          <p:cNvPr id="16" name="Tijdelijke aanduiding voor inhoud 2">
            <a:extLst>
              <a:ext uri="{FF2B5EF4-FFF2-40B4-BE49-F238E27FC236}">
                <a16:creationId xmlns:a16="http://schemas.microsoft.com/office/drawing/2014/main" id="{F1F4D372-27D3-4058-636A-3BA4E4511D29}"/>
              </a:ext>
            </a:extLst>
          </p:cNvPr>
          <p:cNvSpPr>
            <a:spLocks noGrp="1"/>
          </p:cNvSpPr>
          <p:nvPr>
            <p:ph idx="1" hasCustomPrompt="1"/>
          </p:nvPr>
        </p:nvSpPr>
        <p:spPr>
          <a:xfrm>
            <a:off x="756555" y="2218967"/>
            <a:ext cx="10515600" cy="325657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Tree>
    <p:extLst>
      <p:ext uri="{BB962C8B-B14F-4D97-AF65-F5344CB8AC3E}">
        <p14:creationId xmlns:p14="http://schemas.microsoft.com/office/powerpoint/2010/main" val="29090832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hapitre 2 (fond blanc)">
    <p:spTree>
      <p:nvGrpSpPr>
        <p:cNvPr id="1" name=""/>
        <p:cNvGrpSpPr/>
        <p:nvPr/>
      </p:nvGrpSpPr>
      <p:grpSpPr>
        <a:xfrm>
          <a:off x="0" y="0"/>
          <a:ext cx="0" cy="0"/>
          <a:chOff x="0" y="0"/>
          <a:chExt cx="0" cy="0"/>
        </a:xfrm>
      </p:grpSpPr>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pic>
        <p:nvPicPr>
          <p:cNvPr id="8" name="Image 7">
            <a:extLst>
              <a:ext uri="{FF2B5EF4-FFF2-40B4-BE49-F238E27FC236}">
                <a16:creationId xmlns:a16="http://schemas.microsoft.com/office/drawing/2014/main" id="{A5557F0E-5907-4AEC-AAA2-E6F105EC1CB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744385" y="0"/>
            <a:ext cx="5447616" cy="6858000"/>
          </a:xfrm>
          <a:prstGeom prst="rect">
            <a:avLst/>
          </a:prstGeom>
        </p:spPr>
      </p:pic>
      <p:sp>
        <p:nvSpPr>
          <p:cNvPr id="11" name="Title 1">
            <a:extLst>
              <a:ext uri="{FF2B5EF4-FFF2-40B4-BE49-F238E27FC236}">
                <a16:creationId xmlns:a16="http://schemas.microsoft.com/office/drawing/2014/main" id="{2BCA3319-61D0-45B6-B980-D8E01B7C9D9F}"/>
              </a:ext>
            </a:extLst>
          </p:cNvPr>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12" name="Subtitle 2">
            <a:extLst>
              <a:ext uri="{FF2B5EF4-FFF2-40B4-BE49-F238E27FC236}">
                <a16:creationId xmlns:a16="http://schemas.microsoft.com/office/drawing/2014/main" id="{792F4D6C-45D2-448F-89AD-76DAFD632A6E}"/>
              </a:ext>
            </a:extLst>
          </p:cNvPr>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3" name="Espace réservé du graphique SmartArt 11">
            <a:extLst>
              <a:ext uri="{FF2B5EF4-FFF2-40B4-BE49-F238E27FC236}">
                <a16:creationId xmlns:a16="http://schemas.microsoft.com/office/drawing/2014/main" id="{88EFF02B-90FE-4510-804C-21DDCC629A10}"/>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spTree>
    <p:extLst>
      <p:ext uri="{BB962C8B-B14F-4D97-AF65-F5344CB8AC3E}">
        <p14:creationId xmlns:p14="http://schemas.microsoft.com/office/powerpoint/2010/main" val="1285571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EC3FD-F1A5-30C6-77FA-D1EC96526A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6F5B59-78BD-BD90-9E1B-B74FA492789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B87697-5B96-9B96-F23F-BB3666EB6E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C3C6F8-6F9B-C1AB-A7AF-97820884FBA7}"/>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6" name="Footer Placeholder 5">
            <a:extLst>
              <a:ext uri="{FF2B5EF4-FFF2-40B4-BE49-F238E27FC236}">
                <a16:creationId xmlns:a16="http://schemas.microsoft.com/office/drawing/2014/main" id="{BB6A3057-1AEE-D457-8A61-30EAC91E29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5E83B6-3082-3044-0032-9C334F6DFDC2}"/>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4195538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hapitre 3 (fond blanc)">
    <p:spTree>
      <p:nvGrpSpPr>
        <p:cNvPr id="1" name=""/>
        <p:cNvGrpSpPr/>
        <p:nvPr/>
      </p:nvGrpSpPr>
      <p:grpSpPr>
        <a:xfrm>
          <a:off x="0" y="0"/>
          <a:ext cx="0" cy="0"/>
          <a:chOff x="0" y="0"/>
          <a:chExt cx="0" cy="0"/>
        </a:xfrm>
      </p:grpSpPr>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pic>
        <p:nvPicPr>
          <p:cNvPr id="7" name="Image 6">
            <a:extLst>
              <a:ext uri="{FF2B5EF4-FFF2-40B4-BE49-F238E27FC236}">
                <a16:creationId xmlns:a16="http://schemas.microsoft.com/office/drawing/2014/main" id="{D74A44D0-AF6B-4693-BA78-E8A706C558A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945541" y="0"/>
            <a:ext cx="5245105" cy="6858000"/>
          </a:xfrm>
          <a:prstGeom prst="rect">
            <a:avLst/>
          </a:prstGeom>
        </p:spPr>
      </p:pic>
      <p:sp>
        <p:nvSpPr>
          <p:cNvPr id="11" name="Title 1">
            <a:extLst>
              <a:ext uri="{FF2B5EF4-FFF2-40B4-BE49-F238E27FC236}">
                <a16:creationId xmlns:a16="http://schemas.microsoft.com/office/drawing/2014/main" id="{E215E934-17E5-42BF-9D34-ED89C3CD5FC7}"/>
              </a:ext>
            </a:extLst>
          </p:cNvPr>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12" name="Subtitle 2">
            <a:extLst>
              <a:ext uri="{FF2B5EF4-FFF2-40B4-BE49-F238E27FC236}">
                <a16:creationId xmlns:a16="http://schemas.microsoft.com/office/drawing/2014/main" id="{7E201E54-7660-48D7-8482-76F22082BB19}"/>
              </a:ext>
            </a:extLst>
          </p:cNvPr>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3" name="Espace réservé du graphique SmartArt 11">
            <a:extLst>
              <a:ext uri="{FF2B5EF4-FFF2-40B4-BE49-F238E27FC236}">
                <a16:creationId xmlns:a16="http://schemas.microsoft.com/office/drawing/2014/main" id="{ED229EA9-F65F-4AD5-9499-621F09860557}"/>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spTree>
    <p:extLst>
      <p:ext uri="{BB962C8B-B14F-4D97-AF65-F5344CB8AC3E}">
        <p14:creationId xmlns:p14="http://schemas.microsoft.com/office/powerpoint/2010/main" val="5698464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Chapitre 4 (fond blan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3" name="Subtitle 2"/>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sp>
        <p:nvSpPr>
          <p:cNvPr id="15" name="Espace réservé du graphique SmartArt 11">
            <a:extLst>
              <a:ext uri="{FF2B5EF4-FFF2-40B4-BE49-F238E27FC236}">
                <a16:creationId xmlns:a16="http://schemas.microsoft.com/office/drawing/2014/main" id="{CFB53AB0-4BB0-4F43-A0F3-8ADB2202AD6C}"/>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pic>
        <p:nvPicPr>
          <p:cNvPr id="8" name="Image 7">
            <a:extLst>
              <a:ext uri="{FF2B5EF4-FFF2-40B4-BE49-F238E27FC236}">
                <a16:creationId xmlns:a16="http://schemas.microsoft.com/office/drawing/2014/main" id="{D450943E-31EA-45C3-BC4D-FD95D405005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745005" y="0"/>
            <a:ext cx="5446995" cy="6858000"/>
          </a:xfrm>
          <a:prstGeom prst="rect">
            <a:avLst/>
          </a:prstGeom>
        </p:spPr>
      </p:pic>
    </p:spTree>
    <p:extLst>
      <p:ext uri="{BB962C8B-B14F-4D97-AF65-F5344CB8AC3E}">
        <p14:creationId xmlns:p14="http://schemas.microsoft.com/office/powerpoint/2010/main" val="8884007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Chapitre 5 (fond blan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3" name="Subtitle 2"/>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sp>
        <p:nvSpPr>
          <p:cNvPr id="15" name="Espace réservé du graphique SmartArt 11">
            <a:extLst>
              <a:ext uri="{FF2B5EF4-FFF2-40B4-BE49-F238E27FC236}">
                <a16:creationId xmlns:a16="http://schemas.microsoft.com/office/drawing/2014/main" id="{CFB53AB0-4BB0-4F43-A0F3-8ADB2202AD6C}"/>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pic>
        <p:nvPicPr>
          <p:cNvPr id="7" name="Image 6">
            <a:extLst>
              <a:ext uri="{FF2B5EF4-FFF2-40B4-BE49-F238E27FC236}">
                <a16:creationId xmlns:a16="http://schemas.microsoft.com/office/drawing/2014/main" id="{1E49919D-E1A2-4F91-B748-43B94438A4B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945628" y="-1"/>
            <a:ext cx="5246373" cy="6858001"/>
          </a:xfrm>
          <a:prstGeom prst="rect">
            <a:avLst/>
          </a:prstGeom>
        </p:spPr>
      </p:pic>
    </p:spTree>
    <p:extLst>
      <p:ext uri="{BB962C8B-B14F-4D97-AF65-F5344CB8AC3E}">
        <p14:creationId xmlns:p14="http://schemas.microsoft.com/office/powerpoint/2010/main" val="10910156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Chapitre 6 (fond blan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3" name="Subtitle 2"/>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sp>
        <p:nvSpPr>
          <p:cNvPr id="15" name="Espace réservé du graphique SmartArt 11">
            <a:extLst>
              <a:ext uri="{FF2B5EF4-FFF2-40B4-BE49-F238E27FC236}">
                <a16:creationId xmlns:a16="http://schemas.microsoft.com/office/drawing/2014/main" id="{CFB53AB0-4BB0-4F43-A0F3-8ADB2202AD6C}"/>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pic>
        <p:nvPicPr>
          <p:cNvPr id="8" name="Image 7">
            <a:extLst>
              <a:ext uri="{FF2B5EF4-FFF2-40B4-BE49-F238E27FC236}">
                <a16:creationId xmlns:a16="http://schemas.microsoft.com/office/drawing/2014/main" id="{B7BF5FAB-2AC3-4197-80A7-349284E0659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512738" y="0"/>
            <a:ext cx="5677908" cy="6858000"/>
          </a:xfrm>
          <a:prstGeom prst="rect">
            <a:avLst/>
          </a:prstGeom>
        </p:spPr>
      </p:pic>
    </p:spTree>
    <p:extLst>
      <p:ext uri="{BB962C8B-B14F-4D97-AF65-F5344CB8AC3E}">
        <p14:creationId xmlns:p14="http://schemas.microsoft.com/office/powerpoint/2010/main" val="39839016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hapitre 7 (fond blan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1219183"/>
            <a:ext cx="7320632" cy="2110579"/>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3" name="Subtitle 2"/>
          <p:cNvSpPr>
            <a:spLocks noGrp="1"/>
          </p:cNvSpPr>
          <p:nvPr>
            <p:ph type="subTitle" idx="1" hasCustomPrompt="1"/>
          </p:nvPr>
        </p:nvSpPr>
        <p:spPr>
          <a:xfrm>
            <a:off x="482248" y="4009212"/>
            <a:ext cx="6432903" cy="615553"/>
          </a:xfrm>
        </p:spPr>
        <p:txBody>
          <a:bodyPr/>
          <a:lstStyle>
            <a:lvl1pPr marL="0" indent="0" algn="l">
              <a:lnSpc>
                <a:spcPct val="80000"/>
              </a:lnSpc>
              <a:buNone/>
              <a:defRPr sz="2500">
                <a:solidFill>
                  <a:schemeClr val="tx2"/>
                </a:solidFill>
                <a:latin typeface="Enedis Light" pitchFamily="50"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Sous-titre du chapitre</a:t>
            </a:r>
            <a:br>
              <a:rPr lang="fr-FR"/>
            </a:br>
            <a:r>
              <a:rPr lang="fr-FR"/>
              <a:t>sur deux lignes</a:t>
            </a:r>
            <a:endParaRPr lang="en-US"/>
          </a:p>
        </p:txBody>
      </p:sp>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6B54B0F7-55DD-40D6-B7F4-70B586885C0B}" type="slidenum">
              <a:rPr lang="fr-FR" smtClean="0"/>
              <a:pPr/>
              <a:t>‹#›</a:t>
            </a:fld>
            <a:endParaRPr lang="fr-FR"/>
          </a:p>
        </p:txBody>
      </p:sp>
      <p:sp>
        <p:nvSpPr>
          <p:cNvPr id="15" name="Espace réservé du graphique SmartArt 11">
            <a:extLst>
              <a:ext uri="{FF2B5EF4-FFF2-40B4-BE49-F238E27FC236}">
                <a16:creationId xmlns:a16="http://schemas.microsoft.com/office/drawing/2014/main" id="{CFB53AB0-4BB0-4F43-A0F3-8ADB2202AD6C}"/>
              </a:ext>
            </a:extLst>
          </p:cNvPr>
          <p:cNvSpPr>
            <a:spLocks noGrp="1"/>
          </p:cNvSpPr>
          <p:nvPr>
            <p:ph type="dgm" sz="quarter" idx="20"/>
          </p:nvPr>
        </p:nvSpPr>
        <p:spPr>
          <a:xfrm>
            <a:off x="520923" y="3589629"/>
            <a:ext cx="349020" cy="47313"/>
          </a:xfrm>
          <a:solidFill>
            <a:schemeClr val="accent1"/>
          </a:solidFill>
        </p:spPr>
        <p:txBody>
          <a:bodyPr>
            <a:noAutofit/>
          </a:bodyPr>
          <a:lstStyle>
            <a:lvl1pPr>
              <a:defRPr sz="133">
                <a:noFill/>
              </a:defRPr>
            </a:lvl1pPr>
          </a:lstStyle>
          <a:p>
            <a:r>
              <a:rPr lang="fr-FR"/>
              <a:t>Cliquez sur l'icône pour ajouter un graphique SmartArt</a:t>
            </a:r>
          </a:p>
        </p:txBody>
      </p:sp>
      <p:pic>
        <p:nvPicPr>
          <p:cNvPr id="7" name="Image 6">
            <a:extLst>
              <a:ext uri="{FF2B5EF4-FFF2-40B4-BE49-F238E27FC236}">
                <a16:creationId xmlns:a16="http://schemas.microsoft.com/office/drawing/2014/main" id="{87184ACE-102D-4081-9D76-4FAF4B112DA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063670" y="0"/>
            <a:ext cx="5128332" cy="6858000"/>
          </a:xfrm>
          <a:prstGeom prst="rect">
            <a:avLst/>
          </a:prstGeom>
        </p:spPr>
      </p:pic>
    </p:spTree>
    <p:extLst>
      <p:ext uri="{BB962C8B-B14F-4D97-AF65-F5344CB8AC3E}">
        <p14:creationId xmlns:p14="http://schemas.microsoft.com/office/powerpoint/2010/main" val="6596116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kst Slide - Grønn bakgrun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EBDF3D-B988-482E-8D92-23AA5A5D8212}"/>
              </a:ext>
            </a:extLst>
          </p:cNvPr>
          <p:cNvSpPr/>
          <p:nvPr userDrawn="1"/>
        </p:nvSpPr>
        <p:spPr>
          <a:xfrm>
            <a:off x="0" y="0"/>
            <a:ext cx="12192000" cy="6858000"/>
          </a:xfrm>
          <a:prstGeom prst="rect">
            <a:avLst/>
          </a:prstGeom>
          <a:solidFill>
            <a:srgbClr val="A4D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599">
              <a:latin typeface="Founders Grotesk Regular" panose="020B0503030202060203" pitchFamily="34" charset="77"/>
            </a:endParaRPr>
          </a:p>
        </p:txBody>
      </p:sp>
      <p:pic>
        <p:nvPicPr>
          <p:cNvPr id="14" name="Bilde 13">
            <a:extLst>
              <a:ext uri="{FF2B5EF4-FFF2-40B4-BE49-F238E27FC236}">
                <a16:creationId xmlns:a16="http://schemas.microsoft.com/office/drawing/2014/main" id="{D6E1AE1C-840A-5B6C-B864-90200237BD71}"/>
              </a:ext>
            </a:extLst>
          </p:cNvPr>
          <p:cNvPicPr>
            <a:picLocks noChangeAspect="1"/>
          </p:cNvPicPr>
          <p:nvPr userDrawn="1"/>
        </p:nvPicPr>
        <p:blipFill>
          <a:blip r:embed="rId2">
            <a:alphaModFix amt="30000"/>
          </a:blip>
          <a:stretch>
            <a:fillRect/>
          </a:stretch>
        </p:blipFill>
        <p:spPr>
          <a:xfrm rot="1172536">
            <a:off x="7781001" y="2124804"/>
            <a:ext cx="5356264" cy="5920081"/>
          </a:xfrm>
          <a:prstGeom prst="rect">
            <a:avLst/>
          </a:prstGeom>
          <a:noFill/>
        </p:spPr>
      </p:pic>
      <p:sp>
        <p:nvSpPr>
          <p:cNvPr id="12" name="Tittel 1">
            <a:extLst>
              <a:ext uri="{FF2B5EF4-FFF2-40B4-BE49-F238E27FC236}">
                <a16:creationId xmlns:a16="http://schemas.microsoft.com/office/drawing/2014/main" id="{2CB83EA2-6571-0B04-8AFC-EF42D68920D5}"/>
              </a:ext>
            </a:extLst>
          </p:cNvPr>
          <p:cNvSpPr>
            <a:spLocks noGrp="1"/>
          </p:cNvSpPr>
          <p:nvPr>
            <p:ph type="title"/>
          </p:nvPr>
        </p:nvSpPr>
        <p:spPr>
          <a:xfrm>
            <a:off x="838200" y="1399478"/>
            <a:ext cx="10515600" cy="815822"/>
          </a:xfrm>
          <a:prstGeom prst="rect">
            <a:avLst/>
          </a:prstGeom>
        </p:spPr>
        <p:txBody>
          <a:bodyPr>
            <a:noAutofit/>
          </a:bodyPr>
          <a:lstStyle>
            <a:lvl1pPr algn="l">
              <a:defRPr sz="5400" b="0" i="0">
                <a:solidFill>
                  <a:schemeClr val="tx1">
                    <a:lumMod val="85000"/>
                    <a:lumOff val="15000"/>
                  </a:schemeClr>
                </a:solidFill>
                <a:latin typeface="+mj-lt"/>
              </a:defRPr>
            </a:lvl1pPr>
          </a:lstStyle>
          <a:p>
            <a:r>
              <a:rPr lang="nb-NO"/>
              <a:t>Klikk for å redigere tittelstil</a:t>
            </a:r>
          </a:p>
        </p:txBody>
      </p:sp>
      <p:sp>
        <p:nvSpPr>
          <p:cNvPr id="2" name="Plassholder for tekst 5">
            <a:extLst>
              <a:ext uri="{FF2B5EF4-FFF2-40B4-BE49-F238E27FC236}">
                <a16:creationId xmlns:a16="http://schemas.microsoft.com/office/drawing/2014/main" id="{83811805-31B7-6A37-7254-C41A0926F0A1}"/>
              </a:ext>
            </a:extLst>
          </p:cNvPr>
          <p:cNvSpPr>
            <a:spLocks noGrp="1"/>
          </p:cNvSpPr>
          <p:nvPr>
            <p:ph type="body" sz="quarter" idx="10"/>
          </p:nvPr>
        </p:nvSpPr>
        <p:spPr>
          <a:xfrm>
            <a:off x="838200" y="2418353"/>
            <a:ext cx="10515600" cy="3360279"/>
          </a:xfrm>
          <a:prstGeom prst="rect">
            <a:avLst/>
          </a:prstGeom>
        </p:spPr>
        <p:txBody>
          <a:bodyPr/>
          <a:lstStyle>
            <a:lvl1pPr>
              <a:defRPr b="0" i="0">
                <a:solidFill>
                  <a:schemeClr val="tx1">
                    <a:lumMod val="85000"/>
                    <a:lumOff val="15000"/>
                  </a:schemeClr>
                </a:solidFill>
                <a:latin typeface="+mn-lt"/>
              </a:defRPr>
            </a:lvl1pPr>
            <a:lvl2pPr>
              <a:defRPr b="0" i="0">
                <a:solidFill>
                  <a:schemeClr val="tx1">
                    <a:lumMod val="85000"/>
                    <a:lumOff val="15000"/>
                  </a:schemeClr>
                </a:solidFill>
                <a:latin typeface="+mn-lt"/>
              </a:defRPr>
            </a:lvl2pPr>
            <a:lvl3pPr>
              <a:defRPr b="0" i="0">
                <a:solidFill>
                  <a:schemeClr val="tx1">
                    <a:lumMod val="85000"/>
                    <a:lumOff val="15000"/>
                  </a:schemeClr>
                </a:solidFill>
                <a:latin typeface="+mn-lt"/>
              </a:defRPr>
            </a:lvl3pPr>
            <a:lvl4pPr>
              <a:defRPr b="0" i="0">
                <a:solidFill>
                  <a:schemeClr val="tx1">
                    <a:lumMod val="85000"/>
                    <a:lumOff val="15000"/>
                  </a:schemeClr>
                </a:solidFill>
                <a:latin typeface="+mn-lt"/>
              </a:defRPr>
            </a:lvl4pPr>
            <a:lvl5pPr>
              <a:defRPr b="0" i="0">
                <a:solidFill>
                  <a:schemeClr val="tx1">
                    <a:lumMod val="85000"/>
                    <a:lumOff val="15000"/>
                  </a:schemeClr>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Bilde 3">
            <a:extLst>
              <a:ext uri="{FF2B5EF4-FFF2-40B4-BE49-F238E27FC236}">
                <a16:creationId xmlns:a16="http://schemas.microsoft.com/office/drawing/2014/main" id="{654C357B-807F-D230-6B71-FC3D4956BA3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27211" y="495302"/>
            <a:ext cx="1103243" cy="189127"/>
          </a:xfrm>
          <a:prstGeom prst="rect">
            <a:avLst/>
          </a:prstGeom>
        </p:spPr>
      </p:pic>
    </p:spTree>
    <p:extLst>
      <p:ext uri="{BB962C8B-B14F-4D97-AF65-F5344CB8AC3E}">
        <p14:creationId xmlns:p14="http://schemas.microsoft.com/office/powerpoint/2010/main" val="34822082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o innholdsdeler - Gul">
    <p:bg>
      <p:bgPr>
        <a:solidFill>
          <a:schemeClr val="accent3"/>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46041F4-DD45-6F1A-FB6E-6EDE11E559D8}"/>
              </a:ext>
            </a:extLst>
          </p:cNvPr>
          <p:cNvSpPr>
            <a:spLocks noGrp="1"/>
          </p:cNvSpPr>
          <p:nvPr>
            <p:ph type="title"/>
          </p:nvPr>
        </p:nvSpPr>
        <p:spPr>
          <a:xfrm>
            <a:off x="400522" y="255181"/>
            <a:ext cx="5181600" cy="1325563"/>
          </a:xfrm>
        </p:spPr>
        <p:txBody>
          <a:bodyPr/>
          <a:lstStyle/>
          <a:p>
            <a:r>
              <a:rPr lang="nb-NO"/>
              <a:t>Klikk for å redigere tittelstil</a:t>
            </a:r>
            <a:endParaRPr lang="en-US"/>
          </a:p>
        </p:txBody>
      </p:sp>
      <p:sp>
        <p:nvSpPr>
          <p:cNvPr id="10" name="Content Placeholder 2">
            <a:extLst>
              <a:ext uri="{FF2B5EF4-FFF2-40B4-BE49-F238E27FC236}">
                <a16:creationId xmlns:a16="http://schemas.microsoft.com/office/drawing/2014/main" id="{C56142D3-F33E-D1AF-5D7E-93AD25E0C296}"/>
              </a:ext>
            </a:extLst>
          </p:cNvPr>
          <p:cNvSpPr>
            <a:spLocks noGrp="1"/>
          </p:cNvSpPr>
          <p:nvPr>
            <p:ph sz="half" idx="1"/>
          </p:nvPr>
        </p:nvSpPr>
        <p:spPr>
          <a:xfrm>
            <a:off x="400522" y="1709878"/>
            <a:ext cx="5181600" cy="423522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Picture Placeholder 2">
            <a:extLst>
              <a:ext uri="{FF2B5EF4-FFF2-40B4-BE49-F238E27FC236}">
                <a16:creationId xmlns:a16="http://schemas.microsoft.com/office/drawing/2014/main" id="{A3ADA74A-42D9-7CDF-B770-1957F5D6CDCF}"/>
              </a:ext>
            </a:extLst>
          </p:cNvPr>
          <p:cNvSpPr>
            <a:spLocks noGrp="1" noChangeAspect="1"/>
          </p:cNvSpPr>
          <p:nvPr>
            <p:ph type="pic" idx="10"/>
          </p:nvPr>
        </p:nvSpPr>
        <p:spPr>
          <a:xfrm>
            <a:off x="5764618" y="255181"/>
            <a:ext cx="6182569" cy="5805673"/>
          </a:xfrm>
          <a:custGeom>
            <a:avLst/>
            <a:gdLst>
              <a:gd name="connsiteX0" fmla="*/ 0 w 6172200"/>
              <a:gd name="connsiteY0" fmla="*/ 244593 h 5805673"/>
              <a:gd name="connsiteX1" fmla="*/ 244593 w 6172200"/>
              <a:gd name="connsiteY1" fmla="*/ 0 h 5805673"/>
              <a:gd name="connsiteX2" fmla="*/ 5927607 w 6172200"/>
              <a:gd name="connsiteY2" fmla="*/ 0 h 5805673"/>
              <a:gd name="connsiteX3" fmla="*/ 6172200 w 6172200"/>
              <a:gd name="connsiteY3" fmla="*/ 244593 h 5805673"/>
              <a:gd name="connsiteX4" fmla="*/ 6172200 w 6172200"/>
              <a:gd name="connsiteY4" fmla="*/ 5561080 h 5805673"/>
              <a:gd name="connsiteX5" fmla="*/ 5927607 w 6172200"/>
              <a:gd name="connsiteY5" fmla="*/ 5805673 h 5805673"/>
              <a:gd name="connsiteX6" fmla="*/ 244593 w 6172200"/>
              <a:gd name="connsiteY6" fmla="*/ 5805673 h 5805673"/>
              <a:gd name="connsiteX7" fmla="*/ 0 w 6172200"/>
              <a:gd name="connsiteY7" fmla="*/ 5561080 h 5805673"/>
              <a:gd name="connsiteX8" fmla="*/ 0 w 6172200"/>
              <a:gd name="connsiteY8" fmla="*/ 244593 h 5805673"/>
              <a:gd name="connsiteX0" fmla="*/ 0 w 6172200"/>
              <a:gd name="connsiteY0" fmla="*/ 244593 h 5805673"/>
              <a:gd name="connsiteX1" fmla="*/ 244593 w 6172200"/>
              <a:gd name="connsiteY1" fmla="*/ 0 h 5805673"/>
              <a:gd name="connsiteX2" fmla="*/ 5927607 w 6172200"/>
              <a:gd name="connsiteY2" fmla="*/ 0 h 5805673"/>
              <a:gd name="connsiteX3" fmla="*/ 6172200 w 6172200"/>
              <a:gd name="connsiteY3" fmla="*/ 244593 h 5805673"/>
              <a:gd name="connsiteX4" fmla="*/ 5927607 w 6172200"/>
              <a:gd name="connsiteY4" fmla="*/ 5805673 h 5805673"/>
              <a:gd name="connsiteX5" fmla="*/ 244593 w 6172200"/>
              <a:gd name="connsiteY5" fmla="*/ 5805673 h 5805673"/>
              <a:gd name="connsiteX6" fmla="*/ 0 w 6172200"/>
              <a:gd name="connsiteY6" fmla="*/ 5561080 h 5805673"/>
              <a:gd name="connsiteX7" fmla="*/ 0 w 6172200"/>
              <a:gd name="connsiteY7" fmla="*/ 244593 h 5805673"/>
              <a:gd name="connsiteX0" fmla="*/ 0 w 6172200"/>
              <a:gd name="connsiteY0" fmla="*/ 244593 h 5805673"/>
              <a:gd name="connsiteX1" fmla="*/ 244593 w 6172200"/>
              <a:gd name="connsiteY1" fmla="*/ 0 h 5805673"/>
              <a:gd name="connsiteX2" fmla="*/ 5927607 w 6172200"/>
              <a:gd name="connsiteY2" fmla="*/ 0 h 5805673"/>
              <a:gd name="connsiteX3" fmla="*/ 6172200 w 6172200"/>
              <a:gd name="connsiteY3" fmla="*/ 244593 h 5805673"/>
              <a:gd name="connsiteX4" fmla="*/ 6167449 w 6172200"/>
              <a:gd name="connsiteY4" fmla="*/ 5805673 h 5805673"/>
              <a:gd name="connsiteX5" fmla="*/ 244593 w 6172200"/>
              <a:gd name="connsiteY5" fmla="*/ 5805673 h 5805673"/>
              <a:gd name="connsiteX6" fmla="*/ 0 w 6172200"/>
              <a:gd name="connsiteY6" fmla="*/ 5561080 h 5805673"/>
              <a:gd name="connsiteX7" fmla="*/ 0 w 6172200"/>
              <a:gd name="connsiteY7" fmla="*/ 244593 h 5805673"/>
              <a:gd name="connsiteX0" fmla="*/ 0 w 6182569"/>
              <a:gd name="connsiteY0" fmla="*/ 244593 h 5805673"/>
              <a:gd name="connsiteX1" fmla="*/ 244593 w 6182569"/>
              <a:gd name="connsiteY1" fmla="*/ 0 h 5805673"/>
              <a:gd name="connsiteX2" fmla="*/ 5927607 w 6182569"/>
              <a:gd name="connsiteY2" fmla="*/ 0 h 5805673"/>
              <a:gd name="connsiteX3" fmla="*/ 6172200 w 6182569"/>
              <a:gd name="connsiteY3" fmla="*/ 244593 h 5805673"/>
              <a:gd name="connsiteX4" fmla="*/ 6182439 w 6182569"/>
              <a:gd name="connsiteY4" fmla="*/ 5805673 h 5805673"/>
              <a:gd name="connsiteX5" fmla="*/ 244593 w 6182569"/>
              <a:gd name="connsiteY5" fmla="*/ 5805673 h 5805673"/>
              <a:gd name="connsiteX6" fmla="*/ 0 w 6182569"/>
              <a:gd name="connsiteY6" fmla="*/ 5561080 h 5805673"/>
              <a:gd name="connsiteX7" fmla="*/ 0 w 6182569"/>
              <a:gd name="connsiteY7" fmla="*/ 244593 h 580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2569" h="5805673">
                <a:moveTo>
                  <a:pt x="0" y="244593"/>
                </a:moveTo>
                <a:cubicBezTo>
                  <a:pt x="0" y="109508"/>
                  <a:pt x="109508" y="0"/>
                  <a:pt x="244593" y="0"/>
                </a:cubicBezTo>
                <a:lnTo>
                  <a:pt x="5927607" y="0"/>
                </a:lnTo>
                <a:cubicBezTo>
                  <a:pt x="6062692" y="0"/>
                  <a:pt x="6172200" y="109508"/>
                  <a:pt x="6172200" y="244593"/>
                </a:cubicBezTo>
                <a:cubicBezTo>
                  <a:pt x="6170616" y="2098286"/>
                  <a:pt x="6184023" y="3951980"/>
                  <a:pt x="6182439" y="5805673"/>
                </a:cubicBezTo>
                <a:lnTo>
                  <a:pt x="244593" y="5805673"/>
                </a:lnTo>
                <a:cubicBezTo>
                  <a:pt x="109508" y="5805673"/>
                  <a:pt x="0" y="5696165"/>
                  <a:pt x="0" y="5561080"/>
                </a:cubicBezTo>
                <a:lnTo>
                  <a:pt x="0" y="244593"/>
                </a:lnTo>
                <a:close/>
              </a:path>
            </a:pathLst>
          </a:custGeom>
          <a:pattFill prst="pct5">
            <a:fgClr>
              <a:schemeClr val="accent1"/>
            </a:fgClr>
            <a:bgClr>
              <a:schemeClr val="bg1"/>
            </a:bgClr>
          </a:patt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endParaRPr lang="en-US"/>
          </a:p>
        </p:txBody>
      </p:sp>
      <p:pic>
        <p:nvPicPr>
          <p:cNvPr id="13" name="Bilde 12">
            <a:extLst>
              <a:ext uri="{FF2B5EF4-FFF2-40B4-BE49-F238E27FC236}">
                <a16:creationId xmlns:a16="http://schemas.microsoft.com/office/drawing/2014/main" id="{F19B2444-6B80-7740-50EE-2B44D2B920D7}"/>
              </a:ext>
            </a:extLst>
          </p:cNvPr>
          <p:cNvPicPr>
            <a:picLocks noChangeAspect="1"/>
          </p:cNvPicPr>
          <p:nvPr userDrawn="1"/>
        </p:nvPicPr>
        <p:blipFill>
          <a:blip r:embed="rId2"/>
          <a:stretch>
            <a:fillRect/>
          </a:stretch>
        </p:blipFill>
        <p:spPr>
          <a:xfrm>
            <a:off x="10304713" y="6361350"/>
            <a:ext cx="1327306" cy="230836"/>
          </a:xfrm>
          <a:prstGeom prst="rect">
            <a:avLst/>
          </a:prstGeom>
        </p:spPr>
      </p:pic>
    </p:spTree>
    <p:extLst>
      <p:ext uri="{BB962C8B-B14F-4D97-AF65-F5344CB8AC3E}">
        <p14:creationId xmlns:p14="http://schemas.microsoft.com/office/powerpoint/2010/main" val="6784139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tellysbilde">
    <p:spTree>
      <p:nvGrpSpPr>
        <p:cNvPr id="1" name=""/>
        <p:cNvGrpSpPr/>
        <p:nvPr/>
      </p:nvGrpSpPr>
      <p:grpSpPr>
        <a:xfrm>
          <a:off x="0" y="0"/>
          <a:ext cx="0" cy="0"/>
          <a:chOff x="0" y="0"/>
          <a:chExt cx="0" cy="0"/>
        </a:xfrm>
      </p:grpSpPr>
      <p:sp>
        <p:nvSpPr>
          <p:cNvPr id="7" name="Plassholder for tekst 6"/>
          <p:cNvSpPr>
            <a:spLocks noGrp="1"/>
          </p:cNvSpPr>
          <p:nvPr>
            <p:ph type="body" sz="quarter" idx="10"/>
          </p:nvPr>
        </p:nvSpPr>
        <p:spPr>
          <a:xfrm>
            <a:off x="3695700" y="260352"/>
            <a:ext cx="8257117" cy="575733"/>
          </a:xfrm>
          <a:prstGeom prst="rect">
            <a:avLst/>
          </a:prstGeom>
        </p:spPr>
        <p:txBody>
          <a:bodyPr/>
          <a:lstStyle>
            <a:lvl1pPr marL="0" indent="0" algn="r">
              <a:buNone/>
              <a:defRPr sz="2400"/>
            </a:lvl1pPr>
          </a:lstStyle>
          <a:p>
            <a:pPr lvl="0"/>
            <a:r>
              <a:rPr lang="nb-NO"/>
              <a:t>Klikk for å redigere tekststiler i malen</a:t>
            </a:r>
          </a:p>
        </p:txBody>
      </p:sp>
    </p:spTree>
    <p:extLst>
      <p:ext uri="{BB962C8B-B14F-4D97-AF65-F5344CB8AC3E}">
        <p14:creationId xmlns:p14="http://schemas.microsoft.com/office/powerpoint/2010/main" val="20298230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8_ContentPage+Imag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FA5A5E8-3D06-A7EA-5635-120AA76CC575}"/>
              </a:ext>
            </a:extLst>
          </p:cNvPr>
          <p:cNvSpPr txBox="1"/>
          <p:nvPr/>
        </p:nvSpPr>
        <p:spPr>
          <a:xfrm>
            <a:off x="11669843" y="6363852"/>
            <a:ext cx="426090" cy="307777"/>
          </a:xfrm>
          <a:prstGeom prst="rect">
            <a:avLst/>
          </a:prstGeom>
          <a:noFill/>
        </p:spPr>
        <p:txBody>
          <a:bodyPr wrap="square" rtlCol="0">
            <a:spAutoFit/>
          </a:bodyPr>
          <a:lstStyle/>
          <a:p>
            <a:pPr algn="r"/>
            <a:fld id="{854852F9-C3A0-4A3E-9AC1-EC03AA4C68BF}" type="slidenum">
              <a:rPr lang="en-GB" sz="1400" smtClean="0">
                <a:solidFill>
                  <a:srgbClr val="2C3051"/>
                </a:solidFill>
                <a:latin typeface="Avenir Next LT Pro Demi" panose="020B0704020202020204" pitchFamily="34" charset="0"/>
              </a:rPr>
              <a:pPr algn="r"/>
              <a:t>‹#›</a:t>
            </a:fld>
            <a:endParaRPr lang="en-GB">
              <a:solidFill>
                <a:srgbClr val="2C3051"/>
              </a:solidFill>
              <a:latin typeface="Avenir Next LT Pro Demi" panose="020B0704020202020204" pitchFamily="34" charset="0"/>
            </a:endParaRPr>
          </a:p>
        </p:txBody>
      </p:sp>
      <p:pic>
        <p:nvPicPr>
          <p:cNvPr id="10" name="Afbeelding 9">
            <a:extLst>
              <a:ext uri="{FF2B5EF4-FFF2-40B4-BE49-F238E27FC236}">
                <a16:creationId xmlns:a16="http://schemas.microsoft.com/office/drawing/2014/main" id="{AFD27D79-AED5-4E9D-AA32-2924BF8F477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1156294" y="6415654"/>
            <a:ext cx="395011" cy="204171"/>
          </a:xfrm>
          <a:prstGeom prst="rect">
            <a:avLst/>
          </a:prstGeom>
        </p:spPr>
      </p:pic>
      <p:cxnSp>
        <p:nvCxnSpPr>
          <p:cNvPr id="13" name="Straight Connector 12">
            <a:extLst>
              <a:ext uri="{FF2B5EF4-FFF2-40B4-BE49-F238E27FC236}">
                <a16:creationId xmlns:a16="http://schemas.microsoft.com/office/drawing/2014/main" id="{1828C055-0230-E639-01FE-2EFDCAFD79C6}"/>
              </a:ext>
            </a:extLst>
          </p:cNvPr>
          <p:cNvCxnSpPr/>
          <p:nvPr/>
        </p:nvCxnSpPr>
        <p:spPr>
          <a:xfrm>
            <a:off x="11677338" y="6363852"/>
            <a:ext cx="0" cy="307777"/>
          </a:xfrm>
          <a:prstGeom prst="line">
            <a:avLst/>
          </a:prstGeom>
          <a:ln>
            <a:solidFill>
              <a:srgbClr val="C1E0F7"/>
            </a:solidFill>
          </a:ln>
        </p:spPr>
        <p:style>
          <a:lnRef idx="1">
            <a:schemeClr val="accent1"/>
          </a:lnRef>
          <a:fillRef idx="0">
            <a:schemeClr val="accent1"/>
          </a:fillRef>
          <a:effectRef idx="0">
            <a:schemeClr val="accent1"/>
          </a:effectRef>
          <a:fontRef idx="minor">
            <a:schemeClr val="tx1"/>
          </a:fontRef>
        </p:style>
      </p:cxnSp>
      <p:sp>
        <p:nvSpPr>
          <p:cNvPr id="16" name="Titel 1">
            <a:extLst>
              <a:ext uri="{FF2B5EF4-FFF2-40B4-BE49-F238E27FC236}">
                <a16:creationId xmlns:a16="http://schemas.microsoft.com/office/drawing/2014/main" id="{C41C9ACE-5159-2A8E-74E5-77F61C797179}"/>
              </a:ext>
            </a:extLst>
          </p:cNvPr>
          <p:cNvSpPr>
            <a:spLocks noGrp="1"/>
          </p:cNvSpPr>
          <p:nvPr>
            <p:ph type="title"/>
          </p:nvPr>
        </p:nvSpPr>
        <p:spPr>
          <a:xfrm>
            <a:off x="756555" y="765779"/>
            <a:ext cx="9119422" cy="965531"/>
          </a:xfrm>
          <a:prstGeom prst="rect">
            <a:avLst/>
          </a:prstGeom>
        </p:spPr>
        <p:txBody>
          <a:bodyPr>
            <a:normAutofit/>
          </a:bodyPr>
          <a:lstStyle>
            <a:lvl1pPr algn="l">
              <a:defRPr sz="4000" b="1" i="0">
                <a:solidFill>
                  <a:srgbClr val="D86533"/>
                </a:solidFill>
                <a:latin typeface="Avenir Black" panose="02000503020000020003" pitchFamily="2" charset="0"/>
              </a:defRPr>
            </a:lvl1pPr>
          </a:lstStyle>
          <a:p>
            <a:r>
              <a:rPr lang="en-US"/>
              <a:t>Click to edit Master title style</a:t>
            </a:r>
            <a:endParaRPr lang="nl-BE"/>
          </a:p>
        </p:txBody>
      </p:sp>
      <p:sp>
        <p:nvSpPr>
          <p:cNvPr id="19" name="object 2">
            <a:extLst>
              <a:ext uri="{FF2B5EF4-FFF2-40B4-BE49-F238E27FC236}">
                <a16:creationId xmlns:a16="http://schemas.microsoft.com/office/drawing/2014/main" id="{ACCBBD6F-4DDA-7EBF-8B2B-98C145727807}"/>
              </a:ext>
            </a:extLst>
          </p:cNvPr>
          <p:cNvSpPr/>
          <p:nvPr/>
        </p:nvSpPr>
        <p:spPr>
          <a:xfrm>
            <a:off x="0" y="0"/>
            <a:ext cx="1639127" cy="965531"/>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C1E0F7"/>
          </a:solidFill>
        </p:spPr>
        <p:txBody>
          <a:bodyPr wrap="square" lIns="0" tIns="0" rIns="0" bIns="0" rtlCol="0"/>
          <a:lstStyle/>
          <a:p>
            <a:endParaRPr/>
          </a:p>
        </p:txBody>
      </p:sp>
      <p:sp>
        <p:nvSpPr>
          <p:cNvPr id="20" name="object 2">
            <a:extLst>
              <a:ext uri="{FF2B5EF4-FFF2-40B4-BE49-F238E27FC236}">
                <a16:creationId xmlns:a16="http://schemas.microsoft.com/office/drawing/2014/main" id="{2F2AC7B1-8558-CB1E-7C04-AA2ACBDBC93E}"/>
              </a:ext>
            </a:extLst>
          </p:cNvPr>
          <p:cNvSpPr/>
          <p:nvPr/>
        </p:nvSpPr>
        <p:spPr>
          <a:xfrm>
            <a:off x="-1" y="1"/>
            <a:ext cx="1568627" cy="924003"/>
          </a:xfrm>
          <a:custGeom>
            <a:avLst/>
            <a:gdLst/>
            <a:ahLst/>
            <a:cxnLst/>
            <a:rect l="l" t="t" r="r" b="b"/>
            <a:pathLst>
              <a:path w="5208270" h="4904105">
                <a:moveTo>
                  <a:pt x="5207965" y="0"/>
                </a:moveTo>
                <a:lnTo>
                  <a:pt x="0" y="0"/>
                </a:lnTo>
                <a:lnTo>
                  <a:pt x="0" y="4904003"/>
                </a:lnTo>
                <a:lnTo>
                  <a:pt x="20078" y="4904003"/>
                </a:lnTo>
                <a:lnTo>
                  <a:pt x="85344" y="4897516"/>
                </a:lnTo>
                <a:lnTo>
                  <a:pt x="149626" y="4890395"/>
                </a:lnTo>
                <a:lnTo>
                  <a:pt x="212935" y="4882647"/>
                </a:lnTo>
                <a:lnTo>
                  <a:pt x="275283" y="4874279"/>
                </a:lnTo>
                <a:lnTo>
                  <a:pt x="336683" y="4865297"/>
                </a:lnTo>
                <a:lnTo>
                  <a:pt x="397145" y="4855708"/>
                </a:lnTo>
                <a:lnTo>
                  <a:pt x="456682" y="4845517"/>
                </a:lnTo>
                <a:lnTo>
                  <a:pt x="515304" y="4834732"/>
                </a:lnTo>
                <a:lnTo>
                  <a:pt x="573024" y="4823359"/>
                </a:lnTo>
                <a:lnTo>
                  <a:pt x="629854" y="4811404"/>
                </a:lnTo>
                <a:lnTo>
                  <a:pt x="685805" y="4798874"/>
                </a:lnTo>
                <a:lnTo>
                  <a:pt x="740888" y="4785776"/>
                </a:lnTo>
                <a:lnTo>
                  <a:pt x="795116" y="4772115"/>
                </a:lnTo>
                <a:lnTo>
                  <a:pt x="848501" y="4757899"/>
                </a:lnTo>
                <a:lnTo>
                  <a:pt x="901053" y="4743134"/>
                </a:lnTo>
                <a:lnTo>
                  <a:pt x="952784" y="4727825"/>
                </a:lnTo>
                <a:lnTo>
                  <a:pt x="1003707" y="4711981"/>
                </a:lnTo>
                <a:lnTo>
                  <a:pt x="1053833" y="4695607"/>
                </a:lnTo>
                <a:lnTo>
                  <a:pt x="1103174" y="4678710"/>
                </a:lnTo>
                <a:lnTo>
                  <a:pt x="1151741" y="4661296"/>
                </a:lnTo>
                <a:lnTo>
                  <a:pt x="1199546" y="4643371"/>
                </a:lnTo>
                <a:lnTo>
                  <a:pt x="1246600" y="4624943"/>
                </a:lnTo>
                <a:lnTo>
                  <a:pt x="1292916" y="4606017"/>
                </a:lnTo>
                <a:lnTo>
                  <a:pt x="1338505" y="4586601"/>
                </a:lnTo>
                <a:lnTo>
                  <a:pt x="1383379" y="4566700"/>
                </a:lnTo>
                <a:lnTo>
                  <a:pt x="1427550" y="4546321"/>
                </a:lnTo>
                <a:lnTo>
                  <a:pt x="1471028" y="4525471"/>
                </a:lnTo>
                <a:lnTo>
                  <a:pt x="1513827" y="4504156"/>
                </a:lnTo>
                <a:lnTo>
                  <a:pt x="1555957" y="4482383"/>
                </a:lnTo>
                <a:lnTo>
                  <a:pt x="1597430" y="4460157"/>
                </a:lnTo>
                <a:lnTo>
                  <a:pt x="1638258" y="4437486"/>
                </a:lnTo>
                <a:lnTo>
                  <a:pt x="1678453" y="4414376"/>
                </a:lnTo>
                <a:lnTo>
                  <a:pt x="1718026" y="4390833"/>
                </a:lnTo>
                <a:lnTo>
                  <a:pt x="1756989" y="4366865"/>
                </a:lnTo>
                <a:lnTo>
                  <a:pt x="1795354" y="4342477"/>
                </a:lnTo>
                <a:lnTo>
                  <a:pt x="1833132" y="4317675"/>
                </a:lnTo>
                <a:lnTo>
                  <a:pt x="1870336" y="4292467"/>
                </a:lnTo>
                <a:lnTo>
                  <a:pt x="1906976" y="4266859"/>
                </a:lnTo>
                <a:lnTo>
                  <a:pt x="1943064" y="4240857"/>
                </a:lnTo>
                <a:lnTo>
                  <a:pt x="1978613" y="4214468"/>
                </a:lnTo>
                <a:lnTo>
                  <a:pt x="2013634" y="4187699"/>
                </a:lnTo>
                <a:lnTo>
                  <a:pt x="2048138" y="4160555"/>
                </a:lnTo>
                <a:lnTo>
                  <a:pt x="2082137" y="4133043"/>
                </a:lnTo>
                <a:lnTo>
                  <a:pt x="2115643" y="4105171"/>
                </a:lnTo>
                <a:lnTo>
                  <a:pt x="2148668" y="4076943"/>
                </a:lnTo>
                <a:lnTo>
                  <a:pt x="2181224" y="4048367"/>
                </a:lnTo>
                <a:lnTo>
                  <a:pt x="2213321" y="4019449"/>
                </a:lnTo>
                <a:lnTo>
                  <a:pt x="2244972" y="3990196"/>
                </a:lnTo>
                <a:lnTo>
                  <a:pt x="2276188" y="3960614"/>
                </a:lnTo>
                <a:lnTo>
                  <a:pt x="2306981" y="3930710"/>
                </a:lnTo>
                <a:lnTo>
                  <a:pt x="2337364" y="3900490"/>
                </a:lnTo>
                <a:lnTo>
                  <a:pt x="2367346" y="3869960"/>
                </a:lnTo>
                <a:lnTo>
                  <a:pt x="2396941" y="3839127"/>
                </a:lnTo>
                <a:lnTo>
                  <a:pt x="2426160" y="3807998"/>
                </a:lnTo>
                <a:lnTo>
                  <a:pt x="2455014" y="3776579"/>
                </a:lnTo>
                <a:lnTo>
                  <a:pt x="2483515" y="3744877"/>
                </a:lnTo>
                <a:lnTo>
                  <a:pt x="2511675" y="3712897"/>
                </a:lnTo>
                <a:lnTo>
                  <a:pt x="2539506" y="3680647"/>
                </a:lnTo>
                <a:lnTo>
                  <a:pt x="2567019" y="3648133"/>
                </a:lnTo>
                <a:lnTo>
                  <a:pt x="2594227" y="3615361"/>
                </a:lnTo>
                <a:lnTo>
                  <a:pt x="2621140" y="3582338"/>
                </a:lnTo>
                <a:lnTo>
                  <a:pt x="2647770" y="3549071"/>
                </a:lnTo>
                <a:lnTo>
                  <a:pt x="2674129" y="3515565"/>
                </a:lnTo>
                <a:lnTo>
                  <a:pt x="2700229" y="3481828"/>
                </a:lnTo>
                <a:lnTo>
                  <a:pt x="2726082" y="3447865"/>
                </a:lnTo>
                <a:lnTo>
                  <a:pt x="2751698" y="3413684"/>
                </a:lnTo>
                <a:lnTo>
                  <a:pt x="2777091" y="3379290"/>
                </a:lnTo>
                <a:lnTo>
                  <a:pt x="2802271" y="3344691"/>
                </a:lnTo>
                <a:lnTo>
                  <a:pt x="2827250" y="3309893"/>
                </a:lnTo>
                <a:lnTo>
                  <a:pt x="2876653" y="3239724"/>
                </a:lnTo>
                <a:lnTo>
                  <a:pt x="2925393" y="3168836"/>
                </a:lnTo>
                <a:lnTo>
                  <a:pt x="2973563" y="3097281"/>
                </a:lnTo>
                <a:lnTo>
                  <a:pt x="3021258" y="3025110"/>
                </a:lnTo>
                <a:lnTo>
                  <a:pt x="3068571" y="2952375"/>
                </a:lnTo>
                <a:lnTo>
                  <a:pt x="3139028" y="2842329"/>
                </a:lnTo>
                <a:lnTo>
                  <a:pt x="3420672" y="2394125"/>
                </a:lnTo>
                <a:lnTo>
                  <a:pt x="3492616" y="2280944"/>
                </a:lnTo>
                <a:lnTo>
                  <a:pt x="3541250" y="2205422"/>
                </a:lnTo>
                <a:lnTo>
                  <a:pt x="3621928" y="2081094"/>
                </a:lnTo>
                <a:lnTo>
                  <a:pt x="3705424" y="1950584"/>
                </a:lnTo>
                <a:lnTo>
                  <a:pt x="3981389" y="1513988"/>
                </a:lnTo>
                <a:lnTo>
                  <a:pt x="4064634" y="1383871"/>
                </a:lnTo>
                <a:lnTo>
                  <a:pt x="4120525" y="1297666"/>
                </a:lnTo>
                <a:lnTo>
                  <a:pt x="4176838" y="1212012"/>
                </a:lnTo>
                <a:lnTo>
                  <a:pt x="4233661" y="1127013"/>
                </a:lnTo>
                <a:lnTo>
                  <a:pt x="4291083" y="1042769"/>
                </a:lnTo>
                <a:lnTo>
                  <a:pt x="4320047" y="1000963"/>
                </a:lnTo>
                <a:lnTo>
                  <a:pt x="4349195" y="959384"/>
                </a:lnTo>
                <a:lnTo>
                  <a:pt x="4378536" y="918045"/>
                </a:lnTo>
                <a:lnTo>
                  <a:pt x="4408084" y="876959"/>
                </a:lnTo>
                <a:lnTo>
                  <a:pt x="4437848" y="836139"/>
                </a:lnTo>
                <a:lnTo>
                  <a:pt x="4467841" y="795597"/>
                </a:lnTo>
                <a:lnTo>
                  <a:pt x="4498072" y="755346"/>
                </a:lnTo>
                <a:lnTo>
                  <a:pt x="4528554" y="715400"/>
                </a:lnTo>
                <a:lnTo>
                  <a:pt x="4559298" y="675770"/>
                </a:lnTo>
                <a:lnTo>
                  <a:pt x="4590314" y="636470"/>
                </a:lnTo>
                <a:lnTo>
                  <a:pt x="4621614" y="597512"/>
                </a:lnTo>
                <a:lnTo>
                  <a:pt x="4653209" y="558910"/>
                </a:lnTo>
                <a:lnTo>
                  <a:pt x="4685110" y="520675"/>
                </a:lnTo>
                <a:lnTo>
                  <a:pt x="4717329" y="482821"/>
                </a:lnTo>
                <a:lnTo>
                  <a:pt x="4749876" y="445361"/>
                </a:lnTo>
                <a:lnTo>
                  <a:pt x="4782763" y="408306"/>
                </a:lnTo>
                <a:lnTo>
                  <a:pt x="4816000" y="371671"/>
                </a:lnTo>
                <a:lnTo>
                  <a:pt x="4849600" y="335468"/>
                </a:lnTo>
                <a:lnTo>
                  <a:pt x="4883573" y="299710"/>
                </a:lnTo>
                <a:lnTo>
                  <a:pt x="4917930" y="264408"/>
                </a:lnTo>
                <a:lnTo>
                  <a:pt x="4952683" y="229577"/>
                </a:lnTo>
                <a:lnTo>
                  <a:pt x="4987842" y="195229"/>
                </a:lnTo>
                <a:lnTo>
                  <a:pt x="5023420" y="161377"/>
                </a:lnTo>
                <a:lnTo>
                  <a:pt x="5059426" y="128033"/>
                </a:lnTo>
                <a:lnTo>
                  <a:pt x="5095872" y="95211"/>
                </a:lnTo>
                <a:lnTo>
                  <a:pt x="5132770" y="62923"/>
                </a:lnTo>
                <a:lnTo>
                  <a:pt x="5170131" y="31181"/>
                </a:lnTo>
                <a:lnTo>
                  <a:pt x="5207965" y="0"/>
                </a:lnTo>
                <a:close/>
              </a:path>
            </a:pathLst>
          </a:custGeom>
          <a:solidFill>
            <a:srgbClr val="2C3051"/>
          </a:solidFill>
        </p:spPr>
        <p:txBody>
          <a:bodyPr wrap="square" lIns="0" tIns="0" rIns="0" bIns="0" rtlCol="0"/>
          <a:lstStyle/>
          <a:p>
            <a:endParaRPr/>
          </a:p>
        </p:txBody>
      </p:sp>
      <p:sp>
        <p:nvSpPr>
          <p:cNvPr id="2" name="Tijdelijke aanduiding voor inhoud 2">
            <a:extLst>
              <a:ext uri="{FF2B5EF4-FFF2-40B4-BE49-F238E27FC236}">
                <a16:creationId xmlns:a16="http://schemas.microsoft.com/office/drawing/2014/main" id="{A0DE5CFD-891B-B508-4349-FCF75FDD5C76}"/>
              </a:ext>
            </a:extLst>
          </p:cNvPr>
          <p:cNvSpPr>
            <a:spLocks noGrp="1"/>
          </p:cNvSpPr>
          <p:nvPr>
            <p:ph idx="10" hasCustomPrompt="1"/>
          </p:nvPr>
        </p:nvSpPr>
        <p:spPr>
          <a:xfrm>
            <a:off x="756555" y="4510009"/>
            <a:ext cx="10515600" cy="1750114"/>
          </a:xfrm>
          <a:prstGeom prst="rect">
            <a:avLst/>
          </a:prstGeom>
        </p:spPr>
        <p:txBody>
          <a:bodyPr/>
          <a:lstStyle>
            <a:lvl1pPr marL="457200" indent="-457200">
              <a:buClr>
                <a:srgbClr val="D76C3B"/>
              </a:buClr>
              <a:buSzPct val="50000"/>
              <a:buFont typeface="Courier New" panose="02070309020205020404" pitchFamily="49" charset="0"/>
              <a:buChar char="o"/>
              <a:defRPr sz="2800">
                <a:solidFill>
                  <a:srgbClr val="2C3051"/>
                </a:solidFill>
                <a:latin typeface="Avenir" panose="02000503020000020003"/>
              </a:defRPr>
            </a:lvl1pPr>
            <a:lvl2pPr marL="685800" indent="-228600">
              <a:buClr>
                <a:srgbClr val="D86533"/>
              </a:buClr>
              <a:buSzPct val="50000"/>
              <a:buFont typeface="Arial" panose="020B0604020202020204" pitchFamily="34" charset="0"/>
              <a:buChar char="•"/>
              <a:defRPr sz="2800" b="0" i="0">
                <a:solidFill>
                  <a:srgbClr val="2C3051"/>
                </a:solidFill>
                <a:latin typeface="Avenir" panose="02000503020000020003"/>
              </a:defRPr>
            </a:lvl2pPr>
            <a:lvl3pPr marL="1143000" indent="-228600">
              <a:buClr>
                <a:srgbClr val="2C3051"/>
              </a:buClr>
              <a:buSzPct val="50000"/>
              <a:buFont typeface="Courier New" panose="02070309020205020404" pitchFamily="49" charset="0"/>
              <a:buChar char="o"/>
              <a:defRPr sz="2800">
                <a:solidFill>
                  <a:srgbClr val="2C3051"/>
                </a:solidFill>
                <a:latin typeface="Avenir" panose="02000503020000020003"/>
              </a:defRPr>
            </a:lvl3pPr>
            <a:lvl4pPr marL="1600200" indent="-228600">
              <a:buClr>
                <a:srgbClr val="C1E0F7"/>
              </a:buClr>
              <a:buFont typeface="Arial" panose="020B0604020202020204" pitchFamily="34" charset="0"/>
              <a:buChar char="•"/>
              <a:defRPr sz="2800">
                <a:solidFill>
                  <a:srgbClr val="2C3051"/>
                </a:solidFill>
                <a:latin typeface="Avenir" panose="02000503020000020003"/>
              </a:defRPr>
            </a:lvl4pPr>
            <a:lvl5pPr>
              <a:defRPr>
                <a:solidFill>
                  <a:srgbClr val="2C3051"/>
                </a:solidFill>
                <a:latin typeface="Avenir Book" panose="02000503020000020003" pitchFamily="2" charset="0"/>
              </a:defRPr>
            </a:lvl5pPr>
          </a:lstStyle>
          <a:p>
            <a:pPr lvl="0"/>
            <a:r>
              <a:rPr lang="nl-NL"/>
              <a:t>First level</a:t>
            </a:r>
          </a:p>
          <a:p>
            <a:pPr lvl="1"/>
            <a:r>
              <a:rPr lang="nl-NL"/>
              <a:t>Second level</a:t>
            </a:r>
          </a:p>
          <a:p>
            <a:pPr lvl="2"/>
            <a:r>
              <a:rPr lang="nl-NL"/>
              <a:t>Third level</a:t>
            </a:r>
          </a:p>
          <a:p>
            <a:pPr lvl="3"/>
            <a:r>
              <a:rPr lang="nl-NL"/>
              <a:t>Fourth level</a:t>
            </a:r>
          </a:p>
        </p:txBody>
      </p:sp>
    </p:spTree>
    <p:extLst>
      <p:ext uri="{BB962C8B-B14F-4D97-AF65-F5344CB8AC3E}">
        <p14:creationId xmlns:p14="http://schemas.microsoft.com/office/powerpoint/2010/main" val="270219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Title Start">
    <p:spTree>
      <p:nvGrpSpPr>
        <p:cNvPr id="1" name=""/>
        <p:cNvGrpSpPr/>
        <p:nvPr/>
      </p:nvGrpSpPr>
      <p:grpSpPr>
        <a:xfrm>
          <a:off x="0" y="0"/>
          <a:ext cx="0" cy="0"/>
          <a:chOff x="0" y="0"/>
          <a:chExt cx="0" cy="0"/>
        </a:xfrm>
      </p:grpSpPr>
      <p:sp>
        <p:nvSpPr>
          <p:cNvPr id="11" name="Date Placeholder 3">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75F898BE-B30B-4399-A30A-5DD16F8CDB23}" type="datetime1">
              <a:rPr lang="sv-SE" noProof="0" smtClean="0"/>
              <a:t>2025-04-07</a:t>
            </a:fld>
            <a:endParaRPr lang="en-GB" noProof="0"/>
          </a:p>
        </p:txBody>
      </p:sp>
      <p:sp>
        <p:nvSpPr>
          <p:cNvPr id="12" name="Slide Number Placeholder 5">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3" name="Platshållare för bild 2">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4" y="211667"/>
            <a:ext cx="11713763" cy="6242051"/>
          </a:xfrm>
          <a:blipFill dpi="0" rotWithShape="1">
            <a:blip r:embed="rId2"/>
            <a:srcRect/>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6" name="Rubrik 5">
            <a:extLst>
              <a:ext uri="{FF2B5EF4-FFF2-40B4-BE49-F238E27FC236}">
                <a16:creationId xmlns:a16="http://schemas.microsoft.com/office/drawing/2014/main" id="{D70BF8E9-745F-E646-8ACE-EA0841D80D16}"/>
              </a:ext>
            </a:extLst>
          </p:cNvPr>
          <p:cNvSpPr>
            <a:spLocks noGrp="1"/>
          </p:cNvSpPr>
          <p:nvPr>
            <p:ph type="title" hasCustomPrompt="1"/>
          </p:nvPr>
        </p:nvSpPr>
        <p:spPr>
          <a:xfrm>
            <a:off x="432000" y="2293103"/>
            <a:ext cx="11328000" cy="2081296"/>
          </a:xfrm>
        </p:spPr>
        <p:txBody>
          <a:bodyPr lIns="216000" rIns="216000" anchor="ctr"/>
          <a:lstStyle>
            <a:lvl1pPr algn="ctr">
              <a:defRPr sz="6400">
                <a:solidFill>
                  <a:schemeClr val="bg1"/>
                </a:solidFill>
              </a:defRPr>
            </a:lvl1pPr>
          </a:lstStyle>
          <a:p>
            <a:r>
              <a:rPr lang="en-GB" noProof="0"/>
              <a:t>Click to add documentation title in two rows</a:t>
            </a:r>
          </a:p>
        </p:txBody>
      </p:sp>
      <p:sp>
        <p:nvSpPr>
          <p:cNvPr id="15" name="Platshållare för text 14">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4271434" y="4410077"/>
            <a:ext cx="3649133" cy="954404"/>
          </a:xfrm>
        </p:spPr>
        <p:txBody>
          <a:bodyPr lIns="144000" rIns="144000" anchor="t"/>
          <a:lstStyle>
            <a:lvl1pPr marL="0" indent="-16933" algn="ctr">
              <a:lnSpc>
                <a:spcPct val="95000"/>
              </a:lnSpc>
              <a:spcBef>
                <a:spcPts val="0"/>
              </a:spcBef>
              <a:buNone/>
              <a:tabLst/>
              <a:defRPr b="1">
                <a:solidFill>
                  <a:schemeClr val="bg1"/>
                </a:solidFill>
              </a:defRPr>
            </a:lvl1pPr>
          </a:lstStyle>
          <a:p>
            <a:pPr lvl="0"/>
            <a:r>
              <a:rPr lang="en-GB" noProof="0"/>
              <a:t>Click to add Name of presenter, job title and current date</a:t>
            </a:r>
          </a:p>
        </p:txBody>
      </p:sp>
      <p:sp>
        <p:nvSpPr>
          <p:cNvPr id="9" name="Platshållare för sidfot 6">
            <a:extLst>
              <a:ext uri="{FF2B5EF4-FFF2-40B4-BE49-F238E27FC236}">
                <a16:creationId xmlns:a16="http://schemas.microsoft.com/office/drawing/2014/main" id="{305B99F1-F53B-3642-BB22-B83D0965B61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95315301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D6FC1-A40B-9811-A931-3D00BDD2030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91FBD9-A772-5F49-35EC-57042F50BA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7AE390-DF0A-ABE3-78AC-BC43551DF9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D21A4F9-36AC-6294-CC71-4DE1F99110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83ECE2-AF50-9510-1C68-87A33970DF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8B0409-0699-DC9C-A48A-18AB4EB17660}"/>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8" name="Footer Placeholder 7">
            <a:extLst>
              <a:ext uri="{FF2B5EF4-FFF2-40B4-BE49-F238E27FC236}">
                <a16:creationId xmlns:a16="http://schemas.microsoft.com/office/drawing/2014/main" id="{89B8239D-ED24-B7A0-C5D8-FD91F97C62F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730323-FCA1-DC0D-7C03-90D859D6AEE3}"/>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17576342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Simple Bullets and Image">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7095CC5F-E4A1-4A50-8CE7-343110EEA8E5}"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9601"/>
            <a:ext cx="7488763"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a:t>
            </a:r>
            <a:r>
              <a:rPr lang="en-GB" noProof="0" err="1"/>
              <a:t>subheader</a:t>
            </a:r>
            <a:endParaRPr lang="en-GB" noProof="0"/>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8800"/>
            <a:ext cx="7488767"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7488763" cy="988605"/>
          </a:xfrm>
        </p:spPr>
        <p:txBody>
          <a:bodyPr rIns="216000"/>
          <a:lstStyle>
            <a:lvl1pPr>
              <a:defRPr spc="-67" baseline="0"/>
            </a:lvl1pPr>
          </a:lstStyle>
          <a:p>
            <a:r>
              <a:rPr lang="en-GB" noProof="0"/>
              <a:t>Click to add a headline of maximum two lines</a:t>
            </a:r>
          </a:p>
        </p:txBody>
      </p:sp>
      <p:sp>
        <p:nvSpPr>
          <p:cNvPr id="14" name="Platshållare för bild 3">
            <a:extLst>
              <a:ext uri="{FF2B5EF4-FFF2-40B4-BE49-F238E27FC236}">
                <a16:creationId xmlns:a16="http://schemas.microsoft.com/office/drawing/2014/main" id="{F5C3C095-2530-E045-81C5-702F3F64FC3B}"/>
              </a:ext>
            </a:extLst>
          </p:cNvPr>
          <p:cNvSpPr>
            <a:spLocks noGrp="1"/>
          </p:cNvSpPr>
          <p:nvPr>
            <p:ph type="pic" sz="quarter" idx="16" hasCustomPrompt="1"/>
          </p:nvPr>
        </p:nvSpPr>
        <p:spPr>
          <a:xfrm>
            <a:off x="8113184"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5" name="Platshållare för text 11">
            <a:extLst>
              <a:ext uri="{FF2B5EF4-FFF2-40B4-BE49-F238E27FC236}">
                <a16:creationId xmlns:a16="http://schemas.microsoft.com/office/drawing/2014/main" id="{1D880C39-01D1-6145-8803-71635B3AA79E}"/>
              </a:ext>
            </a:extLst>
          </p:cNvPr>
          <p:cNvSpPr>
            <a:spLocks noGrp="1"/>
          </p:cNvSpPr>
          <p:nvPr>
            <p:ph type="body" sz="quarter" idx="13" hasCustomPrompt="1"/>
          </p:nvPr>
        </p:nvSpPr>
        <p:spPr>
          <a:xfrm>
            <a:off x="431801" y="1911454"/>
            <a:ext cx="7488763" cy="4219445"/>
          </a:xfrm>
        </p:spPr>
        <p:txBody>
          <a:bodyPr rIns="216000"/>
          <a:lstStyle>
            <a:lvl1pPr marL="355591" indent="-355591">
              <a:lnSpc>
                <a:spcPct val="100000"/>
              </a:lnSpc>
              <a:spcBef>
                <a:spcPts val="0"/>
              </a:spcBef>
              <a:spcAft>
                <a:spcPts val="2133"/>
              </a:spcAft>
              <a:buFontTx/>
              <a:buBlip>
                <a:blip r:embed="rId3">
                  <a:extLst>
                    <a:ext uri="{96DAC541-7B7A-43D3-8B79-37D633B846F1}">
                      <asvg:svgBlip xmlns:asvg="http://schemas.microsoft.com/office/drawing/2016/SVG/main" r:embed="rId4"/>
                    </a:ext>
                  </a:extLst>
                </a:blip>
              </a:buBlip>
              <a:tabLst/>
              <a:defRPr sz="2133" b="1"/>
            </a:lvl1pPr>
            <a:lvl2pPr marL="21166" indent="-21166">
              <a:tabLst/>
              <a:defRPr sz="3200" b="1"/>
            </a:lvl2pPr>
            <a:lvl3pPr marL="21166" indent="-21166">
              <a:tabLst/>
              <a:defRPr sz="3200" b="1"/>
            </a:lvl3pPr>
            <a:lvl4pPr marL="21166" indent="-21166">
              <a:tabLst/>
              <a:defRPr sz="3200" b="1"/>
            </a:lvl4pPr>
            <a:lvl5pPr marL="21166" indent="-21166">
              <a:tabLst/>
              <a:defRPr sz="3200" b="1"/>
            </a:lvl5pPr>
          </a:lstStyle>
          <a:p>
            <a:pPr lvl="0"/>
            <a:r>
              <a:rPr lang="en-GB" noProof="0"/>
              <a:t>Click to add text</a:t>
            </a:r>
          </a:p>
        </p:txBody>
      </p:sp>
      <p:sp>
        <p:nvSpPr>
          <p:cNvPr id="11" name="Platshållare för sidfot 6">
            <a:extLst>
              <a:ext uri="{FF2B5EF4-FFF2-40B4-BE49-F238E27FC236}">
                <a16:creationId xmlns:a16="http://schemas.microsoft.com/office/drawing/2014/main" id="{247D01AC-24E0-DC4E-B377-A91A85961AC4}"/>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95402209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Text and Imag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5761567"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5569380" cy="1069951"/>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E326E66F-D70E-4A92-B6BA-3B8BEB52E71D}"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1" y="368302"/>
            <a:ext cx="5569380"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5" name="Platshållare för bild 3">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6191252" y="211667"/>
            <a:ext cx="5761565"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4" name="Platshållare för text 7">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431799" y="1929601"/>
            <a:ext cx="5568951" cy="4333767"/>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ruta 9">
            <a:extLst>
              <a:ext uri="{FF2B5EF4-FFF2-40B4-BE49-F238E27FC236}">
                <a16:creationId xmlns:a16="http://schemas.microsoft.com/office/drawing/2014/main" id="{9D57E24C-B0D6-3744-8A58-C72E44D76942}"/>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1" name="Platshållare för sidfot 6">
            <a:extLst>
              <a:ext uri="{FF2B5EF4-FFF2-40B4-BE49-F238E27FC236}">
                <a16:creationId xmlns:a16="http://schemas.microsoft.com/office/drawing/2014/main" id="{6877E28E-D1BC-1C4D-A177-A9E75F247F1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25223779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Text and Image three column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799" y="727101"/>
            <a:ext cx="7488767" cy="1069951"/>
          </a:xfrm>
        </p:spPr>
        <p:txBody>
          <a:bodyPr rIns="216000"/>
          <a:lstStyle>
            <a:lvl1pPr>
              <a:defRPr spc="-67" baseline="0"/>
            </a:lvl1pPr>
          </a:lstStyle>
          <a:p>
            <a:r>
              <a:rPr lang="en-GB" noProof="0"/>
              <a:t>Click to add a headline of maximum two lines</a:t>
            </a:r>
            <a:br>
              <a:rPr lang="en-GB" noProof="0"/>
            </a:br>
            <a:endParaRPr lang="en-GB" noProof="0"/>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1A83BA7F-9CAD-4194-94F0-AF53028EE1DA}"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798" y="368302"/>
            <a:ext cx="748876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5" name="Platshållare för bild 3">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8113184"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4" name="Platshållare för text 7">
            <a:extLst>
              <a:ext uri="{FF2B5EF4-FFF2-40B4-BE49-F238E27FC236}">
                <a16:creationId xmlns:a16="http://schemas.microsoft.com/office/drawing/2014/main" id="{F6397471-EE5D-4845-BB05-47F7C699E3B2}"/>
              </a:ext>
            </a:extLst>
          </p:cNvPr>
          <p:cNvSpPr>
            <a:spLocks noGrp="1"/>
          </p:cNvSpPr>
          <p:nvPr>
            <p:ph type="body" sz="quarter" idx="20" hasCustomPrompt="1"/>
          </p:nvPr>
        </p:nvSpPr>
        <p:spPr>
          <a:xfrm>
            <a:off x="431800" y="1927334"/>
            <a:ext cx="3649133" cy="4333767"/>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latshållare för text 7">
            <a:extLst>
              <a:ext uri="{FF2B5EF4-FFF2-40B4-BE49-F238E27FC236}">
                <a16:creationId xmlns:a16="http://schemas.microsoft.com/office/drawing/2014/main" id="{C54E6412-F416-B54F-8039-31E518204B4E}"/>
              </a:ext>
            </a:extLst>
          </p:cNvPr>
          <p:cNvSpPr>
            <a:spLocks noGrp="1"/>
          </p:cNvSpPr>
          <p:nvPr>
            <p:ph type="body" sz="quarter" idx="21" hasCustomPrompt="1"/>
          </p:nvPr>
        </p:nvSpPr>
        <p:spPr>
          <a:xfrm>
            <a:off x="4271434" y="1927334"/>
            <a:ext cx="3649133" cy="4333767"/>
          </a:xfrm>
        </p:spPr>
        <p:txBody>
          <a:bodyPr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ruta 10">
            <a:extLst>
              <a:ext uri="{FF2B5EF4-FFF2-40B4-BE49-F238E27FC236}">
                <a16:creationId xmlns:a16="http://schemas.microsoft.com/office/drawing/2014/main" id="{4EFE0558-AA4C-1E4C-A81E-9B60423950C3}"/>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2" name="Platshållare för sidfot 6">
            <a:extLst>
              <a:ext uri="{FF2B5EF4-FFF2-40B4-BE49-F238E27FC236}">
                <a16:creationId xmlns:a16="http://schemas.microsoft.com/office/drawing/2014/main" id="{069A7DAD-056B-3C43-ADEE-4DC11BE3247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69302977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Table and Imag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5761567"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5568948" cy="982803"/>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62E98893-273F-4CED-A8A3-24B5721DAF6C}"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1" y="368302"/>
            <a:ext cx="5568948"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9" y="6149384"/>
            <a:ext cx="5568947" cy="190515"/>
          </a:xfrm>
        </p:spPr>
        <p:txBody>
          <a:bodyPr lIns="111600" tIns="0" rIns="144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3" name="Platshållare för text 16">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431800" y="1813984"/>
            <a:ext cx="5568947"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1" name="Platshållare för tabell 2">
            <a:extLst>
              <a:ext uri="{FF2B5EF4-FFF2-40B4-BE49-F238E27FC236}">
                <a16:creationId xmlns:a16="http://schemas.microsoft.com/office/drawing/2014/main" id="{5303F358-E8FC-AF49-89C9-2DAF8C0EF0E6}"/>
              </a:ext>
            </a:extLst>
          </p:cNvPr>
          <p:cNvSpPr>
            <a:spLocks noGrp="1"/>
          </p:cNvSpPr>
          <p:nvPr>
            <p:ph type="tbl" sz="quarter" idx="23" hasCustomPrompt="1"/>
          </p:nvPr>
        </p:nvSpPr>
        <p:spPr>
          <a:xfrm>
            <a:off x="431801" y="2290901"/>
            <a:ext cx="5414816" cy="3744665"/>
          </a:xfrm>
        </p:spPr>
        <p:txBody>
          <a:bodyPr/>
          <a:lstStyle>
            <a:lvl1pPr marL="19050" indent="-19050" algn="ctr">
              <a:buNone/>
              <a:tabLst/>
              <a:defRPr sz="1067"/>
            </a:lvl1pPr>
          </a:lstStyle>
          <a:p>
            <a:r>
              <a:rPr lang="en-GB" sz="1067" noProof="0"/>
              <a:t>Click on the icon to add table</a:t>
            </a:r>
            <a:endParaRPr lang="en-GB" noProof="0"/>
          </a:p>
        </p:txBody>
      </p:sp>
      <p:sp>
        <p:nvSpPr>
          <p:cNvPr id="15" name="Platshållare för bild 3">
            <a:extLst>
              <a:ext uri="{FF2B5EF4-FFF2-40B4-BE49-F238E27FC236}">
                <a16:creationId xmlns:a16="http://schemas.microsoft.com/office/drawing/2014/main" id="{F782635C-88D6-3E42-BB72-11F54CF9C37E}"/>
              </a:ext>
            </a:extLst>
          </p:cNvPr>
          <p:cNvSpPr>
            <a:spLocks noGrp="1"/>
          </p:cNvSpPr>
          <p:nvPr>
            <p:ph type="pic" sz="quarter" idx="16" hasCustomPrompt="1"/>
          </p:nvPr>
        </p:nvSpPr>
        <p:spPr>
          <a:xfrm>
            <a:off x="6191252" y="211667"/>
            <a:ext cx="5761565"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2" name="textruta 11">
            <a:extLst>
              <a:ext uri="{FF2B5EF4-FFF2-40B4-BE49-F238E27FC236}">
                <a16:creationId xmlns:a16="http://schemas.microsoft.com/office/drawing/2014/main" id="{0C9F757A-F5D6-BE46-8C61-10C94601452A}"/>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3" name="Platshållare för sidfot 6">
            <a:extLst>
              <a:ext uri="{FF2B5EF4-FFF2-40B4-BE49-F238E27FC236}">
                <a16:creationId xmlns:a16="http://schemas.microsoft.com/office/drawing/2014/main" id="{4B96F3CE-6E2A-694C-81D4-04890DECF659}"/>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06882653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Two Table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5761567"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4" name="Rektangel 13">
            <a:extLst>
              <a:ext uri="{FF2B5EF4-FFF2-40B4-BE49-F238E27FC236}">
                <a16:creationId xmlns:a16="http://schemas.microsoft.com/office/drawing/2014/main" id="{3FD66BB0-D188-F64F-8A99-3B7059D82732}"/>
              </a:ext>
            </a:extLst>
          </p:cNvPr>
          <p:cNvSpPr/>
          <p:nvPr userDrawn="1"/>
        </p:nvSpPr>
        <p:spPr>
          <a:xfrm>
            <a:off x="6191252" y="211667"/>
            <a:ext cx="5761565"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5568949" cy="982803"/>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FFD3740C-6DB9-4F2F-A737-36AFFCCEC105}"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5568949"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9384"/>
            <a:ext cx="5568948" cy="190515"/>
          </a:xfrm>
        </p:spPr>
        <p:txBody>
          <a:bodyPr lIns="111600" tIns="0" rIns="144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3" name="Platshållare för text 16">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431799" y="1813984"/>
            <a:ext cx="5568948"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0" name="Platshållare för text 16">
            <a:extLst>
              <a:ext uri="{FF2B5EF4-FFF2-40B4-BE49-F238E27FC236}">
                <a16:creationId xmlns:a16="http://schemas.microsoft.com/office/drawing/2014/main" id="{E1517231-41C6-AF48-91E9-89342815BF65}"/>
              </a:ext>
            </a:extLst>
          </p:cNvPr>
          <p:cNvSpPr>
            <a:spLocks noGrp="1"/>
          </p:cNvSpPr>
          <p:nvPr>
            <p:ph type="body" sz="quarter" idx="20" hasCustomPrompt="1"/>
          </p:nvPr>
        </p:nvSpPr>
        <p:spPr>
          <a:xfrm>
            <a:off x="6191252" y="1813984"/>
            <a:ext cx="5568949" cy="407512"/>
          </a:xfrm>
        </p:spPr>
        <p:txBody>
          <a:bodyPr lIns="2160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1" name="Platshållare för tabell 2">
            <a:extLst>
              <a:ext uri="{FF2B5EF4-FFF2-40B4-BE49-F238E27FC236}">
                <a16:creationId xmlns:a16="http://schemas.microsoft.com/office/drawing/2014/main" id="{5303F358-E8FC-AF49-89C9-2DAF8C0EF0E6}"/>
              </a:ext>
            </a:extLst>
          </p:cNvPr>
          <p:cNvSpPr>
            <a:spLocks noGrp="1"/>
          </p:cNvSpPr>
          <p:nvPr>
            <p:ph type="tbl" sz="quarter" idx="23" hasCustomPrompt="1"/>
          </p:nvPr>
        </p:nvSpPr>
        <p:spPr>
          <a:xfrm>
            <a:off x="431801" y="2290901"/>
            <a:ext cx="5414816" cy="3744665"/>
          </a:xfrm>
        </p:spPr>
        <p:txBody>
          <a:bodyPr/>
          <a:lstStyle>
            <a:lvl1pPr marL="19050" indent="-19050" algn="ctr">
              <a:buNone/>
              <a:tabLst/>
              <a:defRPr sz="1067"/>
            </a:lvl1pPr>
          </a:lstStyle>
          <a:p>
            <a:r>
              <a:rPr lang="en-GB" sz="1067" noProof="0"/>
              <a:t>Click on the icon to add table</a:t>
            </a:r>
            <a:endParaRPr lang="en-GB" noProof="0"/>
          </a:p>
        </p:txBody>
      </p:sp>
      <p:sp>
        <p:nvSpPr>
          <p:cNvPr id="22" name="Platshållare för tabell 2">
            <a:extLst>
              <a:ext uri="{FF2B5EF4-FFF2-40B4-BE49-F238E27FC236}">
                <a16:creationId xmlns:a16="http://schemas.microsoft.com/office/drawing/2014/main" id="{2742DE3F-FB80-1F4A-A200-34E875236096}"/>
              </a:ext>
            </a:extLst>
          </p:cNvPr>
          <p:cNvSpPr>
            <a:spLocks noGrp="1"/>
          </p:cNvSpPr>
          <p:nvPr>
            <p:ph type="tbl" sz="quarter" idx="24" hasCustomPrompt="1"/>
          </p:nvPr>
        </p:nvSpPr>
        <p:spPr>
          <a:xfrm>
            <a:off x="6381592" y="2290901"/>
            <a:ext cx="5214553" cy="3744665"/>
          </a:xfrm>
        </p:spPr>
        <p:txBody>
          <a:bodyPr/>
          <a:lstStyle>
            <a:lvl1pPr marL="19050" indent="-19050" algn="ctr">
              <a:buNone/>
              <a:tabLst/>
              <a:defRPr sz="1067"/>
            </a:lvl1pPr>
          </a:lstStyle>
          <a:p>
            <a:r>
              <a:rPr lang="en-GB" sz="1067" noProof="0"/>
              <a:t>Click on the icon to add table</a:t>
            </a:r>
            <a:endParaRPr lang="en-GB" noProof="0"/>
          </a:p>
        </p:txBody>
      </p:sp>
      <p:sp>
        <p:nvSpPr>
          <p:cNvPr id="24" name="Platshållare för text 18">
            <a:extLst>
              <a:ext uri="{FF2B5EF4-FFF2-40B4-BE49-F238E27FC236}">
                <a16:creationId xmlns:a16="http://schemas.microsoft.com/office/drawing/2014/main" id="{224243C5-096F-734D-868D-6CEA739698B8}"/>
              </a:ext>
            </a:extLst>
          </p:cNvPr>
          <p:cNvSpPr>
            <a:spLocks noGrp="1"/>
          </p:cNvSpPr>
          <p:nvPr>
            <p:ph type="body" sz="quarter" idx="25" hasCustomPrompt="1"/>
          </p:nvPr>
        </p:nvSpPr>
        <p:spPr>
          <a:xfrm>
            <a:off x="6381592" y="6149384"/>
            <a:ext cx="5378609" cy="190515"/>
          </a:xfrm>
        </p:spPr>
        <p:txBody>
          <a:bodyPr lIns="111600" tIns="0" rIns="144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5" name="Platshållare för sidfot 6">
            <a:extLst>
              <a:ext uri="{FF2B5EF4-FFF2-40B4-BE49-F238E27FC236}">
                <a16:creationId xmlns:a16="http://schemas.microsoft.com/office/drawing/2014/main" id="{F63257F7-5107-964D-B8AA-BAFC1CD3ED8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16421313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hart and Imag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5761567"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5568949" cy="982803"/>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27E6C1B8-CF89-4868-9249-F30D8E0FB9E1}"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5568949"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9384"/>
            <a:ext cx="5568948"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3" name="Platshållare för text 16">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431799" y="1813984"/>
            <a:ext cx="5568948"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15" name="Platshållare för diagram 3">
            <a:extLst>
              <a:ext uri="{FF2B5EF4-FFF2-40B4-BE49-F238E27FC236}">
                <a16:creationId xmlns:a16="http://schemas.microsoft.com/office/drawing/2014/main" id="{BC097026-6010-794E-84C7-E4D861D386E1}"/>
              </a:ext>
            </a:extLst>
          </p:cNvPr>
          <p:cNvSpPr>
            <a:spLocks noGrp="1"/>
          </p:cNvSpPr>
          <p:nvPr>
            <p:ph type="chart" sz="quarter" idx="15" hasCustomPrompt="1"/>
          </p:nvPr>
        </p:nvSpPr>
        <p:spPr>
          <a:xfrm>
            <a:off x="431799" y="2288950"/>
            <a:ext cx="5414817" cy="3841951"/>
          </a:xfrm>
        </p:spPr>
        <p:txBody>
          <a:bodyPr/>
          <a:lstStyle>
            <a:lvl1pPr algn="ctr">
              <a:buNone/>
              <a:defRPr sz="1067"/>
            </a:lvl1pPr>
          </a:lstStyle>
          <a:p>
            <a:r>
              <a:rPr lang="en-GB" noProof="0"/>
              <a:t>Click on the icon to add chart</a:t>
            </a:r>
          </a:p>
        </p:txBody>
      </p:sp>
      <p:sp>
        <p:nvSpPr>
          <p:cNvPr id="17" name="Platshållare för bild 3">
            <a:extLst>
              <a:ext uri="{FF2B5EF4-FFF2-40B4-BE49-F238E27FC236}">
                <a16:creationId xmlns:a16="http://schemas.microsoft.com/office/drawing/2014/main" id="{F29AB92E-C679-0F42-AB24-CFF5D35D9B9D}"/>
              </a:ext>
            </a:extLst>
          </p:cNvPr>
          <p:cNvSpPr>
            <a:spLocks noGrp="1"/>
          </p:cNvSpPr>
          <p:nvPr>
            <p:ph type="pic" sz="quarter" idx="16" hasCustomPrompt="1"/>
          </p:nvPr>
        </p:nvSpPr>
        <p:spPr>
          <a:xfrm>
            <a:off x="6191252" y="211667"/>
            <a:ext cx="5761565"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2" name="textruta 11">
            <a:extLst>
              <a:ext uri="{FF2B5EF4-FFF2-40B4-BE49-F238E27FC236}">
                <a16:creationId xmlns:a16="http://schemas.microsoft.com/office/drawing/2014/main" id="{854A5812-0D71-CC4F-BDE9-71921CCF3E77}"/>
              </a:ext>
            </a:extLst>
          </p:cNvPr>
          <p:cNvSpPr txBox="1"/>
          <p:nvPr userDrawn="1"/>
        </p:nvSpPr>
        <p:spPr>
          <a:xfrm>
            <a:off x="12256165" y="0"/>
            <a:ext cx="2544000" cy="1674256"/>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mage</a:t>
            </a:r>
          </a:p>
          <a:p>
            <a:pPr algn="l">
              <a:lnSpc>
                <a:spcPct val="95000"/>
              </a:lnSpc>
            </a:pPr>
            <a:r>
              <a:rPr lang="en-GB" sz="1200" b="0" noProof="0"/>
              <a:t>If there is already an image in the image holder, you need to delete the existing one before inserting a new image. Failure to do so may change the format of the frame.</a:t>
            </a:r>
          </a:p>
        </p:txBody>
      </p:sp>
      <p:sp>
        <p:nvSpPr>
          <p:cNvPr id="13" name="Platshållare för sidfot 6">
            <a:extLst>
              <a:ext uri="{FF2B5EF4-FFF2-40B4-BE49-F238E27FC236}">
                <a16:creationId xmlns:a16="http://schemas.microsoft.com/office/drawing/2014/main" id="{A9DD7A81-9CDC-EE41-B2A7-373110E215D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58956573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wo Chart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5761567"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4" name="Rektangel 13">
            <a:extLst>
              <a:ext uri="{FF2B5EF4-FFF2-40B4-BE49-F238E27FC236}">
                <a16:creationId xmlns:a16="http://schemas.microsoft.com/office/drawing/2014/main" id="{3FD66BB0-D188-F64F-8A99-3B7059D82732}"/>
              </a:ext>
            </a:extLst>
          </p:cNvPr>
          <p:cNvSpPr/>
          <p:nvPr userDrawn="1"/>
        </p:nvSpPr>
        <p:spPr>
          <a:xfrm>
            <a:off x="6191252" y="211667"/>
            <a:ext cx="5761565"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5568949" cy="982803"/>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04B8ECEE-76D8-4412-8ED1-767A5732D853}"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5568949"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9384"/>
            <a:ext cx="5568948"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3" name="Platshållare för text 16">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431799" y="1813984"/>
            <a:ext cx="5568948"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0" name="Platshållare för text 16">
            <a:extLst>
              <a:ext uri="{FF2B5EF4-FFF2-40B4-BE49-F238E27FC236}">
                <a16:creationId xmlns:a16="http://schemas.microsoft.com/office/drawing/2014/main" id="{E1517231-41C6-AF48-91E9-89342815BF65}"/>
              </a:ext>
            </a:extLst>
          </p:cNvPr>
          <p:cNvSpPr>
            <a:spLocks noGrp="1"/>
          </p:cNvSpPr>
          <p:nvPr>
            <p:ph type="body" sz="quarter" idx="20" hasCustomPrompt="1"/>
          </p:nvPr>
        </p:nvSpPr>
        <p:spPr>
          <a:xfrm>
            <a:off x="6385821" y="1813984"/>
            <a:ext cx="5214553" cy="407512"/>
          </a:xfrm>
        </p:spPr>
        <p:txBody>
          <a:bodyPr/>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4" name="Platshållare för text 18">
            <a:extLst>
              <a:ext uri="{FF2B5EF4-FFF2-40B4-BE49-F238E27FC236}">
                <a16:creationId xmlns:a16="http://schemas.microsoft.com/office/drawing/2014/main" id="{224243C5-096F-734D-868D-6CEA739698B8}"/>
              </a:ext>
            </a:extLst>
          </p:cNvPr>
          <p:cNvSpPr>
            <a:spLocks noGrp="1"/>
          </p:cNvSpPr>
          <p:nvPr>
            <p:ph type="body" sz="quarter" idx="25" hasCustomPrompt="1"/>
          </p:nvPr>
        </p:nvSpPr>
        <p:spPr>
          <a:xfrm>
            <a:off x="6381591" y="6149384"/>
            <a:ext cx="5214557"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5" name="Platshållare för diagram 3">
            <a:extLst>
              <a:ext uri="{FF2B5EF4-FFF2-40B4-BE49-F238E27FC236}">
                <a16:creationId xmlns:a16="http://schemas.microsoft.com/office/drawing/2014/main" id="{BC097026-6010-794E-84C7-E4D861D386E1}"/>
              </a:ext>
            </a:extLst>
          </p:cNvPr>
          <p:cNvSpPr>
            <a:spLocks noGrp="1"/>
          </p:cNvSpPr>
          <p:nvPr>
            <p:ph type="chart" sz="quarter" idx="15" hasCustomPrompt="1"/>
          </p:nvPr>
        </p:nvSpPr>
        <p:spPr>
          <a:xfrm>
            <a:off x="431799" y="2288950"/>
            <a:ext cx="5414817" cy="3841951"/>
          </a:xfrm>
        </p:spPr>
        <p:txBody>
          <a:bodyPr/>
          <a:lstStyle>
            <a:lvl1pPr algn="ctr">
              <a:buNone/>
              <a:defRPr sz="1067"/>
            </a:lvl1pPr>
          </a:lstStyle>
          <a:p>
            <a:r>
              <a:rPr lang="en-GB" noProof="0"/>
              <a:t>Click on the icon to add chart</a:t>
            </a:r>
          </a:p>
        </p:txBody>
      </p:sp>
      <p:sp>
        <p:nvSpPr>
          <p:cNvPr id="16" name="Platshållare för diagram 3">
            <a:extLst>
              <a:ext uri="{FF2B5EF4-FFF2-40B4-BE49-F238E27FC236}">
                <a16:creationId xmlns:a16="http://schemas.microsoft.com/office/drawing/2014/main" id="{911A539F-0F08-C546-AB78-D6C09FB0F8C2}"/>
              </a:ext>
            </a:extLst>
          </p:cNvPr>
          <p:cNvSpPr>
            <a:spLocks noGrp="1"/>
          </p:cNvSpPr>
          <p:nvPr>
            <p:ph type="chart" sz="quarter" idx="26" hasCustomPrompt="1"/>
          </p:nvPr>
        </p:nvSpPr>
        <p:spPr>
          <a:xfrm>
            <a:off x="6385822" y="2288950"/>
            <a:ext cx="5210327" cy="3841951"/>
          </a:xfrm>
        </p:spPr>
        <p:txBody>
          <a:bodyPr/>
          <a:lstStyle>
            <a:lvl1pPr algn="ctr">
              <a:buNone/>
              <a:defRPr sz="1067"/>
            </a:lvl1pPr>
          </a:lstStyle>
          <a:p>
            <a:r>
              <a:rPr lang="en-GB" noProof="0"/>
              <a:t>Click on the icon to add chart</a:t>
            </a:r>
          </a:p>
        </p:txBody>
      </p:sp>
      <p:sp>
        <p:nvSpPr>
          <p:cNvPr id="17" name="Platshållare för sidfot 6">
            <a:extLst>
              <a:ext uri="{FF2B5EF4-FFF2-40B4-BE49-F238E27FC236}">
                <a16:creationId xmlns:a16="http://schemas.microsoft.com/office/drawing/2014/main" id="{CD7C8291-DE5B-F34B-9F73-19645F51AED4}"/>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34623953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hart and Highligh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FC9456A-AC97-4548-90B9-837374C5AA8F}"/>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Rubrik 1">
            <a:extLst>
              <a:ext uri="{FF2B5EF4-FFF2-40B4-BE49-F238E27FC236}">
                <a16:creationId xmlns:a16="http://schemas.microsoft.com/office/drawing/2014/main" id="{38A7CF33-452A-714F-A2F4-CE6178190432}"/>
              </a:ext>
            </a:extLst>
          </p:cNvPr>
          <p:cNvSpPr>
            <a:spLocks noGrp="1"/>
          </p:cNvSpPr>
          <p:nvPr>
            <p:ph type="title" hasCustomPrompt="1"/>
          </p:nvPr>
        </p:nvSpPr>
        <p:spPr>
          <a:xfrm>
            <a:off x="431802" y="727101"/>
            <a:ext cx="7488765" cy="982803"/>
          </a:xfrm>
        </p:spPr>
        <p:txBody>
          <a:bodyPr rIns="216000"/>
          <a:lstStyle>
            <a:lvl1pPr>
              <a:defRPr spc="-67" baseline="0"/>
            </a:lvl1pPr>
          </a:lstStyle>
          <a:p>
            <a:r>
              <a:rPr lang="en-GB" noProof="0"/>
              <a:t>Click to add a headline of maximum two lines</a:t>
            </a:r>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72BF9A41-014B-4FEA-B7CE-09DB8DDA3418}"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488765"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9384"/>
            <a:ext cx="7488765"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2" name="Platshållare för diagram 3">
            <a:extLst>
              <a:ext uri="{FF2B5EF4-FFF2-40B4-BE49-F238E27FC236}">
                <a16:creationId xmlns:a16="http://schemas.microsoft.com/office/drawing/2014/main" id="{C416A6EE-D97D-0D43-917F-3B0293FCF6E8}"/>
              </a:ext>
            </a:extLst>
          </p:cNvPr>
          <p:cNvSpPr>
            <a:spLocks noGrp="1"/>
          </p:cNvSpPr>
          <p:nvPr>
            <p:ph type="chart" sz="quarter" idx="15" hasCustomPrompt="1"/>
          </p:nvPr>
        </p:nvSpPr>
        <p:spPr>
          <a:xfrm>
            <a:off x="431799" y="2290899"/>
            <a:ext cx="7488767" cy="3840000"/>
          </a:xfrm>
        </p:spPr>
        <p:txBody>
          <a:bodyPr/>
          <a:lstStyle>
            <a:lvl1pPr algn="ctr">
              <a:buNone/>
              <a:defRPr sz="1067"/>
            </a:lvl1pPr>
          </a:lstStyle>
          <a:p>
            <a:r>
              <a:rPr lang="en-GB" noProof="0"/>
              <a:t>Click on the icon to add chart</a:t>
            </a:r>
          </a:p>
        </p:txBody>
      </p:sp>
      <p:sp>
        <p:nvSpPr>
          <p:cNvPr id="23" name="Platshållare för text 16">
            <a:extLst>
              <a:ext uri="{FF2B5EF4-FFF2-40B4-BE49-F238E27FC236}">
                <a16:creationId xmlns:a16="http://schemas.microsoft.com/office/drawing/2014/main" id="{50F743A5-5C51-9245-9EAE-DDCB7C8FD65E}"/>
              </a:ext>
            </a:extLst>
          </p:cNvPr>
          <p:cNvSpPr>
            <a:spLocks noGrp="1"/>
          </p:cNvSpPr>
          <p:nvPr>
            <p:ph type="body" sz="quarter" idx="18" hasCustomPrompt="1"/>
          </p:nvPr>
        </p:nvSpPr>
        <p:spPr>
          <a:xfrm>
            <a:off x="431799" y="1813984"/>
            <a:ext cx="7488765"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11" name="Platshållare för text 16">
            <a:extLst>
              <a:ext uri="{FF2B5EF4-FFF2-40B4-BE49-F238E27FC236}">
                <a16:creationId xmlns:a16="http://schemas.microsoft.com/office/drawing/2014/main" id="{78C11A51-69E9-4844-9E08-A1854CBA41FD}"/>
              </a:ext>
            </a:extLst>
          </p:cNvPr>
          <p:cNvSpPr>
            <a:spLocks noGrp="1"/>
          </p:cNvSpPr>
          <p:nvPr>
            <p:ph type="body" sz="quarter" idx="20" hasCustomPrompt="1"/>
          </p:nvPr>
        </p:nvSpPr>
        <p:spPr>
          <a:xfrm>
            <a:off x="8117415" y="1813984"/>
            <a:ext cx="3642787" cy="407512"/>
          </a:xfrm>
        </p:spPr>
        <p:txBody>
          <a:bodyPr lIns="2160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10" name="Platshållare för text 9">
            <a:extLst>
              <a:ext uri="{FF2B5EF4-FFF2-40B4-BE49-F238E27FC236}">
                <a16:creationId xmlns:a16="http://schemas.microsoft.com/office/drawing/2014/main" id="{3A47C77C-C3F9-B141-87EA-F0CE7BF31725}"/>
              </a:ext>
            </a:extLst>
          </p:cNvPr>
          <p:cNvSpPr>
            <a:spLocks noGrp="1"/>
          </p:cNvSpPr>
          <p:nvPr>
            <p:ph type="body" sz="quarter" idx="22" hasCustomPrompt="1"/>
          </p:nvPr>
        </p:nvSpPr>
        <p:spPr>
          <a:xfrm>
            <a:off x="8117412" y="2344168"/>
            <a:ext cx="3642789" cy="3786731"/>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Platshållare för sidfot 6">
            <a:extLst>
              <a:ext uri="{FF2B5EF4-FFF2-40B4-BE49-F238E27FC236}">
                <a16:creationId xmlns:a16="http://schemas.microsoft.com/office/drawing/2014/main" id="{2173EA1A-9025-DF4D-9E94-FCEDD41FABF6}"/>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23435969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wo Charts and Highlight">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9AB2759-9287-7F4F-9632-FB7BB2A7D5E4}"/>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C58CC45C-1CE2-4A55-B517-221F6F616003}"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48573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7" y="6148800"/>
            <a:ext cx="7485737"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22" name="Platshållare för diagram 3">
            <a:extLst>
              <a:ext uri="{FF2B5EF4-FFF2-40B4-BE49-F238E27FC236}">
                <a16:creationId xmlns:a16="http://schemas.microsoft.com/office/drawing/2014/main" id="{C416A6EE-D97D-0D43-917F-3B0293FCF6E8}"/>
              </a:ext>
            </a:extLst>
          </p:cNvPr>
          <p:cNvSpPr>
            <a:spLocks noGrp="1"/>
          </p:cNvSpPr>
          <p:nvPr>
            <p:ph type="chart" sz="quarter" idx="15" hasCustomPrompt="1"/>
          </p:nvPr>
        </p:nvSpPr>
        <p:spPr>
          <a:xfrm>
            <a:off x="431800" y="2288950"/>
            <a:ext cx="3644445" cy="3841951"/>
          </a:xfrm>
        </p:spPr>
        <p:txBody>
          <a:bodyPr/>
          <a:lstStyle>
            <a:lvl1pPr algn="ctr">
              <a:buNone/>
              <a:defRPr sz="1067"/>
            </a:lvl1pPr>
          </a:lstStyle>
          <a:p>
            <a:r>
              <a:rPr lang="en-GB" noProof="0"/>
              <a:t>Click on the icon to add chart</a:t>
            </a:r>
          </a:p>
        </p:txBody>
      </p:sp>
      <p:sp>
        <p:nvSpPr>
          <p:cNvPr id="10" name="Platshållare för text 9">
            <a:extLst>
              <a:ext uri="{FF2B5EF4-FFF2-40B4-BE49-F238E27FC236}">
                <a16:creationId xmlns:a16="http://schemas.microsoft.com/office/drawing/2014/main" id="{3A47C77C-C3F9-B141-87EA-F0CE7BF31725}"/>
              </a:ext>
            </a:extLst>
          </p:cNvPr>
          <p:cNvSpPr>
            <a:spLocks noGrp="1"/>
          </p:cNvSpPr>
          <p:nvPr>
            <p:ph type="body" sz="quarter" idx="22" hasCustomPrompt="1"/>
          </p:nvPr>
        </p:nvSpPr>
        <p:spPr>
          <a:xfrm>
            <a:off x="8117411" y="2344676"/>
            <a:ext cx="3642789" cy="3786224"/>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Platshållare för diagram 3">
            <a:extLst>
              <a:ext uri="{FF2B5EF4-FFF2-40B4-BE49-F238E27FC236}">
                <a16:creationId xmlns:a16="http://schemas.microsoft.com/office/drawing/2014/main" id="{C435EF76-3305-C143-8829-2108851DBC6F}"/>
              </a:ext>
            </a:extLst>
          </p:cNvPr>
          <p:cNvSpPr>
            <a:spLocks noGrp="1"/>
          </p:cNvSpPr>
          <p:nvPr>
            <p:ph type="chart" sz="quarter" idx="23" hasCustomPrompt="1"/>
          </p:nvPr>
        </p:nvSpPr>
        <p:spPr>
          <a:xfrm>
            <a:off x="4273094" y="2288950"/>
            <a:ext cx="3644445" cy="3841951"/>
          </a:xfrm>
        </p:spPr>
        <p:txBody>
          <a:bodyPr/>
          <a:lstStyle>
            <a:lvl1pPr algn="ctr">
              <a:buNone/>
              <a:defRPr sz="1067"/>
            </a:lvl1pPr>
          </a:lstStyle>
          <a:p>
            <a:r>
              <a:rPr lang="en-GB" noProof="0"/>
              <a:t>Click on the icon to add chart</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7485737" cy="988605"/>
          </a:xfrm>
        </p:spPr>
        <p:txBody>
          <a:bodyPr rIns="216000"/>
          <a:lstStyle>
            <a:lvl1pPr>
              <a:defRPr spc="-67" baseline="0"/>
            </a:lvl1pPr>
          </a:lstStyle>
          <a:p>
            <a:r>
              <a:rPr lang="en-GB" noProof="0"/>
              <a:t>Click to add a headline of maximum two lines</a:t>
            </a:r>
          </a:p>
        </p:txBody>
      </p:sp>
      <p:sp>
        <p:nvSpPr>
          <p:cNvPr id="21" name="Platshållare för text 16">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431798" y="1813984"/>
            <a:ext cx="7485737"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4" name="Platshållare för text 16">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8117415" y="1813984"/>
            <a:ext cx="3642787" cy="407512"/>
          </a:xfrm>
        </p:spPr>
        <p:txBody>
          <a:bodyPr lIns="2160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a:t>
            </a:r>
            <a:r>
              <a:rPr lang="en-GB" noProof="0" err="1"/>
              <a:t>subheader</a:t>
            </a:r>
            <a:endParaRPr lang="en-GB" noProof="0"/>
          </a:p>
        </p:txBody>
      </p:sp>
      <p:sp>
        <p:nvSpPr>
          <p:cNvPr id="15" name="Platshållare för sidfot 6">
            <a:extLst>
              <a:ext uri="{FF2B5EF4-FFF2-40B4-BE49-F238E27FC236}">
                <a16:creationId xmlns:a16="http://schemas.microsoft.com/office/drawing/2014/main" id="{0A23D4E7-7D10-3848-B960-D1C565A39F0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678137625"/>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Mixed content">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9AB2759-9287-7F4F-9632-FB7BB2A7D5E4}"/>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DE5CB15A-F592-4C80-A726-A13CB4369C49}"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488765"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7" y="6148800"/>
            <a:ext cx="7219200"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2" y="727102"/>
            <a:ext cx="7488765" cy="988605"/>
          </a:xfrm>
        </p:spPr>
        <p:txBody>
          <a:bodyPr rIns="216000"/>
          <a:lstStyle>
            <a:lvl1pPr>
              <a:defRPr spc="-67" baseline="0"/>
            </a:lvl1pPr>
          </a:lstStyle>
          <a:p>
            <a:r>
              <a:rPr lang="en-GB" noProof="0"/>
              <a:t>Click to add a headline of maximum two lines</a:t>
            </a:r>
          </a:p>
        </p:txBody>
      </p:sp>
      <p:sp>
        <p:nvSpPr>
          <p:cNvPr id="21" name="Platshållare för text 16">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431800" y="1813984"/>
            <a:ext cx="7488765"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4" name="Platshållare för text 16">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8113185" y="1813984"/>
            <a:ext cx="3651244" cy="407512"/>
          </a:xfrm>
        </p:spPr>
        <p:txBody>
          <a:bodyPr lIns="2160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a:t>
            </a:r>
            <a:r>
              <a:rPr lang="en-GB" noProof="0" err="1"/>
              <a:t>subheader</a:t>
            </a:r>
            <a:endParaRPr lang="en-GB" noProof="0"/>
          </a:p>
        </p:txBody>
      </p:sp>
      <p:sp>
        <p:nvSpPr>
          <p:cNvPr id="6" name="Platshållare för innehåll 5">
            <a:extLst>
              <a:ext uri="{FF2B5EF4-FFF2-40B4-BE49-F238E27FC236}">
                <a16:creationId xmlns:a16="http://schemas.microsoft.com/office/drawing/2014/main" id="{96AD6290-61E6-7C43-94B1-C5CC251D9CEF}"/>
              </a:ext>
            </a:extLst>
          </p:cNvPr>
          <p:cNvSpPr>
            <a:spLocks noGrp="1"/>
          </p:cNvSpPr>
          <p:nvPr>
            <p:ph sz="quarter" idx="24" hasCustomPrompt="1"/>
          </p:nvPr>
        </p:nvSpPr>
        <p:spPr>
          <a:xfrm>
            <a:off x="431801" y="2345267"/>
            <a:ext cx="7219200" cy="3784600"/>
          </a:xfrm>
        </p:spPr>
        <p:txBody>
          <a:body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Platshållare för innehåll 5">
            <a:extLst>
              <a:ext uri="{FF2B5EF4-FFF2-40B4-BE49-F238E27FC236}">
                <a16:creationId xmlns:a16="http://schemas.microsoft.com/office/drawing/2014/main" id="{F809DA6C-D9F5-F441-A3F2-B90AA4BB7216}"/>
              </a:ext>
            </a:extLst>
          </p:cNvPr>
          <p:cNvSpPr>
            <a:spLocks noGrp="1"/>
          </p:cNvSpPr>
          <p:nvPr>
            <p:ph sz="quarter" idx="25" hasCustomPrompt="1"/>
          </p:nvPr>
        </p:nvSpPr>
        <p:spPr>
          <a:xfrm>
            <a:off x="8113184" y="2345267"/>
            <a:ext cx="3647016" cy="3784600"/>
          </a:xfrm>
        </p:spPr>
        <p:txBody>
          <a:bodyPr lIns="216000" rIns="216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Platshållare för sidfot 6">
            <a:extLst>
              <a:ext uri="{FF2B5EF4-FFF2-40B4-BE49-F238E27FC236}">
                <a16:creationId xmlns:a16="http://schemas.microsoft.com/office/drawing/2014/main" id="{8850475B-F6EB-0D47-B28D-D0F8DDA22E04}"/>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4996396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14C0B-FE39-16F6-D93E-4316DBD31A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B1189DC-4A1A-6A7D-232E-58BAA9093439}"/>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4" name="Footer Placeholder 3">
            <a:extLst>
              <a:ext uri="{FF2B5EF4-FFF2-40B4-BE49-F238E27FC236}">
                <a16:creationId xmlns:a16="http://schemas.microsoft.com/office/drawing/2014/main" id="{371A2E6C-4146-50C3-A56A-F293EA7AD8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B5D521-376D-DB08-4E8B-426854F17985}"/>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24042113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ntent and Icons">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08337292-D5AF-0645-B996-9DFFE335F520}"/>
              </a:ext>
            </a:extLst>
          </p:cNvPr>
          <p:cNvSpPr/>
          <p:nvPr userDrawn="1"/>
        </p:nvSpPr>
        <p:spPr>
          <a:xfrm>
            <a:off x="8113184" y="211668"/>
            <a:ext cx="3839632" cy="3024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4" name="Rektangel 13">
            <a:extLst>
              <a:ext uri="{FF2B5EF4-FFF2-40B4-BE49-F238E27FC236}">
                <a16:creationId xmlns:a16="http://schemas.microsoft.com/office/drawing/2014/main" id="{98758F95-3C10-B44C-BF5E-52F4621F954F}"/>
              </a:ext>
            </a:extLst>
          </p:cNvPr>
          <p:cNvSpPr/>
          <p:nvPr userDrawn="1"/>
        </p:nvSpPr>
        <p:spPr>
          <a:xfrm>
            <a:off x="8113184" y="3429000"/>
            <a:ext cx="3839632" cy="30247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Rektangel 16">
            <a:extLst>
              <a:ext uri="{FF2B5EF4-FFF2-40B4-BE49-F238E27FC236}">
                <a16:creationId xmlns:a16="http://schemas.microsoft.com/office/drawing/2014/main" id="{B9AB2759-9287-7F4F-9632-FB7BB2A7D5E4}"/>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A86ECDEC-391C-4D34-A86D-2235A8035D11}"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488765"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7" y="6148800"/>
            <a:ext cx="7488764"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2" y="727102"/>
            <a:ext cx="7488765" cy="988605"/>
          </a:xfrm>
        </p:spPr>
        <p:txBody>
          <a:bodyPr rIns="216000"/>
          <a:lstStyle>
            <a:lvl1pPr>
              <a:defRPr spc="-67" baseline="0"/>
            </a:lvl1pPr>
          </a:lstStyle>
          <a:p>
            <a:r>
              <a:rPr lang="en-GB" noProof="0"/>
              <a:t>Click to add a headline of maximum two lines</a:t>
            </a:r>
          </a:p>
        </p:txBody>
      </p:sp>
      <p:sp>
        <p:nvSpPr>
          <p:cNvPr id="21" name="Platshållare för text 16">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431800" y="1813984"/>
            <a:ext cx="7488765"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4" name="Platshållare för text 16">
            <a:extLst>
              <a:ext uri="{FF2B5EF4-FFF2-40B4-BE49-F238E27FC236}">
                <a16:creationId xmlns:a16="http://schemas.microsoft.com/office/drawing/2014/main" id="{C8438C09-FD66-224E-AF0B-31D8EABA1ADD}"/>
              </a:ext>
            </a:extLst>
          </p:cNvPr>
          <p:cNvSpPr>
            <a:spLocks noGrp="1"/>
          </p:cNvSpPr>
          <p:nvPr>
            <p:ph type="body" sz="quarter" idx="20" hasCustomPrompt="1"/>
          </p:nvPr>
        </p:nvSpPr>
        <p:spPr>
          <a:xfrm>
            <a:off x="8278327" y="1813984"/>
            <a:ext cx="3509347" cy="384000"/>
          </a:xfrm>
        </p:spPr>
        <p:txBody>
          <a:bodyPr lIns="144000" rIns="144000"/>
          <a:lstStyle>
            <a:lvl1pPr marL="0" indent="0" algn="ctr">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headline</a:t>
            </a:r>
          </a:p>
        </p:txBody>
      </p:sp>
      <p:sp>
        <p:nvSpPr>
          <p:cNvPr id="6" name="Platshållare för innehåll 5">
            <a:extLst>
              <a:ext uri="{FF2B5EF4-FFF2-40B4-BE49-F238E27FC236}">
                <a16:creationId xmlns:a16="http://schemas.microsoft.com/office/drawing/2014/main" id="{96AD6290-61E6-7C43-94B1-C5CC251D9CEF}"/>
              </a:ext>
            </a:extLst>
          </p:cNvPr>
          <p:cNvSpPr>
            <a:spLocks noGrp="1"/>
          </p:cNvSpPr>
          <p:nvPr>
            <p:ph sz="quarter" idx="24" hasCustomPrompt="1"/>
          </p:nvPr>
        </p:nvSpPr>
        <p:spPr>
          <a:xfrm>
            <a:off x="431801" y="2344168"/>
            <a:ext cx="7219200" cy="3784600"/>
          </a:xfrm>
        </p:spPr>
        <p:txBody>
          <a:bodyPr/>
          <a:lstStyle/>
          <a:p>
            <a:pPr lvl="0"/>
            <a:r>
              <a:rPr lang="en-GB" noProof="0"/>
              <a:t>Click on the icons to add the desired content</a:t>
            </a:r>
          </a:p>
        </p:txBody>
      </p:sp>
      <p:sp>
        <p:nvSpPr>
          <p:cNvPr id="15" name="Platshållare för bild 2">
            <a:extLst>
              <a:ext uri="{FF2B5EF4-FFF2-40B4-BE49-F238E27FC236}">
                <a16:creationId xmlns:a16="http://schemas.microsoft.com/office/drawing/2014/main" id="{B473F1D6-8119-C945-A4CE-75EC5B5E69AD}"/>
              </a:ext>
            </a:extLst>
          </p:cNvPr>
          <p:cNvSpPr>
            <a:spLocks noGrp="1" noChangeAspect="1"/>
          </p:cNvSpPr>
          <p:nvPr>
            <p:ph type="pic" sz="quarter" idx="25" hasCustomPrompt="1"/>
          </p:nvPr>
        </p:nvSpPr>
        <p:spPr>
          <a:xfrm>
            <a:off x="9505000" y="610376"/>
            <a:ext cx="1056000" cy="1056000"/>
          </a:xfrm>
        </p:spPr>
        <p:txBody>
          <a:bodyPr/>
          <a:lstStyle>
            <a:lvl1pPr algn="ctr">
              <a:buNone/>
              <a:defRPr sz="800"/>
            </a:lvl1pPr>
          </a:lstStyle>
          <a:p>
            <a:r>
              <a:rPr lang="en-GB" sz="1067" noProof="0"/>
              <a:t>Click to add icon</a:t>
            </a:r>
            <a:endParaRPr lang="en-GB" noProof="0"/>
          </a:p>
        </p:txBody>
      </p:sp>
      <p:sp>
        <p:nvSpPr>
          <p:cNvPr id="22" name="Platshållare för text 9">
            <a:extLst>
              <a:ext uri="{FF2B5EF4-FFF2-40B4-BE49-F238E27FC236}">
                <a16:creationId xmlns:a16="http://schemas.microsoft.com/office/drawing/2014/main" id="{2ED96B5D-39C3-F14C-9A9F-F2BAF38C7805}"/>
              </a:ext>
            </a:extLst>
          </p:cNvPr>
          <p:cNvSpPr>
            <a:spLocks noGrp="1"/>
          </p:cNvSpPr>
          <p:nvPr>
            <p:ph type="body" sz="quarter" idx="22" hasCustomPrompt="1"/>
          </p:nvPr>
        </p:nvSpPr>
        <p:spPr>
          <a:xfrm>
            <a:off x="8278326" y="2210814"/>
            <a:ext cx="3509345" cy="792729"/>
          </a:xfrm>
        </p:spPr>
        <p:txBody>
          <a:bodyPr lIns="144000" rIns="144000"/>
          <a:lstStyle>
            <a:lvl1pPr marL="16933" indent="-16933" algn="ctr">
              <a:buNone/>
              <a:tabLst/>
              <a:defRPr/>
            </a:lvl1pPr>
            <a:lvl2pPr marL="16933" indent="-16933" algn="ctr">
              <a:buNone/>
              <a:tabLst/>
              <a:defRPr/>
            </a:lvl2pPr>
            <a:lvl3pPr marL="16933" indent="-16933" algn="ctr">
              <a:buNone/>
              <a:tabLst/>
              <a:defRPr/>
            </a:lvl3pPr>
            <a:lvl4pPr marL="16933" indent="-16933" algn="ctr">
              <a:buNone/>
              <a:tabLst/>
              <a:defRPr/>
            </a:lvl4pPr>
            <a:lvl5pPr marL="16933" indent="-16933" algn="ctr">
              <a:buNone/>
              <a:tabLst/>
              <a:defRPr/>
            </a:lvl5pPr>
          </a:lstStyle>
          <a:p>
            <a:pPr lvl="0"/>
            <a:r>
              <a:rPr lang="en-GB" noProof="0"/>
              <a:t>Click to add short description text</a:t>
            </a:r>
          </a:p>
        </p:txBody>
      </p:sp>
      <p:sp>
        <p:nvSpPr>
          <p:cNvPr id="27" name="Platshållare för text 16">
            <a:extLst>
              <a:ext uri="{FF2B5EF4-FFF2-40B4-BE49-F238E27FC236}">
                <a16:creationId xmlns:a16="http://schemas.microsoft.com/office/drawing/2014/main" id="{546ABA3A-CF5D-CA4C-B009-E33DBE688793}"/>
              </a:ext>
            </a:extLst>
          </p:cNvPr>
          <p:cNvSpPr>
            <a:spLocks noGrp="1"/>
          </p:cNvSpPr>
          <p:nvPr>
            <p:ph type="body" sz="quarter" idx="26" hasCustomPrompt="1"/>
          </p:nvPr>
        </p:nvSpPr>
        <p:spPr>
          <a:xfrm>
            <a:off x="8278327" y="5014391"/>
            <a:ext cx="3509347" cy="384000"/>
          </a:xfrm>
        </p:spPr>
        <p:txBody>
          <a:bodyPr lIns="144000" rIns="144000"/>
          <a:lstStyle>
            <a:lvl1pPr marL="0" indent="0" algn="ctr">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headline</a:t>
            </a:r>
          </a:p>
        </p:txBody>
      </p:sp>
      <p:sp>
        <p:nvSpPr>
          <p:cNvPr id="28" name="Platshållare för bild 2">
            <a:extLst>
              <a:ext uri="{FF2B5EF4-FFF2-40B4-BE49-F238E27FC236}">
                <a16:creationId xmlns:a16="http://schemas.microsoft.com/office/drawing/2014/main" id="{7EEFDE69-B589-2A48-BD46-9F307DEDE342}"/>
              </a:ext>
            </a:extLst>
          </p:cNvPr>
          <p:cNvSpPr>
            <a:spLocks noGrp="1" noChangeAspect="1"/>
          </p:cNvSpPr>
          <p:nvPr>
            <p:ph type="pic" sz="quarter" idx="27" hasCustomPrompt="1"/>
          </p:nvPr>
        </p:nvSpPr>
        <p:spPr>
          <a:xfrm>
            <a:off x="9505000" y="3810783"/>
            <a:ext cx="1056000" cy="1056000"/>
          </a:xfrm>
        </p:spPr>
        <p:txBody>
          <a:bodyPr/>
          <a:lstStyle>
            <a:lvl1pPr algn="ctr">
              <a:buNone/>
              <a:defRPr sz="800"/>
            </a:lvl1pPr>
          </a:lstStyle>
          <a:p>
            <a:r>
              <a:rPr lang="en-GB" sz="1067" noProof="0"/>
              <a:t>Click to add icon</a:t>
            </a:r>
            <a:endParaRPr lang="en-GB" noProof="0"/>
          </a:p>
        </p:txBody>
      </p:sp>
      <p:sp>
        <p:nvSpPr>
          <p:cNvPr id="29" name="Platshållare för text 9">
            <a:extLst>
              <a:ext uri="{FF2B5EF4-FFF2-40B4-BE49-F238E27FC236}">
                <a16:creationId xmlns:a16="http://schemas.microsoft.com/office/drawing/2014/main" id="{8AD11E1B-1A93-F447-B8FB-7690D5880F07}"/>
              </a:ext>
            </a:extLst>
          </p:cNvPr>
          <p:cNvSpPr>
            <a:spLocks noGrp="1"/>
          </p:cNvSpPr>
          <p:nvPr>
            <p:ph type="body" sz="quarter" idx="28" hasCustomPrompt="1"/>
          </p:nvPr>
        </p:nvSpPr>
        <p:spPr>
          <a:xfrm>
            <a:off x="8278326" y="5411221"/>
            <a:ext cx="3509345" cy="792729"/>
          </a:xfrm>
        </p:spPr>
        <p:txBody>
          <a:bodyPr lIns="144000" rIns="144000"/>
          <a:lstStyle>
            <a:lvl1pPr marL="16933" indent="-16933" algn="ctr">
              <a:buNone/>
              <a:tabLst/>
              <a:defRPr/>
            </a:lvl1pPr>
            <a:lvl2pPr marL="16933" indent="-16933" algn="ctr">
              <a:buNone/>
              <a:tabLst/>
              <a:defRPr/>
            </a:lvl2pPr>
            <a:lvl3pPr marL="16933" indent="-16933" algn="ctr">
              <a:buNone/>
              <a:tabLst/>
              <a:defRPr/>
            </a:lvl3pPr>
            <a:lvl4pPr marL="16933" indent="-16933" algn="ctr">
              <a:buNone/>
              <a:tabLst/>
              <a:defRPr/>
            </a:lvl4pPr>
            <a:lvl5pPr marL="16933" indent="-16933" algn="ctr">
              <a:buNone/>
              <a:tabLst/>
              <a:defRPr/>
            </a:lvl5pPr>
          </a:lstStyle>
          <a:p>
            <a:pPr lvl="0"/>
            <a:r>
              <a:rPr lang="en-GB" noProof="0"/>
              <a:t>Click to add short description text</a:t>
            </a:r>
          </a:p>
        </p:txBody>
      </p:sp>
      <p:sp>
        <p:nvSpPr>
          <p:cNvPr id="20" name="textruta 19">
            <a:extLst>
              <a:ext uri="{FF2B5EF4-FFF2-40B4-BE49-F238E27FC236}">
                <a16:creationId xmlns:a16="http://schemas.microsoft.com/office/drawing/2014/main" id="{D3A3044D-48A1-B94A-BF83-02B3782CA85F}"/>
              </a:ext>
            </a:extLst>
          </p:cNvPr>
          <p:cNvSpPr txBox="1"/>
          <p:nvPr userDrawn="1"/>
        </p:nvSpPr>
        <p:spPr>
          <a:xfrm>
            <a:off x="12256165" y="0"/>
            <a:ext cx="2544000" cy="2375987"/>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Insert a new icon</a:t>
            </a:r>
          </a:p>
          <a:p>
            <a:pPr algn="l">
              <a:lnSpc>
                <a:spcPct val="95000"/>
              </a:lnSpc>
            </a:pPr>
            <a:r>
              <a:rPr lang="en-GB" sz="1200" b="0" noProof="0"/>
              <a:t>If there is already an icon in the image holder, you need to delete the existing one before inserting a new icon. Failure to do so may change the format of the frame. The icon placeholders are customised for </a:t>
            </a:r>
            <a:r>
              <a:rPr lang="en-GB" sz="1200" b="0" noProof="0" err="1"/>
              <a:t>svg</a:t>
            </a:r>
            <a:r>
              <a:rPr lang="en-GB" sz="1200" b="0" noProof="0"/>
              <a:t>-format. See</a:t>
            </a:r>
            <a:r>
              <a:rPr lang="en-GB" sz="1200" b="0" baseline="0" noProof="0"/>
              <a:t> Media Bank in the Vattenfall brand toolbox. </a:t>
            </a:r>
            <a:br>
              <a:rPr lang="en-GB" sz="1200" b="0" baseline="0" noProof="0"/>
            </a:br>
            <a:r>
              <a:rPr lang="en-GB" sz="1200" b="0" baseline="0" noProof="0">
                <a:solidFill>
                  <a:schemeClr val="accent1"/>
                </a:solidFill>
                <a:hlinkClick r:id="rId2"/>
              </a:rPr>
              <a:t>brandtoolbox.vattenfall.com</a:t>
            </a:r>
            <a:endParaRPr lang="en-GB" sz="1200" b="0" noProof="0">
              <a:solidFill>
                <a:schemeClr val="accent1"/>
              </a:solidFill>
            </a:endParaRPr>
          </a:p>
        </p:txBody>
      </p:sp>
      <p:sp>
        <p:nvSpPr>
          <p:cNvPr id="23" name="Platshållare för sidfot 6">
            <a:extLst>
              <a:ext uri="{FF2B5EF4-FFF2-40B4-BE49-F238E27FC236}">
                <a16:creationId xmlns:a16="http://schemas.microsoft.com/office/drawing/2014/main" id="{10325E5A-E337-E24F-A3CE-5BEFB07CBA1F}"/>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6315407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Large Chart">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2E19280D-D82F-439F-8989-265D7363A404}"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799" y="368302"/>
            <a:ext cx="748876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7" y="6148800"/>
            <a:ext cx="7219200"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988605"/>
          </a:xfrm>
        </p:spPr>
        <p:txBody>
          <a:bodyPr rIns="216000"/>
          <a:lstStyle>
            <a:lvl1pPr>
              <a:defRPr spc="-67" baseline="0"/>
            </a:lvl1pPr>
          </a:lstStyle>
          <a:p>
            <a:r>
              <a:rPr lang="en-GB" noProof="0"/>
              <a:t>Click to add a headline of maximum two lines</a:t>
            </a:r>
          </a:p>
        </p:txBody>
      </p:sp>
      <p:sp>
        <p:nvSpPr>
          <p:cNvPr id="21" name="Platshållare för text 16">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431801" y="1813984"/>
            <a:ext cx="5568951"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23" name="Platshållare för diagram 3">
            <a:extLst>
              <a:ext uri="{FF2B5EF4-FFF2-40B4-BE49-F238E27FC236}">
                <a16:creationId xmlns:a16="http://schemas.microsoft.com/office/drawing/2014/main" id="{C2B34B54-75E3-4847-A989-9D65BE064B07}"/>
              </a:ext>
            </a:extLst>
          </p:cNvPr>
          <p:cNvSpPr>
            <a:spLocks noGrp="1"/>
          </p:cNvSpPr>
          <p:nvPr>
            <p:ph type="chart" sz="quarter" idx="15" hasCustomPrompt="1"/>
          </p:nvPr>
        </p:nvSpPr>
        <p:spPr>
          <a:xfrm>
            <a:off x="431799" y="2288950"/>
            <a:ext cx="11328399" cy="3841951"/>
          </a:xfrm>
        </p:spPr>
        <p:txBody>
          <a:bodyPr/>
          <a:lstStyle>
            <a:lvl1pPr algn="ctr">
              <a:buNone/>
              <a:defRPr sz="1067"/>
            </a:lvl1pPr>
          </a:lstStyle>
          <a:p>
            <a:r>
              <a:rPr lang="en-GB" noProof="0"/>
              <a:t>Click on the icon to add chart</a:t>
            </a:r>
          </a:p>
        </p:txBody>
      </p:sp>
      <p:sp>
        <p:nvSpPr>
          <p:cNvPr id="11" name="Platshållare för sidfot 6">
            <a:extLst>
              <a:ext uri="{FF2B5EF4-FFF2-40B4-BE49-F238E27FC236}">
                <a16:creationId xmlns:a16="http://schemas.microsoft.com/office/drawing/2014/main" id="{9ADEEDE8-0D1B-9549-A4E1-0C71E9FA930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99694669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Large Table">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499D13EF-CA48-4497-85AF-7B5D76A81E02}"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799" y="368302"/>
            <a:ext cx="748876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7" y="6148800"/>
            <a:ext cx="7219200" cy="190515"/>
          </a:xfrm>
        </p:spPr>
        <p:txBody>
          <a:bodyPr lIns="111600" tIns="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988605"/>
          </a:xfrm>
        </p:spPr>
        <p:txBody>
          <a:bodyPr rIns="216000"/>
          <a:lstStyle>
            <a:lvl1pPr>
              <a:defRPr spc="-67" baseline="0"/>
            </a:lvl1pPr>
          </a:lstStyle>
          <a:p>
            <a:r>
              <a:rPr lang="en-GB" noProof="0"/>
              <a:t>Click to add a headline of maximum two lines</a:t>
            </a:r>
          </a:p>
        </p:txBody>
      </p:sp>
      <p:sp>
        <p:nvSpPr>
          <p:cNvPr id="21" name="Platshållare för text 16">
            <a:extLst>
              <a:ext uri="{FF2B5EF4-FFF2-40B4-BE49-F238E27FC236}">
                <a16:creationId xmlns:a16="http://schemas.microsoft.com/office/drawing/2014/main" id="{57967130-C256-E443-BF6D-9CFC31CE5F76}"/>
              </a:ext>
            </a:extLst>
          </p:cNvPr>
          <p:cNvSpPr>
            <a:spLocks noGrp="1"/>
          </p:cNvSpPr>
          <p:nvPr>
            <p:ph type="body" sz="quarter" idx="18" hasCustomPrompt="1"/>
          </p:nvPr>
        </p:nvSpPr>
        <p:spPr>
          <a:xfrm>
            <a:off x="431801" y="1813984"/>
            <a:ext cx="5568951" cy="410091"/>
          </a:xfrm>
        </p:spPr>
        <p:txBody>
          <a:bodyPr lIns="97200" rIns="216000"/>
          <a:lstStyle>
            <a:lvl1pPr marL="0" indent="0" algn="l">
              <a:lnSpc>
                <a:spcPct val="95000"/>
              </a:lnSpc>
              <a:spcBef>
                <a:spcPts val="0"/>
              </a:spcBef>
              <a:buNone/>
              <a:tabLst/>
              <a:defRPr sz="1600" b="1" spc="0" baseline="0"/>
            </a:lvl1pPr>
            <a:lvl2pPr marL="19050" indent="0" algn="ctr">
              <a:tabLst/>
              <a:defRPr/>
            </a:lvl2pPr>
            <a:lvl3pPr marL="19050" indent="0" algn="ctr">
              <a:tabLst/>
              <a:defRPr/>
            </a:lvl3pPr>
            <a:lvl4pPr marL="19050" indent="0" algn="ctr">
              <a:tabLst/>
              <a:defRPr/>
            </a:lvl4pPr>
            <a:lvl5pPr marL="19050" indent="0" algn="ctr">
              <a:tabLst/>
              <a:defRPr/>
            </a:lvl5pPr>
          </a:lstStyle>
          <a:p>
            <a:pPr lvl="0"/>
            <a:r>
              <a:rPr lang="en-GB" noProof="0"/>
              <a:t>Click to add subheader</a:t>
            </a:r>
          </a:p>
        </p:txBody>
      </p:sp>
      <p:sp>
        <p:nvSpPr>
          <p:cNvPr id="6" name="Platshållare för tabell 5">
            <a:extLst>
              <a:ext uri="{FF2B5EF4-FFF2-40B4-BE49-F238E27FC236}">
                <a16:creationId xmlns:a16="http://schemas.microsoft.com/office/drawing/2014/main" id="{811F8CED-6808-7E46-91B7-C4DDE3339131}"/>
              </a:ext>
            </a:extLst>
          </p:cNvPr>
          <p:cNvSpPr>
            <a:spLocks noGrp="1"/>
          </p:cNvSpPr>
          <p:nvPr>
            <p:ph type="tbl" sz="quarter" idx="20" hasCustomPrompt="1"/>
          </p:nvPr>
        </p:nvSpPr>
        <p:spPr>
          <a:xfrm>
            <a:off x="431800" y="2290899"/>
            <a:ext cx="11328400" cy="3840000"/>
          </a:xfrm>
        </p:spPr>
        <p:txBody>
          <a:bodyPr/>
          <a:lstStyle>
            <a:lvl1pPr algn="ctr">
              <a:buNone/>
              <a:defRPr sz="1067"/>
            </a:lvl1pPr>
          </a:lstStyle>
          <a:p>
            <a:r>
              <a:rPr lang="en-GB" noProof="0"/>
              <a:t>Click on the icon to add table</a:t>
            </a:r>
          </a:p>
        </p:txBody>
      </p:sp>
      <p:sp>
        <p:nvSpPr>
          <p:cNvPr id="11" name="Platshållare för sidfot 6">
            <a:extLst>
              <a:ext uri="{FF2B5EF4-FFF2-40B4-BE49-F238E27FC236}">
                <a16:creationId xmlns:a16="http://schemas.microsoft.com/office/drawing/2014/main" id="{4E4579F6-66FC-3140-A0B3-75F166B0510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11034066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Headline only">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440355CB-8BC2-4BA9-A5FB-E3FF8A76B6F6}"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224000" cy="369332"/>
          </a:xfrm>
        </p:spPr>
        <p:txBody>
          <a:bodyPr lIns="1116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8800"/>
            <a:ext cx="7488767"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1576893"/>
          </a:xfrm>
        </p:spPr>
        <p:txBody>
          <a:bodyPr/>
          <a:lstStyle>
            <a:lvl1pPr>
              <a:defRPr spc="-67" baseline="0"/>
            </a:lvl1pPr>
          </a:lstStyle>
          <a:p>
            <a:r>
              <a:rPr lang="en-GB" noProof="0"/>
              <a:t>Click to add a headline of maximum three lines</a:t>
            </a:r>
          </a:p>
        </p:txBody>
      </p:sp>
      <p:sp>
        <p:nvSpPr>
          <p:cNvPr id="11" name="Platshållare för sidfot 6">
            <a:extLst>
              <a:ext uri="{FF2B5EF4-FFF2-40B4-BE49-F238E27FC236}">
                <a16:creationId xmlns:a16="http://schemas.microsoft.com/office/drawing/2014/main" id="{A552DAA9-741B-4541-B739-5E18BB32D240}"/>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25761069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wo column text">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51B5E063-6309-4D93-AFF8-F90A806C9CAD}" type="datetime1">
              <a:rPr lang="sv-SE" noProof="0" smtClean="0"/>
              <a:t>2025-04-07</a:t>
            </a:fld>
            <a:endParaRPr lang="en-GB" noProof="0"/>
          </a:p>
        </p:txBody>
      </p:sp>
      <p:sp>
        <p:nvSpPr>
          <p:cNvPr id="4" name="Platshållare för bildnummer 3">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9" name="Platshållare för text 15">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224000"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19" name="Platshållare för text 18">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798" y="6148800"/>
            <a:ext cx="5568953" cy="190515"/>
          </a:xfrm>
        </p:spPr>
        <p:txBody>
          <a:bodyPr lIns="111600" tIns="0" rIns="216000" bIns="0" anchor="ctr"/>
          <a:lstStyle>
            <a:lvl1pPr>
              <a:buNone/>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16" name="Rubrik 1">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988605"/>
          </a:xfrm>
        </p:spPr>
        <p:txBody>
          <a:bodyPr rIns="216000"/>
          <a:lstStyle>
            <a:lvl1pPr>
              <a:defRPr spc="-67" baseline="0"/>
            </a:lvl1pPr>
          </a:lstStyle>
          <a:p>
            <a:r>
              <a:rPr lang="en-GB" noProof="0"/>
              <a:t>Click to add a headline of maximum two lines</a:t>
            </a:r>
          </a:p>
        </p:txBody>
      </p:sp>
      <p:sp>
        <p:nvSpPr>
          <p:cNvPr id="6" name="Platshållare för text 5">
            <a:extLst>
              <a:ext uri="{FF2B5EF4-FFF2-40B4-BE49-F238E27FC236}">
                <a16:creationId xmlns:a16="http://schemas.microsoft.com/office/drawing/2014/main" id="{945DB275-95E7-6348-973E-B426CFDD51F5}"/>
              </a:ext>
            </a:extLst>
          </p:cNvPr>
          <p:cNvSpPr>
            <a:spLocks noGrp="1"/>
          </p:cNvSpPr>
          <p:nvPr>
            <p:ph type="body" sz="quarter" idx="22" hasCustomPrompt="1"/>
          </p:nvPr>
        </p:nvSpPr>
        <p:spPr>
          <a:xfrm>
            <a:off x="429682" y="1929600"/>
            <a:ext cx="5571069" cy="4201299"/>
          </a:xfrm>
          <a:noFill/>
        </p:spPr>
        <p:txBody>
          <a:bodyPr lIns="108000" tIns="108000" rIns="216000" bIns="108000"/>
          <a:lstStyle>
            <a:lvl1pPr>
              <a:buFont typeface="Arial" panose="020B0604020202020204" pitchFamily="34" charset="0"/>
              <a:buChar char="•"/>
              <a:defRPr/>
            </a:lvl1pPr>
            <a:lvl2pPr>
              <a:buFont typeface="Arial" panose="020B0604020202020204" pitchFamily="34" charset="0"/>
              <a:buChar char="•"/>
              <a:defRPr/>
            </a:lvl2pPr>
            <a:lvl3pPr>
              <a:buFont typeface="Arial" panose="020B0604020202020204" pitchFamily="34" charset="0"/>
              <a:buChar char="•"/>
              <a:defRPr/>
            </a:lvl3pPr>
            <a:lvl4pPr>
              <a:buFont typeface="Arial" panose="020B0604020202020204" pitchFamily="34" charset="0"/>
              <a:buChar char="•"/>
              <a:defRPr/>
            </a:lvl4pPr>
            <a:lvl5pPr>
              <a:buFont typeface="Arial" panose="020B0604020202020204" pitchFamily="34" charset="0"/>
              <a:buChar cha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Platshållare för text 5">
            <a:extLst>
              <a:ext uri="{FF2B5EF4-FFF2-40B4-BE49-F238E27FC236}">
                <a16:creationId xmlns:a16="http://schemas.microsoft.com/office/drawing/2014/main" id="{5BBFE38F-ECD3-C344-8099-787A3CDE816F}"/>
              </a:ext>
            </a:extLst>
          </p:cNvPr>
          <p:cNvSpPr>
            <a:spLocks noGrp="1"/>
          </p:cNvSpPr>
          <p:nvPr>
            <p:ph type="body" sz="quarter" idx="24" hasCustomPrompt="1"/>
          </p:nvPr>
        </p:nvSpPr>
        <p:spPr>
          <a:xfrm>
            <a:off x="6191251" y="1929600"/>
            <a:ext cx="5571069" cy="4201299"/>
          </a:xfrm>
          <a:noFill/>
        </p:spPr>
        <p:txBody>
          <a:bodyPr lIns="108000" tIns="108000" rIns="216000" bIns="108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ruta 14">
            <a:extLst>
              <a:ext uri="{FF2B5EF4-FFF2-40B4-BE49-F238E27FC236}">
                <a16:creationId xmlns:a16="http://schemas.microsoft.com/office/drawing/2014/main" id="{60E790C3-C996-3D40-8C0B-E05FAA307390}"/>
              </a:ext>
            </a:extLst>
          </p:cNvPr>
          <p:cNvSpPr txBox="1"/>
          <p:nvPr userDrawn="1"/>
        </p:nvSpPr>
        <p:spPr>
          <a:xfrm>
            <a:off x="12256167" y="-5"/>
            <a:ext cx="2544000" cy="2259032"/>
          </a:xfrm>
          <a:prstGeom prst="rect">
            <a:avLst/>
          </a:prstGeom>
          <a:solidFill>
            <a:srgbClr val="FFFEE5"/>
          </a:solidFill>
        </p:spPr>
        <p:txBody>
          <a:bodyPr wrap="square" lIns="192000" tIns="192000" rIns="192000" bIns="192000" rtlCol="0">
            <a:spAutoFit/>
          </a:bodyPr>
          <a:lstStyle/>
          <a:p>
            <a:pPr algn="l">
              <a:lnSpc>
                <a:spcPct val="95000"/>
              </a:lnSpc>
            </a:pPr>
            <a:r>
              <a:rPr lang="en-GB" sz="1600" b="1" noProof="0"/>
              <a:t>Change background colour</a:t>
            </a:r>
          </a:p>
          <a:p>
            <a:pPr algn="l">
              <a:lnSpc>
                <a:spcPct val="95000"/>
              </a:lnSpc>
            </a:pPr>
            <a:r>
              <a:rPr lang="en-GB" sz="1200" b="0" noProof="0"/>
              <a:t>If you need to change the background colour, right click outside work area, choose </a:t>
            </a:r>
            <a:r>
              <a:rPr lang="en-GB" sz="1200" b="1" noProof="0"/>
              <a:t>Format Background</a:t>
            </a:r>
            <a:r>
              <a:rPr lang="en-GB" sz="1200" b="0" noProof="0"/>
              <a:t> from context menu and choose </a:t>
            </a:r>
            <a:r>
              <a:rPr lang="en-GB" sz="1200" b="1" noProof="0"/>
              <a:t>Solid fill. Always use the four light background colours</a:t>
            </a:r>
            <a:r>
              <a:rPr lang="en-GB" sz="1200" b="0" noProof="0"/>
              <a:t> that you’ll find in the custom colour menu.</a:t>
            </a:r>
          </a:p>
        </p:txBody>
      </p:sp>
      <p:sp>
        <p:nvSpPr>
          <p:cNvPr id="17" name="Platshållare för sidfot 6">
            <a:extLst>
              <a:ext uri="{FF2B5EF4-FFF2-40B4-BE49-F238E27FC236}">
                <a16:creationId xmlns:a16="http://schemas.microsoft.com/office/drawing/2014/main" id="{1EE3E70A-BC06-5843-AB7C-05C92A50E43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21" name="Rektangel 20"/>
          <p:cNvSpPr/>
          <p:nvPr userDrawn="1"/>
        </p:nvSpPr>
        <p:spPr>
          <a:xfrm>
            <a:off x="12259873" y="2411604"/>
            <a:ext cx="364025" cy="3640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Rektangel 21"/>
          <p:cNvSpPr/>
          <p:nvPr userDrawn="1"/>
        </p:nvSpPr>
        <p:spPr>
          <a:xfrm>
            <a:off x="12803613" y="2411604"/>
            <a:ext cx="364025" cy="364025"/>
          </a:xfrm>
          <a:prstGeom prst="rect">
            <a:avLst/>
          </a:prstGeom>
          <a:solidFill>
            <a:srgbClr val="FFFE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3" name="Rektangel 22"/>
          <p:cNvSpPr/>
          <p:nvPr userDrawn="1"/>
        </p:nvSpPr>
        <p:spPr>
          <a:xfrm>
            <a:off x="13347353" y="2411604"/>
            <a:ext cx="364025" cy="364025"/>
          </a:xfrm>
          <a:prstGeom prst="rect">
            <a:avLst/>
          </a:prstGeom>
          <a:solidFill>
            <a:srgbClr val="EB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4" name="Rektangel 23"/>
          <p:cNvSpPr/>
          <p:nvPr userDrawn="1"/>
        </p:nvSpPr>
        <p:spPr>
          <a:xfrm>
            <a:off x="14434832" y="2411604"/>
            <a:ext cx="364025" cy="364025"/>
          </a:xfrm>
          <a:prstGeom prst="rect">
            <a:avLst/>
          </a:prstGeom>
          <a:solidFill>
            <a:srgbClr val="FEF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5" name="Rektangel 24"/>
          <p:cNvSpPr/>
          <p:nvPr userDrawn="1"/>
        </p:nvSpPr>
        <p:spPr>
          <a:xfrm>
            <a:off x="13891093" y="2411604"/>
            <a:ext cx="364025" cy="364025"/>
          </a:xfrm>
          <a:prstGeom prst="rect">
            <a:avLst/>
          </a:prstGeom>
          <a:solidFill>
            <a:srgbClr val="EDF9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29914250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 Agenda Arrows">
    <p:spTree>
      <p:nvGrpSpPr>
        <p:cNvPr id="1" name=""/>
        <p:cNvGrpSpPr/>
        <p:nvPr/>
      </p:nvGrpSpPr>
      <p:grpSpPr>
        <a:xfrm>
          <a:off x="0" y="0"/>
          <a:ext cx="0" cy="0"/>
          <a:chOff x="0" y="0"/>
          <a:chExt cx="0" cy="0"/>
        </a:xfrm>
      </p:grpSpPr>
      <p:sp>
        <p:nvSpPr>
          <p:cNvPr id="9" name="Rektangel">
            <a:extLst>
              <a:ext uri="{FF2B5EF4-FFF2-40B4-BE49-F238E27FC236}">
                <a16:creationId xmlns:a16="http://schemas.microsoft.com/office/drawing/2014/main" id="{4DCAD1AE-8D97-2642-99F1-C37A733B7968}"/>
              </a:ext>
            </a:extLst>
          </p:cNvPr>
          <p:cNvSpPr/>
          <p:nvPr userDrawn="1"/>
        </p:nvSpPr>
        <p:spPr>
          <a:xfrm>
            <a:off x="239185" y="211667"/>
            <a:ext cx="768138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8113184" y="211667"/>
            <a:ext cx="3839633" cy="6242051"/>
          </a:xfrm>
          <a:blipFill dpi="0" rotWithShape="1">
            <a:blip r:embed="rId2"/>
            <a:srcRect/>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431800" y="319167"/>
            <a:ext cx="7488765" cy="833711"/>
          </a:xfrm>
        </p:spPr>
        <p:txBody>
          <a:bodyPr rIns="216000"/>
          <a:lstStyle>
            <a:lvl1pPr>
              <a:defRPr sz="4000" spc="-93" baseline="0"/>
            </a:lvl1pPr>
          </a:lstStyle>
          <a:p>
            <a:r>
              <a:rPr lang="en-GB"/>
              <a:t>Add agenda headline</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1457351"/>
            <a:ext cx="7488765" cy="4705571"/>
          </a:xfrm>
        </p:spPr>
        <p:txBody>
          <a:bodyPr rIns="216000"/>
          <a:lstStyle>
            <a:lvl1pPr marL="355591" indent="-355591">
              <a:lnSpc>
                <a:spcPct val="95000"/>
              </a:lnSpc>
              <a:spcBef>
                <a:spcPts val="1333"/>
              </a:spcBef>
              <a:spcAft>
                <a:spcPts val="0"/>
              </a:spcAft>
              <a:buFontTx/>
              <a:buBlip>
                <a:blip r:embed="rId3">
                  <a:extLst>
                    <a:ext uri="{96DAC541-7B7A-43D3-8B79-37D633B846F1}">
                      <asvg:svgBlip xmlns:asvg="http://schemas.microsoft.com/office/drawing/2016/SVG/main" r:embed="rId4"/>
                    </a:ext>
                  </a:extLst>
                </a:blip>
              </a:buBlip>
              <a:tabLst/>
              <a:defRPr sz="2400" b="1"/>
            </a:lvl1pPr>
            <a:lvl2pPr marL="368291" indent="0">
              <a:spcBef>
                <a:spcPts val="0"/>
              </a:spcBef>
              <a:spcAft>
                <a:spcPts val="1333"/>
              </a:spcAft>
              <a:buFontTx/>
              <a:buNone/>
              <a:tabLst/>
              <a:defRPr sz="1867" b="0"/>
            </a:lvl2pPr>
            <a:lvl3pPr marL="21166" indent="-21166">
              <a:tabLst/>
              <a:defRPr sz="3200" b="1"/>
            </a:lvl3pPr>
            <a:lvl4pPr marL="21166" indent="-21166">
              <a:tabLst/>
              <a:defRPr sz="3200" b="1"/>
            </a:lvl4pPr>
            <a:lvl5pPr marL="21166" indent="-21166">
              <a:tabLst/>
              <a:defRPr sz="3200" b="1"/>
            </a:lvl5pPr>
          </a:lstStyle>
          <a:p>
            <a:pPr lvl="0"/>
            <a:r>
              <a:rPr lang="en-GB" noProof="0"/>
              <a:t>Click to add text</a:t>
            </a:r>
          </a:p>
          <a:p>
            <a:pPr lvl="1"/>
            <a:r>
              <a:rPr lang="en-GB" noProof="0"/>
              <a:t>Second level (press TAB)</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44DB898C-9087-4543-B38C-FB8719DF3795}"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8111157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 Statement/Insight image">
    <p:spTree>
      <p:nvGrpSpPr>
        <p:cNvPr id="1" name=""/>
        <p:cNvGrpSpPr/>
        <p:nvPr/>
      </p:nvGrpSpPr>
      <p:grpSpPr>
        <a:xfrm>
          <a:off x="0" y="0"/>
          <a:ext cx="0" cy="0"/>
          <a:chOff x="0" y="0"/>
          <a:chExt cx="0" cy="0"/>
        </a:xfrm>
      </p:grpSpPr>
      <p:sp>
        <p:nvSpPr>
          <p:cNvPr id="11" name="Date Placeholder 3">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4D56D850-81CB-47C5-9C76-0D6F92291DC3}" type="datetime1">
              <a:rPr lang="en-US" noProof="0" smtClean="0"/>
              <a:t>4/7/2025</a:t>
            </a:fld>
            <a:endParaRPr lang="en-GB" noProof="0"/>
          </a:p>
        </p:txBody>
      </p:sp>
      <p:sp>
        <p:nvSpPr>
          <p:cNvPr id="12" name="Slide Number Placeholder 5">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3" name="Platshållare för bild 2">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4" y="211667"/>
            <a:ext cx="1171376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7" name="Rubrik 5">
            <a:extLst>
              <a:ext uri="{FF2B5EF4-FFF2-40B4-BE49-F238E27FC236}">
                <a16:creationId xmlns:a16="http://schemas.microsoft.com/office/drawing/2014/main" id="{A55878FD-9E3E-1D42-8830-1CCBED7F67BF}"/>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bg1"/>
                </a:solidFill>
              </a:defRPr>
            </a:lvl1pPr>
          </a:lstStyle>
          <a:p>
            <a:r>
              <a:rPr lang="en-GB" noProof="0"/>
              <a:t>Click to add statement </a:t>
            </a:r>
            <a:br>
              <a:rPr lang="en-GB" noProof="0"/>
            </a:br>
            <a:r>
              <a:rPr lang="en-GB" noProof="0"/>
              <a:t>or insight</a:t>
            </a:r>
          </a:p>
        </p:txBody>
      </p:sp>
      <p:sp>
        <p:nvSpPr>
          <p:cNvPr id="9" name="Platshållare för sidfot 6">
            <a:extLst>
              <a:ext uri="{FF2B5EF4-FFF2-40B4-BE49-F238E27FC236}">
                <a16:creationId xmlns:a16="http://schemas.microsoft.com/office/drawing/2014/main" id="{3AFBD1D1-32D7-814D-842E-EBEF1C14001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76509316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Statement/Insight">
    <p:bg>
      <p:bgPr>
        <a:solidFill>
          <a:schemeClr val="bg2"/>
        </a:solidFill>
        <a:effectLst/>
      </p:bgPr>
    </p:bg>
    <p:spTree>
      <p:nvGrpSpPr>
        <p:cNvPr id="1" name=""/>
        <p:cNvGrpSpPr/>
        <p:nvPr/>
      </p:nvGrpSpPr>
      <p:grpSpPr>
        <a:xfrm>
          <a:off x="0" y="0"/>
          <a:ext cx="0" cy="0"/>
          <a:chOff x="0" y="0"/>
          <a:chExt cx="0" cy="0"/>
        </a:xfrm>
      </p:grpSpPr>
      <p:sp>
        <p:nvSpPr>
          <p:cNvPr id="11" name="Date Placeholder 3">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A64F698-D9CB-4E1F-983B-3F1AE88BF775}" type="datetime1">
              <a:rPr lang="sv-SE" noProof="0" smtClean="0"/>
              <a:t>2025-04-07</a:t>
            </a:fld>
            <a:endParaRPr lang="en-GB" noProof="0"/>
          </a:p>
        </p:txBody>
      </p:sp>
      <p:sp>
        <p:nvSpPr>
          <p:cNvPr id="12" name="Slide Number Placeholder 5">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7" name="Rubrik 5">
            <a:extLst>
              <a:ext uri="{FF2B5EF4-FFF2-40B4-BE49-F238E27FC236}">
                <a16:creationId xmlns:a16="http://schemas.microsoft.com/office/drawing/2014/main" id="{A55878FD-9E3E-1D42-8830-1CCBED7F67BF}"/>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tx1"/>
                </a:solidFill>
              </a:defRPr>
            </a:lvl1pPr>
          </a:lstStyle>
          <a:p>
            <a:r>
              <a:rPr lang="en-GB" noProof="0"/>
              <a:t>Click to add statement </a:t>
            </a:r>
            <a:br>
              <a:rPr lang="en-GB" noProof="0"/>
            </a:br>
            <a:r>
              <a:rPr lang="en-GB" noProof="0"/>
              <a:t>or insight</a:t>
            </a:r>
          </a:p>
        </p:txBody>
      </p:sp>
      <p:sp>
        <p:nvSpPr>
          <p:cNvPr id="8" name="Platshållare för sidfot 6">
            <a:extLst>
              <a:ext uri="{FF2B5EF4-FFF2-40B4-BE49-F238E27FC236}">
                <a16:creationId xmlns:a16="http://schemas.microsoft.com/office/drawing/2014/main" id="{F76D3661-5BD5-6848-A702-AC0A276D4C4A}"/>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18754999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Image only">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784284BC-DA0B-457D-8A34-065D5AC829A0}"/>
              </a:ext>
            </a:extLst>
          </p:cNvPr>
          <p:cNvSpPr>
            <a:spLocks noGrp="1"/>
          </p:cNvSpPr>
          <p:nvPr>
            <p:ph type="pic" sz="quarter" idx="14"/>
          </p:nvPr>
        </p:nvSpPr>
        <p:spPr>
          <a:xfrm>
            <a:off x="239184" y="216000"/>
            <a:ext cx="11713633" cy="5985600"/>
          </a:xfrm>
        </p:spPr>
        <p:txBody>
          <a:bodyPr/>
          <a:lstStyle>
            <a:lvl1pPr marL="0" indent="0">
              <a:buNone/>
              <a:defRPr/>
            </a:lvl1pPr>
          </a:lstStyle>
          <a:p>
            <a:r>
              <a:rPr lang="sv-SE" noProof="0"/>
              <a:t>Klicka på ikonen för att lägga till en bild</a:t>
            </a:r>
            <a:endParaRPr lang="en-GB" noProof="0"/>
          </a:p>
        </p:txBody>
      </p:sp>
      <p:sp>
        <p:nvSpPr>
          <p:cNvPr id="25" name="Rektangel 24">
            <a:extLst>
              <a:ext uri="{FF2B5EF4-FFF2-40B4-BE49-F238E27FC236}">
                <a16:creationId xmlns:a16="http://schemas.microsoft.com/office/drawing/2014/main" id="{2FC1ED08-C4A9-4705-9351-71083E1E36B8}"/>
              </a:ext>
            </a:extLst>
          </p:cNvPr>
          <p:cNvSpPr/>
          <p:nvPr userDrawn="1"/>
        </p:nvSpPr>
        <p:spPr>
          <a:xfrm>
            <a:off x="483649" y="442631"/>
            <a:ext cx="1200000" cy="110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0" name="Platshållare för datum 3">
            <a:extLst>
              <a:ext uri="{FF2B5EF4-FFF2-40B4-BE49-F238E27FC236}">
                <a16:creationId xmlns:a16="http://schemas.microsoft.com/office/drawing/2014/main" id="{C5944AC1-15AE-4755-8FD5-718DE0536AC1}"/>
              </a:ext>
            </a:extLst>
          </p:cNvPr>
          <p:cNvSpPr>
            <a:spLocks noGrp="1"/>
          </p:cNvSpPr>
          <p:nvPr>
            <p:ph type="dt" sz="half" idx="2"/>
          </p:nvPr>
        </p:nvSpPr>
        <p:spPr>
          <a:xfrm>
            <a:off x="239183" y="6331200"/>
            <a:ext cx="1243020" cy="180000"/>
          </a:xfrm>
          <a:prstGeom prst="rect">
            <a:avLst/>
          </a:prstGeom>
        </p:spPr>
        <p:txBody>
          <a:bodyPr vert="horz" lIns="0" tIns="0" rIns="0" bIns="0" rtlCol="0" anchor="b" anchorCtr="0"/>
          <a:lstStyle>
            <a:lvl1pPr algn="l">
              <a:lnSpc>
                <a:spcPts val="1200"/>
              </a:lnSpc>
              <a:defRPr sz="773">
                <a:solidFill>
                  <a:schemeClr val="tx1">
                    <a:tint val="75000"/>
                  </a:schemeClr>
                </a:solidFill>
              </a:defRPr>
            </a:lvl1pPr>
          </a:lstStyle>
          <a:p>
            <a:fld id="{60B15ECF-DE70-4DAB-9459-A834779E4201}" type="datetime1">
              <a:rPr lang="en-GB" noProof="0" smtClean="0"/>
              <a:t>07/04/2025</a:t>
            </a:fld>
            <a:endParaRPr lang="en-GB" noProof="0"/>
          </a:p>
        </p:txBody>
      </p:sp>
      <p:sp>
        <p:nvSpPr>
          <p:cNvPr id="12" name="Platshållare för sidfot 4">
            <a:extLst>
              <a:ext uri="{FF2B5EF4-FFF2-40B4-BE49-F238E27FC236}">
                <a16:creationId xmlns:a16="http://schemas.microsoft.com/office/drawing/2014/main" id="{5A7E7860-781A-480B-9C9B-AA4C5E72C83F}"/>
              </a:ext>
            </a:extLst>
          </p:cNvPr>
          <p:cNvSpPr>
            <a:spLocks noGrp="1"/>
          </p:cNvSpPr>
          <p:nvPr>
            <p:ph type="ftr" sz="quarter" idx="3"/>
          </p:nvPr>
        </p:nvSpPr>
        <p:spPr>
          <a:xfrm>
            <a:off x="239183" y="6475200"/>
            <a:ext cx="3494400" cy="180000"/>
          </a:xfrm>
          <a:prstGeom prst="rect">
            <a:avLst/>
          </a:prstGeom>
        </p:spPr>
        <p:txBody>
          <a:bodyPr vert="horz" lIns="0" tIns="0" rIns="0" bIns="0" rtlCol="0" anchor="b" anchorCtr="0"/>
          <a:lstStyle>
            <a:lvl1pPr algn="l">
              <a:lnSpc>
                <a:spcPts val="1200"/>
              </a:lnSpc>
              <a:defRPr sz="773">
                <a:solidFill>
                  <a:schemeClr val="tx1">
                    <a:tint val="75000"/>
                  </a:schemeClr>
                </a:solidFill>
              </a:defRPr>
            </a:lvl1pPr>
          </a:lstStyle>
          <a:p>
            <a:r>
              <a:rPr lang="en-US" noProof="0"/>
              <a:t>C4 – Strictly confidential, C3 – Restricted, C2 – Internal, C1 – Public</a:t>
            </a:r>
            <a:endParaRPr lang="en-GB" noProof="0"/>
          </a:p>
        </p:txBody>
      </p:sp>
      <p:sp>
        <p:nvSpPr>
          <p:cNvPr id="17" name="Platshållare för bildnummer 5">
            <a:extLst>
              <a:ext uri="{FF2B5EF4-FFF2-40B4-BE49-F238E27FC236}">
                <a16:creationId xmlns:a16="http://schemas.microsoft.com/office/drawing/2014/main" id="{2175B558-2E01-4CF8-BFEC-D4A9080AEBDC}"/>
              </a:ext>
            </a:extLst>
          </p:cNvPr>
          <p:cNvSpPr>
            <a:spLocks noGrp="1"/>
          </p:cNvSpPr>
          <p:nvPr>
            <p:ph type="sldNum" sz="quarter" idx="4"/>
          </p:nvPr>
        </p:nvSpPr>
        <p:spPr>
          <a:xfrm>
            <a:off x="11467200" y="6408000"/>
            <a:ext cx="499200" cy="240000"/>
          </a:xfrm>
          <a:prstGeom prst="rect">
            <a:avLst/>
          </a:prstGeom>
        </p:spPr>
        <p:txBody>
          <a:bodyPr vert="horz" lIns="0" tIns="0" rIns="0" bIns="0" rtlCol="0" anchor="b" anchorCtr="0"/>
          <a:lstStyle>
            <a:lvl1pPr algn="r">
              <a:lnSpc>
                <a:spcPts val="1200"/>
              </a:lnSpc>
              <a:defRPr sz="773">
                <a:solidFill>
                  <a:schemeClr val="tx1">
                    <a:tint val="75000"/>
                  </a:schemeClr>
                </a:solidFill>
              </a:defRPr>
            </a:lvl1pPr>
          </a:lstStyle>
          <a:p>
            <a:fld id="{B2B07D95-7C69-46C0-AD2A-2DA1650028AD}" type="slidenum">
              <a:rPr lang="en-GB" noProof="0" smtClean="0"/>
              <a:pPr/>
              <a:t>‹#›</a:t>
            </a:fld>
            <a:endParaRPr lang="en-GB" noProof="0"/>
          </a:p>
        </p:txBody>
      </p:sp>
    </p:spTree>
    <p:extLst>
      <p:ext uri="{BB962C8B-B14F-4D97-AF65-F5344CB8AC3E}">
        <p14:creationId xmlns:p14="http://schemas.microsoft.com/office/powerpoint/2010/main" val="1672019969"/>
      </p:ext>
    </p:extLst>
  </p:cSld>
  <p:clrMapOvr>
    <a:masterClrMapping/>
  </p:clrMapOvr>
  <p:extLst>
    <p:ext uri="{DCECCB84-F9BA-43D5-87BE-67443E8EF086}">
      <p15:sldGuideLst xmlns:p15="http://schemas.microsoft.com/office/powerpoint/2012/main">
        <p15:guide id="1" orient="horz" pos="1620">
          <p15:clr>
            <a:srgbClr val="FBAE40"/>
          </p15:clr>
        </p15:guide>
        <p15:guide id="2" pos="113">
          <p15:clr>
            <a:srgbClr val="FBAE40"/>
          </p15:clr>
        </p15:guide>
        <p15:guide id="3" orient="horz" pos="100">
          <p15:clr>
            <a:srgbClr val="FBAE40"/>
          </p15:clr>
        </p15:guide>
        <p15:guide id="4" pos="5647">
          <p15:clr>
            <a:srgbClr val="FBAE40"/>
          </p15:clr>
        </p15:guide>
        <p15:guide id="5" orient="horz" pos="2935">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 Text and Video">
    <p:spTree>
      <p:nvGrpSpPr>
        <p:cNvPr id="1" name=""/>
        <p:cNvGrpSpPr/>
        <p:nvPr/>
      </p:nvGrpSpPr>
      <p:grpSpPr>
        <a:xfrm>
          <a:off x="0" y="0"/>
          <a:ext cx="0" cy="0"/>
          <a:chOff x="0" y="0"/>
          <a:chExt cx="0" cy="0"/>
        </a:xfrm>
      </p:grpSpPr>
      <p:sp>
        <p:nvSpPr>
          <p:cNvPr id="7" name="Video">
            <a:extLst>
              <a:ext uri="{FF2B5EF4-FFF2-40B4-BE49-F238E27FC236}">
                <a16:creationId xmlns:a16="http://schemas.microsoft.com/office/drawing/2014/main" id="{0EE9A542-5863-3049-A7EF-24ADE3267341}"/>
              </a:ext>
            </a:extLst>
          </p:cNvPr>
          <p:cNvSpPr>
            <a:spLocks noGrp="1"/>
          </p:cNvSpPr>
          <p:nvPr>
            <p:ph type="media" sz="quarter" idx="15" hasCustomPrompt="1"/>
          </p:nvPr>
        </p:nvSpPr>
        <p:spPr>
          <a:xfrm>
            <a:off x="6191252" y="211668"/>
            <a:ext cx="5761565" cy="6242051"/>
          </a:xfrm>
          <a:blipFill dpi="0" rotWithShape="1">
            <a:blip r:embed="rId2"/>
            <a:srcRect/>
            <a:tile tx="0" ty="0" sx="100000" sy="100000" flip="none" algn="tl"/>
          </a:blipFill>
        </p:spPr>
        <p:txBody>
          <a:bodyPr vert="horz" lIns="90000" tIns="45720" rIns="90000" bIns="45720" rtlCol="0">
            <a:noAutofit/>
          </a:bodyPr>
          <a:lstStyle>
            <a:lvl1pPr marL="0" indent="0" algn="ctr">
              <a:buNone/>
              <a:defRPr lang="en-GB" sz="1067" dirty="0">
                <a:solidFill>
                  <a:schemeClr val="bg1">
                    <a:lumMod val="75000"/>
                  </a:schemeClr>
                </a:solidFill>
              </a:defRPr>
            </a:lvl1pPr>
          </a:lstStyle>
          <a:p>
            <a:pPr marL="228589" lvl="0" indent="-228589" algn="ctr"/>
            <a:r>
              <a:rPr lang="en-GB"/>
              <a:t>Click on the icon to add video</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2" y="700802"/>
            <a:ext cx="5568951" cy="2111489"/>
          </a:xfrm>
        </p:spPr>
        <p:txBody>
          <a:bodyPr rIns="216000"/>
          <a:lstStyle>
            <a:lvl1pPr>
              <a:defRPr sz="4000" spc="-93"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2" y="368303"/>
            <a:ext cx="5568951"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3" y="2804585"/>
            <a:ext cx="5568949" cy="3476227"/>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1F54C7DB-F729-934A-ACF1-81C3304E76A9}"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300"/>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08056645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89DF6D-A171-188D-D4EE-DF7BD438EC30}"/>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3" name="Footer Placeholder 2">
            <a:extLst>
              <a:ext uri="{FF2B5EF4-FFF2-40B4-BE49-F238E27FC236}">
                <a16:creationId xmlns:a16="http://schemas.microsoft.com/office/drawing/2014/main" id="{6AFAFE1D-206F-A006-6B3D-CAE6517C064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51D53F5-026C-86BF-2216-ACA64E9B3FBD}"/>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32018565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 Text and Chart">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A1839504-BA43-3148-B19E-480FB1E15F74}"/>
              </a:ext>
            </a:extLst>
          </p:cNvPr>
          <p:cNvSpPr/>
          <p:nvPr userDrawn="1"/>
        </p:nvSpPr>
        <p:spPr>
          <a:xfrm>
            <a:off x="8113185" y="211667"/>
            <a:ext cx="383963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6" name="Rubrik 5">
            <a:extLst>
              <a:ext uri="{FF2B5EF4-FFF2-40B4-BE49-F238E27FC236}">
                <a16:creationId xmlns:a16="http://schemas.microsoft.com/office/drawing/2014/main" id="{4F9BFEED-0E03-904F-9847-3F79E60C9524}"/>
              </a:ext>
            </a:extLst>
          </p:cNvPr>
          <p:cNvSpPr>
            <a:spLocks noGrp="1"/>
          </p:cNvSpPr>
          <p:nvPr>
            <p:ph type="title" hasCustomPrompt="1"/>
          </p:nvPr>
        </p:nvSpPr>
        <p:spPr>
          <a:xfrm>
            <a:off x="431799" y="700800"/>
            <a:ext cx="7488767" cy="1997752"/>
          </a:xfrm>
        </p:spPr>
        <p:txBody>
          <a:bodyPr rIns="144000"/>
          <a:lstStyle>
            <a:lvl1pPr>
              <a:defRPr sz="4000" spc="-93" baseline="0"/>
            </a:lvl1pPr>
          </a:lstStyle>
          <a:p>
            <a:r>
              <a:rPr lang="en-GB" noProof="0"/>
              <a:t>Click to add a headline of maximum three lines</a:t>
            </a:r>
          </a:p>
        </p:txBody>
      </p:sp>
      <p:sp>
        <p:nvSpPr>
          <p:cNvPr id="12" name="Platshållare för text 1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799" y="2804585"/>
            <a:ext cx="3645548"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Platshållare för text 15">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9" name="Platshållare för diagram 8">
            <a:extLst>
              <a:ext uri="{FF2B5EF4-FFF2-40B4-BE49-F238E27FC236}">
                <a16:creationId xmlns:a16="http://schemas.microsoft.com/office/drawing/2014/main" id="{A91A41A0-04EF-2048-AE61-5DDC5148F93A}"/>
              </a:ext>
            </a:extLst>
          </p:cNvPr>
          <p:cNvSpPr>
            <a:spLocks noGrp="1"/>
          </p:cNvSpPr>
          <p:nvPr>
            <p:ph type="chart" sz="quarter" idx="15" hasCustomPrompt="1"/>
          </p:nvPr>
        </p:nvSpPr>
        <p:spPr>
          <a:xfrm>
            <a:off x="8295923" y="836085"/>
            <a:ext cx="3474156" cy="3334156"/>
          </a:xfrm>
        </p:spPr>
        <p:txBody>
          <a:bodyPr/>
          <a:lstStyle>
            <a:lvl1pPr algn="ctr">
              <a:buNone/>
              <a:defRPr sz="1067"/>
            </a:lvl1pPr>
          </a:lstStyle>
          <a:p>
            <a:r>
              <a:rPr lang="en-GB" noProof="0"/>
              <a:t>Click on the icon to add chart</a:t>
            </a:r>
          </a:p>
        </p:txBody>
      </p:sp>
      <p:sp>
        <p:nvSpPr>
          <p:cNvPr id="38" name="Date Placeholder 3">
            <a:extLst>
              <a:ext uri="{FF2B5EF4-FFF2-40B4-BE49-F238E27FC236}">
                <a16:creationId xmlns:a16="http://schemas.microsoft.com/office/drawing/2014/main" id="{9AD8DCC8-E09D-6045-BD4F-CD56F045E71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59F3BEB6-FD9F-4FFE-B2FA-D374994104D5}" type="datetime1">
              <a:rPr lang="sv-SE" noProof="0" smtClean="0"/>
              <a:t>2025-04-07</a:t>
            </a:fld>
            <a:endParaRPr lang="en-GB" noProof="0"/>
          </a:p>
        </p:txBody>
      </p:sp>
      <p:sp>
        <p:nvSpPr>
          <p:cNvPr id="39" name="Slide Number Placeholder 5">
            <a:extLst>
              <a:ext uri="{FF2B5EF4-FFF2-40B4-BE49-F238E27FC236}">
                <a16:creationId xmlns:a16="http://schemas.microsoft.com/office/drawing/2014/main" id="{8146F900-BA4E-2B4B-B712-8BFC2919DDD1}"/>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Platshållare för text 11">
            <a:extLst>
              <a:ext uri="{FF2B5EF4-FFF2-40B4-BE49-F238E27FC236}">
                <a16:creationId xmlns:a16="http://schemas.microsoft.com/office/drawing/2014/main" id="{089CFEC7-99C6-0746-8ADC-4898C0347892}"/>
              </a:ext>
            </a:extLst>
          </p:cNvPr>
          <p:cNvSpPr>
            <a:spLocks noGrp="1"/>
          </p:cNvSpPr>
          <p:nvPr>
            <p:ph type="body" sz="quarter" idx="22" hasCustomPrompt="1"/>
          </p:nvPr>
        </p:nvSpPr>
        <p:spPr>
          <a:xfrm>
            <a:off x="4275017" y="2804585"/>
            <a:ext cx="3645548"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Platshållare för text 11">
            <a:extLst>
              <a:ext uri="{FF2B5EF4-FFF2-40B4-BE49-F238E27FC236}">
                <a16:creationId xmlns:a16="http://schemas.microsoft.com/office/drawing/2014/main" id="{67982006-AFBB-0E47-AD42-44CEB05BBE12}"/>
              </a:ext>
            </a:extLst>
          </p:cNvPr>
          <p:cNvSpPr>
            <a:spLocks noGrp="1"/>
          </p:cNvSpPr>
          <p:nvPr>
            <p:ph type="body" sz="quarter" idx="20" hasCustomPrompt="1"/>
          </p:nvPr>
        </p:nvSpPr>
        <p:spPr>
          <a:xfrm>
            <a:off x="8304339" y="4521118"/>
            <a:ext cx="3460800"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18" name="Platshållare för text 11">
            <a:extLst>
              <a:ext uri="{FF2B5EF4-FFF2-40B4-BE49-F238E27FC236}">
                <a16:creationId xmlns:a16="http://schemas.microsoft.com/office/drawing/2014/main" id="{754D20A8-6A7E-3C4B-82E9-6F1713B7D670}"/>
              </a:ext>
            </a:extLst>
          </p:cNvPr>
          <p:cNvSpPr>
            <a:spLocks noGrp="1"/>
          </p:cNvSpPr>
          <p:nvPr>
            <p:ph type="body" sz="quarter" idx="21" hasCustomPrompt="1"/>
          </p:nvPr>
        </p:nvSpPr>
        <p:spPr>
          <a:xfrm>
            <a:off x="8300862" y="5036447"/>
            <a:ext cx="3464277" cy="1224653"/>
          </a:xfrm>
        </p:spPr>
        <p:txBody>
          <a:bodyPr lIns="216000" rIns="216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15" name="Platshållare för sidfot 6">
            <a:extLst>
              <a:ext uri="{FF2B5EF4-FFF2-40B4-BE49-F238E27FC236}">
                <a16:creationId xmlns:a16="http://schemas.microsoft.com/office/drawing/2014/main" id="{75B76674-8D8E-5447-A5ED-487EED102E9F}"/>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67356749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 Text only">
    <p:bg>
      <p:bgPr>
        <a:solidFill>
          <a:schemeClr val="bg2"/>
        </a:solidFill>
        <a:effectLst/>
      </p:bgPr>
    </p:bg>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29C1BAB5-302C-E24B-AF46-F5810100CE40}"/>
              </a:ext>
            </a:extLst>
          </p:cNvPr>
          <p:cNvSpPr>
            <a:spLocks noGrp="1"/>
          </p:cNvSpPr>
          <p:nvPr>
            <p:ph type="title" hasCustomPrompt="1"/>
          </p:nvPr>
        </p:nvSpPr>
        <p:spPr>
          <a:xfrm>
            <a:off x="431801" y="727102"/>
            <a:ext cx="11328399" cy="988605"/>
          </a:xfrm>
        </p:spPr>
        <p:txBody>
          <a:bodyPr rIns="216000"/>
          <a:lstStyle>
            <a:lvl1pPr>
              <a:defRPr spc="-67" baseline="0"/>
            </a:lvl1pPr>
          </a:lstStyle>
          <a:p>
            <a:r>
              <a:rPr lang="en-GB" noProof="0"/>
              <a:t>Click to add a headline of maximum two lines</a:t>
            </a:r>
          </a:p>
        </p:txBody>
      </p:sp>
      <p:sp>
        <p:nvSpPr>
          <p:cNvPr id="9" name="Navigation">
            <a:extLst>
              <a:ext uri="{FF2B5EF4-FFF2-40B4-BE49-F238E27FC236}">
                <a16:creationId xmlns:a16="http://schemas.microsoft.com/office/drawing/2014/main" id="{03424855-B277-8744-9C85-9975925B8200}"/>
              </a:ext>
            </a:extLst>
          </p:cNvPr>
          <p:cNvSpPr>
            <a:spLocks noGrp="1"/>
          </p:cNvSpPr>
          <p:nvPr>
            <p:ph type="body" sz="quarter" idx="14" hasCustomPrompt="1"/>
          </p:nvPr>
        </p:nvSpPr>
        <p:spPr>
          <a:xfrm>
            <a:off x="431800" y="368302"/>
            <a:ext cx="7224000"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subheader</a:t>
            </a:r>
          </a:p>
        </p:txBody>
      </p:sp>
      <p:sp>
        <p:nvSpPr>
          <p:cNvPr id="6" name="Text 1">
            <a:extLst>
              <a:ext uri="{FF2B5EF4-FFF2-40B4-BE49-F238E27FC236}">
                <a16:creationId xmlns:a16="http://schemas.microsoft.com/office/drawing/2014/main" id="{945DB275-95E7-6348-973E-B426CFDD51F5}"/>
              </a:ext>
            </a:extLst>
          </p:cNvPr>
          <p:cNvSpPr>
            <a:spLocks noGrp="1"/>
          </p:cNvSpPr>
          <p:nvPr>
            <p:ph type="body" sz="quarter" idx="22" hasCustomPrompt="1"/>
          </p:nvPr>
        </p:nvSpPr>
        <p:spPr>
          <a:xfrm>
            <a:off x="429682" y="1929600"/>
            <a:ext cx="5571069" cy="4201299"/>
          </a:xfrm>
          <a:noFill/>
        </p:spPr>
        <p:txBody>
          <a:bodyPr lIns="108000" tIns="108000" rIns="216000" bIns="108000"/>
          <a:lstStyle>
            <a:lvl1pPr>
              <a:buFont typeface="Arial" panose="020B0604020202020204" pitchFamily="34" charset="0"/>
              <a:buChar char="•"/>
              <a:defRPr/>
            </a:lvl1pPr>
            <a:lvl2pPr>
              <a:buFont typeface="Arial" panose="020B0604020202020204" pitchFamily="34" charset="0"/>
              <a:buChar char="•"/>
              <a:defRPr/>
            </a:lvl2pPr>
            <a:lvl3pPr>
              <a:buFont typeface="Arial" panose="020B0604020202020204" pitchFamily="34" charset="0"/>
              <a:buChar char="•"/>
              <a:defRPr/>
            </a:lvl3pPr>
            <a:lvl4pPr>
              <a:buFont typeface="Arial" panose="020B0604020202020204" pitchFamily="34" charset="0"/>
              <a:buChar char="•"/>
              <a:defRPr/>
            </a:lvl4pPr>
            <a:lvl5pPr>
              <a:buFont typeface="Arial" panose="020B0604020202020204" pitchFamily="34" charset="0"/>
              <a:buChar char="•"/>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ext 2">
            <a:extLst>
              <a:ext uri="{FF2B5EF4-FFF2-40B4-BE49-F238E27FC236}">
                <a16:creationId xmlns:a16="http://schemas.microsoft.com/office/drawing/2014/main" id="{5BBFE38F-ECD3-C344-8099-787A3CDE816F}"/>
              </a:ext>
            </a:extLst>
          </p:cNvPr>
          <p:cNvSpPr>
            <a:spLocks noGrp="1"/>
          </p:cNvSpPr>
          <p:nvPr>
            <p:ph type="body" sz="quarter" idx="24" hasCustomPrompt="1"/>
          </p:nvPr>
        </p:nvSpPr>
        <p:spPr>
          <a:xfrm>
            <a:off x="6191251" y="1929600"/>
            <a:ext cx="5571069" cy="4201299"/>
          </a:xfrm>
          <a:noFill/>
        </p:spPr>
        <p:txBody>
          <a:bodyPr lIns="108000" tIns="108000" rIns="216000" bIns="108000"/>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Notes">
            <a:extLst>
              <a:ext uri="{FF2B5EF4-FFF2-40B4-BE49-F238E27FC236}">
                <a16:creationId xmlns:a16="http://schemas.microsoft.com/office/drawing/2014/main" id="{4615DFA7-0616-B744-975C-88C9447A199A}"/>
              </a:ext>
            </a:extLst>
          </p:cNvPr>
          <p:cNvSpPr>
            <a:spLocks noGrp="1"/>
          </p:cNvSpPr>
          <p:nvPr>
            <p:ph type="body" sz="quarter" idx="19" hasCustomPrompt="1"/>
          </p:nvPr>
        </p:nvSpPr>
        <p:spPr>
          <a:xfrm>
            <a:off x="431801" y="6261101"/>
            <a:ext cx="5568953" cy="192617"/>
          </a:xfrm>
        </p:spPr>
        <p:txBody>
          <a:bodyPr lIns="111600" tIns="0" rIns="216000" bIns="18000" anchor="b"/>
          <a:lstStyle>
            <a:lvl1pPr marL="0" indent="0">
              <a:spcBef>
                <a:spcPts val="0"/>
              </a:spcBef>
              <a:buNone/>
              <a:tabLst/>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3" name="Date">
            <a:extLst>
              <a:ext uri="{FF2B5EF4-FFF2-40B4-BE49-F238E27FC236}">
                <a16:creationId xmlns:a16="http://schemas.microsoft.com/office/drawing/2014/main" id="{C57FF860-80C4-F544-9349-277B28F447FB}"/>
              </a:ext>
            </a:extLst>
          </p:cNvPr>
          <p:cNvSpPr>
            <a:spLocks noGrp="1"/>
          </p:cNvSpPr>
          <p:nvPr>
            <p:ph type="dt" sz="half" idx="10"/>
          </p:nvPr>
        </p:nvSpPr>
        <p:spPr/>
        <p:txBody>
          <a:bodyPr/>
          <a:lstStyle/>
          <a:p>
            <a:fld id="{933CA21E-5021-1E43-BE3A-22C32546DC1F}" type="datetime1">
              <a:rPr lang="sv-SE" noProof="0" smtClean="0"/>
              <a:t>2025-04-07</a:t>
            </a:fld>
            <a:endParaRPr lang="en-GB" noProof="0"/>
          </a:p>
        </p:txBody>
      </p:sp>
      <p:sp>
        <p:nvSpPr>
          <p:cNvPr id="4" name="Number">
            <a:extLst>
              <a:ext uri="{FF2B5EF4-FFF2-40B4-BE49-F238E27FC236}">
                <a16:creationId xmlns:a16="http://schemas.microsoft.com/office/drawing/2014/main" id="{61938E86-6CF5-9C42-AB2F-96E9B547A11F}"/>
              </a:ext>
            </a:extLst>
          </p:cNvPr>
          <p:cNvSpPr>
            <a:spLocks noGrp="1"/>
          </p:cNvSpPr>
          <p:nvPr>
            <p:ph type="sldNum" sz="quarter" idx="11"/>
          </p:nvPr>
        </p:nvSpPr>
        <p:spPr/>
        <p:txBody>
          <a:bodyPr/>
          <a:lstStyle/>
          <a:p>
            <a:fld id="{17CD396C-6A52-4D5A-BAE3-92A1CC3BBDE0}" type="slidenum">
              <a:rPr lang="en-GB" noProof="0" smtClean="0"/>
              <a:pPr/>
              <a:t>‹#›</a:t>
            </a:fld>
            <a:endParaRPr lang="en-GB" noProof="0"/>
          </a:p>
        </p:txBody>
      </p:sp>
      <p:sp>
        <p:nvSpPr>
          <p:cNvPr id="17" name="Footer">
            <a:extLst>
              <a:ext uri="{FF2B5EF4-FFF2-40B4-BE49-F238E27FC236}">
                <a16:creationId xmlns:a16="http://schemas.microsoft.com/office/drawing/2014/main" id="{1EE3E70A-BC06-5843-AB7C-05C92A50E43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091621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2686911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ED3F170-B073-E939-C24A-C31C8D4EC191}"/>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80C71912-4E7C-9CEA-6DE4-C7D01B8024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4CC424E1-25E7-6615-9F97-9B6985FDABED}"/>
              </a:ext>
            </a:extLst>
          </p:cNvPr>
          <p:cNvSpPr>
            <a:spLocks noGrp="1"/>
          </p:cNvSpPr>
          <p:nvPr>
            <p:ph type="dt" sz="half" idx="10"/>
          </p:nvPr>
        </p:nvSpPr>
        <p:spPr/>
        <p:txBody>
          <a:bodyPr/>
          <a:lstStyle/>
          <a:p>
            <a:fld id="{738CDB98-B92F-4143-BEB8-DB553E96A012}" type="datetimeFigureOut">
              <a:rPr lang="sv-SE" smtClean="0"/>
              <a:t>2025-04-07</a:t>
            </a:fld>
            <a:endParaRPr lang="sv-SE"/>
          </a:p>
        </p:txBody>
      </p:sp>
      <p:sp>
        <p:nvSpPr>
          <p:cNvPr id="5" name="Platshållare för sidfot 4">
            <a:extLst>
              <a:ext uri="{FF2B5EF4-FFF2-40B4-BE49-F238E27FC236}">
                <a16:creationId xmlns:a16="http://schemas.microsoft.com/office/drawing/2014/main" id="{701400AA-E869-5450-8578-1718CD5900F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8F8172E-217C-6F6B-74E6-48AFC5CE6FDF}"/>
              </a:ext>
            </a:extLst>
          </p:cNvPr>
          <p:cNvSpPr>
            <a:spLocks noGrp="1"/>
          </p:cNvSpPr>
          <p:nvPr>
            <p:ph type="sldNum" sz="quarter" idx="12"/>
          </p:nvPr>
        </p:nvSpPr>
        <p:spPr/>
        <p:txBody>
          <a:bodyPr/>
          <a:lstStyle/>
          <a:p>
            <a:fld id="{859B5EEA-A38C-47B6-9182-2198C52C071C}" type="slidenum">
              <a:rPr lang="sv-SE" smtClean="0"/>
              <a:t>‹#›</a:t>
            </a:fld>
            <a:endParaRPr lang="sv-SE"/>
          </a:p>
        </p:txBody>
      </p:sp>
    </p:spTree>
    <p:extLst>
      <p:ext uri="{BB962C8B-B14F-4D97-AF65-F5344CB8AC3E}">
        <p14:creationId xmlns:p14="http://schemas.microsoft.com/office/powerpoint/2010/main" val="5324539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46B149-EE35-5F76-5302-E64A76A85984}"/>
              </a:ext>
            </a:extLst>
          </p:cNvPr>
          <p:cNvSpPr/>
          <p:nvPr userDrawn="1"/>
        </p:nvSpPr>
        <p:spPr>
          <a:xfrm>
            <a:off x="5999692"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191252" y="211667"/>
            <a:ext cx="5761696"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1"/>
            <a:ext cx="5568951" cy="2111489"/>
          </a:xfrm>
        </p:spPr>
        <p:txBody>
          <a:bodyPr rIns="216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4"/>
            <a:ext cx="5568949" cy="3476227"/>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3AD7647E-A4FC-D74C-B420-CF22E5D9DB0D}"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73184724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 Generic Image Start">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9B8958B-10DA-F24F-A2EC-49711C241895}"/>
              </a:ext>
            </a:extLst>
          </p:cNvPr>
          <p:cNvSpPr/>
          <p:nvPr/>
        </p:nvSpPr>
        <p:spPr>
          <a:xfrm>
            <a:off x="8694498" y="3332693"/>
            <a:ext cx="1338503" cy="6574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8" name="Rektangel 27">
            <a:extLst>
              <a:ext uri="{FF2B5EF4-FFF2-40B4-BE49-F238E27FC236}">
                <a16:creationId xmlns:a16="http://schemas.microsoft.com/office/drawing/2014/main" id="{44B06D9C-224E-0C44-86A7-A872605E97D8}"/>
              </a:ext>
            </a:extLst>
          </p:cNvPr>
          <p:cNvSpPr/>
          <p:nvPr/>
        </p:nvSpPr>
        <p:spPr>
          <a:xfrm>
            <a:off x="8694498" y="2676334"/>
            <a:ext cx="1338503" cy="6574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45" name="Picture Placeholder 44">
            <a:extLst>
              <a:ext uri="{FF2B5EF4-FFF2-40B4-BE49-F238E27FC236}">
                <a16:creationId xmlns:a16="http://schemas.microsoft.com/office/drawing/2014/main" id="{DEA784E8-8252-DD5B-F219-7BD42C129BF5}"/>
              </a:ext>
            </a:extLst>
          </p:cNvPr>
          <p:cNvSpPr>
            <a:spLocks noGrp="1"/>
          </p:cNvSpPr>
          <p:nvPr>
            <p:ph type="pic" sz="quarter" idx="10" hasCustomPrompt="1"/>
          </p:nvPr>
        </p:nvSpPr>
        <p:spPr>
          <a:xfrm>
            <a:off x="239184" y="211667"/>
            <a:ext cx="11713763" cy="6242051"/>
          </a:xfrm>
          <a:custGeom>
            <a:avLst/>
            <a:gdLst>
              <a:gd name="connsiteX0" fmla="*/ 5043808 w 8785322"/>
              <a:gd name="connsiteY0" fmla="*/ 2233607 h 4681538"/>
              <a:gd name="connsiteX1" fmla="*/ 5044628 w 8785322"/>
              <a:gd name="connsiteY1" fmla="*/ 2233607 h 4681538"/>
              <a:gd name="connsiteX2" fmla="*/ 5114297 w 8785322"/>
              <a:gd name="connsiteY2" fmla="*/ 2404588 h 4681538"/>
              <a:gd name="connsiteX3" fmla="*/ 4974550 w 8785322"/>
              <a:gd name="connsiteY3" fmla="*/ 2404588 h 4681538"/>
              <a:gd name="connsiteX4" fmla="*/ 2227558 w 8785322"/>
              <a:gd name="connsiteY4" fmla="*/ 2233607 h 4681538"/>
              <a:gd name="connsiteX5" fmla="*/ 2228378 w 8785322"/>
              <a:gd name="connsiteY5" fmla="*/ 2233607 h 4681538"/>
              <a:gd name="connsiteX6" fmla="*/ 2298047 w 8785322"/>
              <a:gd name="connsiteY6" fmla="*/ 2404588 h 4681538"/>
              <a:gd name="connsiteX7" fmla="*/ 2158300 w 8785322"/>
              <a:gd name="connsiteY7" fmla="*/ 2404588 h 4681538"/>
              <a:gd name="connsiteX8" fmla="*/ 5788443 w 8785322"/>
              <a:gd name="connsiteY8" fmla="*/ 2095367 h 4681538"/>
              <a:gd name="connsiteX9" fmla="*/ 5788443 w 8785322"/>
              <a:gd name="connsiteY9" fmla="*/ 2595780 h 4681538"/>
              <a:gd name="connsiteX10" fmla="*/ 6155228 w 8785322"/>
              <a:gd name="connsiteY10" fmla="*/ 2595780 h 4681538"/>
              <a:gd name="connsiteX11" fmla="*/ 6155228 w 8785322"/>
              <a:gd name="connsiteY11" fmla="*/ 2485026 h 4681538"/>
              <a:gd name="connsiteX12" fmla="*/ 5921223 w 8785322"/>
              <a:gd name="connsiteY12" fmla="*/ 2485026 h 4681538"/>
              <a:gd name="connsiteX13" fmla="*/ 5921223 w 8785322"/>
              <a:gd name="connsiteY13" fmla="*/ 2095367 h 4681538"/>
              <a:gd name="connsiteX14" fmla="*/ 5363874 w 8785322"/>
              <a:gd name="connsiteY14" fmla="*/ 2095367 h 4681538"/>
              <a:gd name="connsiteX15" fmla="*/ 5363874 w 8785322"/>
              <a:gd name="connsiteY15" fmla="*/ 2595780 h 4681538"/>
              <a:gd name="connsiteX16" fmla="*/ 5731069 w 8785322"/>
              <a:gd name="connsiteY16" fmla="*/ 2595780 h 4681538"/>
              <a:gd name="connsiteX17" fmla="*/ 5731069 w 8785322"/>
              <a:gd name="connsiteY17" fmla="*/ 2485026 h 4681538"/>
              <a:gd name="connsiteX18" fmla="*/ 5497064 w 8785322"/>
              <a:gd name="connsiteY18" fmla="*/ 2485026 h 4681538"/>
              <a:gd name="connsiteX19" fmla="*/ 5497064 w 8785322"/>
              <a:gd name="connsiteY19" fmla="*/ 2095367 h 4681538"/>
              <a:gd name="connsiteX20" fmla="*/ 4979058 w 8785322"/>
              <a:gd name="connsiteY20" fmla="*/ 2095367 h 4681538"/>
              <a:gd name="connsiteX21" fmla="*/ 4767593 w 8785322"/>
              <a:gd name="connsiteY21" fmla="*/ 2595780 h 4681538"/>
              <a:gd name="connsiteX22" fmla="*/ 4896275 w 8785322"/>
              <a:gd name="connsiteY22" fmla="*/ 2595780 h 4681538"/>
              <a:gd name="connsiteX23" fmla="*/ 4932748 w 8785322"/>
              <a:gd name="connsiteY23" fmla="*/ 2506449 h 4681538"/>
              <a:gd name="connsiteX24" fmla="*/ 5156098 w 8785322"/>
              <a:gd name="connsiteY24" fmla="*/ 2506449 h 4681538"/>
              <a:gd name="connsiteX25" fmla="*/ 5192571 w 8785322"/>
              <a:gd name="connsiteY25" fmla="*/ 2595780 h 4681538"/>
              <a:gd name="connsiteX26" fmla="*/ 5321254 w 8785322"/>
              <a:gd name="connsiteY26" fmla="*/ 2595780 h 4681538"/>
              <a:gd name="connsiteX27" fmla="*/ 5109789 w 8785322"/>
              <a:gd name="connsiteY27" fmla="*/ 2095367 h 4681538"/>
              <a:gd name="connsiteX28" fmla="*/ 5108149 w 8785322"/>
              <a:gd name="connsiteY28" fmla="*/ 2095367 h 4681538"/>
              <a:gd name="connsiteX29" fmla="*/ 5107739 w 8785322"/>
              <a:gd name="connsiteY29" fmla="*/ 2095367 h 4681538"/>
              <a:gd name="connsiteX30" fmla="*/ 4424578 w 8785322"/>
              <a:gd name="connsiteY30" fmla="*/ 2095367 h 4681538"/>
              <a:gd name="connsiteX31" fmla="*/ 4424578 w 8785322"/>
              <a:gd name="connsiteY31" fmla="*/ 2595780 h 4681538"/>
              <a:gd name="connsiteX32" fmla="*/ 4557358 w 8785322"/>
              <a:gd name="connsiteY32" fmla="*/ 2595780 h 4681538"/>
              <a:gd name="connsiteX33" fmla="*/ 4557358 w 8785322"/>
              <a:gd name="connsiteY33" fmla="*/ 2393270 h 4681538"/>
              <a:gd name="connsiteX34" fmla="*/ 4772101 w 8785322"/>
              <a:gd name="connsiteY34" fmla="*/ 2393270 h 4681538"/>
              <a:gd name="connsiteX35" fmla="*/ 4772101 w 8785322"/>
              <a:gd name="connsiteY35" fmla="*/ 2286154 h 4681538"/>
              <a:gd name="connsiteX36" fmla="*/ 4557358 w 8785322"/>
              <a:gd name="connsiteY36" fmla="*/ 2286154 h 4681538"/>
              <a:gd name="connsiteX37" fmla="*/ 4557358 w 8785322"/>
              <a:gd name="connsiteY37" fmla="*/ 2202483 h 4681538"/>
              <a:gd name="connsiteX38" fmla="*/ 4811854 w 8785322"/>
              <a:gd name="connsiteY38" fmla="*/ 2202483 h 4681538"/>
              <a:gd name="connsiteX39" fmla="*/ 4811854 w 8785322"/>
              <a:gd name="connsiteY39" fmla="*/ 2095367 h 4681538"/>
              <a:gd name="connsiteX40" fmla="*/ 3843460 w 8785322"/>
              <a:gd name="connsiteY40" fmla="*/ 2095367 h 4681538"/>
              <a:gd name="connsiteX41" fmla="*/ 3843460 w 8785322"/>
              <a:gd name="connsiteY41" fmla="*/ 2595780 h 4681538"/>
              <a:gd name="connsiteX42" fmla="*/ 3970503 w 8785322"/>
              <a:gd name="connsiteY42" fmla="*/ 2595780 h 4681538"/>
              <a:gd name="connsiteX43" fmla="*/ 3970503 w 8785322"/>
              <a:gd name="connsiteY43" fmla="*/ 2299898 h 4681538"/>
              <a:gd name="connsiteX44" fmla="*/ 4196721 w 8785322"/>
              <a:gd name="connsiteY44" fmla="*/ 2595780 h 4681538"/>
              <a:gd name="connsiteX45" fmla="*/ 4323354 w 8785322"/>
              <a:gd name="connsiteY45" fmla="*/ 2595780 h 4681538"/>
              <a:gd name="connsiteX46" fmla="*/ 4323354 w 8785322"/>
              <a:gd name="connsiteY46" fmla="*/ 2095367 h 4681538"/>
              <a:gd name="connsiteX47" fmla="*/ 4196721 w 8785322"/>
              <a:gd name="connsiteY47" fmla="*/ 2095367 h 4681538"/>
              <a:gd name="connsiteX48" fmla="*/ 4196721 w 8785322"/>
              <a:gd name="connsiteY48" fmla="*/ 2394887 h 4681538"/>
              <a:gd name="connsiteX49" fmla="*/ 3970503 w 8785322"/>
              <a:gd name="connsiteY49" fmla="*/ 2095367 h 4681538"/>
              <a:gd name="connsiteX50" fmla="*/ 3376270 w 8785322"/>
              <a:gd name="connsiteY50" fmla="*/ 2095367 h 4681538"/>
              <a:gd name="connsiteX51" fmla="*/ 3376270 w 8785322"/>
              <a:gd name="connsiteY51" fmla="*/ 2595780 h 4681538"/>
              <a:gd name="connsiteX52" fmla="*/ 3509050 w 8785322"/>
              <a:gd name="connsiteY52" fmla="*/ 2595780 h 4681538"/>
              <a:gd name="connsiteX53" fmla="*/ 3751661 w 8785322"/>
              <a:gd name="connsiteY53" fmla="*/ 2595780 h 4681538"/>
              <a:gd name="connsiteX54" fmla="*/ 3751661 w 8785322"/>
              <a:gd name="connsiteY54" fmla="*/ 2488664 h 4681538"/>
              <a:gd name="connsiteX55" fmla="*/ 3509050 w 8785322"/>
              <a:gd name="connsiteY55" fmla="*/ 2488664 h 4681538"/>
              <a:gd name="connsiteX56" fmla="*/ 3509050 w 8785322"/>
              <a:gd name="connsiteY56" fmla="*/ 2390037 h 4681538"/>
              <a:gd name="connsiteX57" fmla="*/ 3714777 w 8785322"/>
              <a:gd name="connsiteY57" fmla="*/ 2390037 h 4681538"/>
              <a:gd name="connsiteX58" fmla="*/ 3714777 w 8785322"/>
              <a:gd name="connsiteY58" fmla="*/ 2282921 h 4681538"/>
              <a:gd name="connsiteX59" fmla="*/ 3509050 w 8785322"/>
              <a:gd name="connsiteY59" fmla="*/ 2282921 h 4681538"/>
              <a:gd name="connsiteX60" fmla="*/ 3509050 w 8785322"/>
              <a:gd name="connsiteY60" fmla="*/ 2202483 h 4681538"/>
              <a:gd name="connsiteX61" fmla="*/ 3751661 w 8785322"/>
              <a:gd name="connsiteY61" fmla="*/ 2202483 h 4681538"/>
              <a:gd name="connsiteX62" fmla="*/ 3751661 w 8785322"/>
              <a:gd name="connsiteY62" fmla="*/ 2095367 h 4681538"/>
              <a:gd name="connsiteX63" fmla="*/ 2898835 w 8785322"/>
              <a:gd name="connsiteY63" fmla="*/ 2095367 h 4681538"/>
              <a:gd name="connsiteX64" fmla="*/ 2898835 w 8785322"/>
              <a:gd name="connsiteY64" fmla="*/ 2202483 h 4681538"/>
              <a:gd name="connsiteX65" fmla="*/ 3032025 w 8785322"/>
              <a:gd name="connsiteY65" fmla="*/ 2202483 h 4681538"/>
              <a:gd name="connsiteX66" fmla="*/ 3032025 w 8785322"/>
              <a:gd name="connsiteY66" fmla="*/ 2595780 h 4681538"/>
              <a:gd name="connsiteX67" fmla="*/ 3164805 w 8785322"/>
              <a:gd name="connsiteY67" fmla="*/ 2595780 h 4681538"/>
              <a:gd name="connsiteX68" fmla="*/ 3164805 w 8785322"/>
              <a:gd name="connsiteY68" fmla="*/ 2202483 h 4681538"/>
              <a:gd name="connsiteX69" fmla="*/ 3311929 w 8785322"/>
              <a:gd name="connsiteY69" fmla="*/ 2202483 h 4681538"/>
              <a:gd name="connsiteX70" fmla="*/ 3311929 w 8785322"/>
              <a:gd name="connsiteY70" fmla="*/ 2095367 h 4681538"/>
              <a:gd name="connsiteX71" fmla="*/ 2439842 w 8785322"/>
              <a:gd name="connsiteY71" fmla="*/ 2095367 h 4681538"/>
              <a:gd name="connsiteX72" fmla="*/ 2439842 w 8785322"/>
              <a:gd name="connsiteY72" fmla="*/ 2202483 h 4681538"/>
              <a:gd name="connsiteX73" fmla="*/ 2586966 w 8785322"/>
              <a:gd name="connsiteY73" fmla="*/ 2202483 h 4681538"/>
              <a:gd name="connsiteX74" fmla="*/ 2586966 w 8785322"/>
              <a:gd name="connsiteY74" fmla="*/ 2595780 h 4681538"/>
              <a:gd name="connsiteX75" fmla="*/ 2719746 w 8785322"/>
              <a:gd name="connsiteY75" fmla="*/ 2595780 h 4681538"/>
              <a:gd name="connsiteX76" fmla="*/ 2719746 w 8785322"/>
              <a:gd name="connsiteY76" fmla="*/ 2202483 h 4681538"/>
              <a:gd name="connsiteX77" fmla="*/ 2852526 w 8785322"/>
              <a:gd name="connsiteY77" fmla="*/ 2202483 h 4681538"/>
              <a:gd name="connsiteX78" fmla="*/ 2852526 w 8785322"/>
              <a:gd name="connsiteY78" fmla="*/ 2095367 h 4681538"/>
              <a:gd name="connsiteX79" fmla="*/ 2162808 w 8785322"/>
              <a:gd name="connsiteY79" fmla="*/ 2095367 h 4681538"/>
              <a:gd name="connsiteX80" fmla="*/ 1951343 w 8785322"/>
              <a:gd name="connsiteY80" fmla="*/ 2595780 h 4681538"/>
              <a:gd name="connsiteX81" fmla="*/ 2080025 w 8785322"/>
              <a:gd name="connsiteY81" fmla="*/ 2595780 h 4681538"/>
              <a:gd name="connsiteX82" fmla="*/ 2116498 w 8785322"/>
              <a:gd name="connsiteY82" fmla="*/ 2506449 h 4681538"/>
              <a:gd name="connsiteX83" fmla="*/ 2339848 w 8785322"/>
              <a:gd name="connsiteY83" fmla="*/ 2506449 h 4681538"/>
              <a:gd name="connsiteX84" fmla="*/ 2376321 w 8785322"/>
              <a:gd name="connsiteY84" fmla="*/ 2595780 h 4681538"/>
              <a:gd name="connsiteX85" fmla="*/ 2505003 w 8785322"/>
              <a:gd name="connsiteY85" fmla="*/ 2595780 h 4681538"/>
              <a:gd name="connsiteX86" fmla="*/ 2293539 w 8785322"/>
              <a:gd name="connsiteY86" fmla="*/ 2095367 h 4681538"/>
              <a:gd name="connsiteX87" fmla="*/ 2291900 w 8785322"/>
              <a:gd name="connsiteY87" fmla="*/ 2095367 h 4681538"/>
              <a:gd name="connsiteX88" fmla="*/ 2291490 w 8785322"/>
              <a:gd name="connsiteY88" fmla="*/ 2095367 h 4681538"/>
              <a:gd name="connsiteX89" fmla="*/ 1489891 w 8785322"/>
              <a:gd name="connsiteY89" fmla="*/ 2095367 h 4681538"/>
              <a:gd name="connsiteX90" fmla="*/ 1698077 w 8785322"/>
              <a:gd name="connsiteY90" fmla="*/ 2595780 h 4681538"/>
              <a:gd name="connsiteX91" fmla="*/ 1829218 w 8785322"/>
              <a:gd name="connsiteY91" fmla="*/ 2595780 h 4681538"/>
              <a:gd name="connsiteX92" fmla="*/ 2037404 w 8785322"/>
              <a:gd name="connsiteY92" fmla="*/ 2095367 h 4681538"/>
              <a:gd name="connsiteX93" fmla="*/ 1908722 w 8785322"/>
              <a:gd name="connsiteY93" fmla="*/ 2095367 h 4681538"/>
              <a:gd name="connsiteX94" fmla="*/ 1764057 w 8785322"/>
              <a:gd name="connsiteY94" fmla="*/ 2447434 h 4681538"/>
              <a:gd name="connsiteX95" fmla="*/ 1763238 w 8785322"/>
              <a:gd name="connsiteY95" fmla="*/ 2447434 h 4681538"/>
              <a:gd name="connsiteX96" fmla="*/ 1618573 w 8785322"/>
              <a:gd name="connsiteY96" fmla="*/ 2095367 h 4681538"/>
              <a:gd name="connsiteX97" fmla="*/ 6873098 w 8785322"/>
              <a:gd name="connsiteY97" fmla="*/ 1893888 h 4681538"/>
              <a:gd name="connsiteX98" fmla="*/ 6783215 w 8785322"/>
              <a:gd name="connsiteY98" fmla="*/ 1899451 h 4681538"/>
              <a:gd name="connsiteX99" fmla="*/ 6414580 w 8785322"/>
              <a:gd name="connsiteY99" fmla="*/ 2403598 h 4681538"/>
              <a:gd name="connsiteX100" fmla="*/ 6923755 w 8785322"/>
              <a:gd name="connsiteY100" fmla="*/ 2765256 h 4681538"/>
              <a:gd name="connsiteX101" fmla="*/ 7292391 w 8785322"/>
              <a:gd name="connsiteY101" fmla="*/ 2261109 h 4681538"/>
              <a:gd name="connsiteX102" fmla="*/ 6873098 w 8785322"/>
              <a:gd name="connsiteY102" fmla="*/ 1893888 h 4681538"/>
              <a:gd name="connsiteX103" fmla="*/ 0 w 8785322"/>
              <a:gd name="connsiteY103" fmla="*/ 0 h 4681538"/>
              <a:gd name="connsiteX104" fmla="*/ 8785322 w 8785322"/>
              <a:gd name="connsiteY104" fmla="*/ 0 h 4681538"/>
              <a:gd name="connsiteX105" fmla="*/ 8785322 w 8785322"/>
              <a:gd name="connsiteY105" fmla="*/ 4681538 h 4681538"/>
              <a:gd name="connsiteX106" fmla="*/ 0 w 8785322"/>
              <a:gd name="connsiteY106" fmla="*/ 4681538 h 468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785322" h="4681538">
                <a:moveTo>
                  <a:pt x="5043808" y="2233607"/>
                </a:moveTo>
                <a:lnTo>
                  <a:pt x="5044628" y="2233607"/>
                </a:lnTo>
                <a:lnTo>
                  <a:pt x="5114297" y="2404588"/>
                </a:lnTo>
                <a:lnTo>
                  <a:pt x="4974550" y="2404588"/>
                </a:lnTo>
                <a:close/>
                <a:moveTo>
                  <a:pt x="2227558" y="2233607"/>
                </a:moveTo>
                <a:lnTo>
                  <a:pt x="2228378" y="2233607"/>
                </a:lnTo>
                <a:lnTo>
                  <a:pt x="2298047" y="2404588"/>
                </a:lnTo>
                <a:lnTo>
                  <a:pt x="2158300" y="2404588"/>
                </a:lnTo>
                <a:close/>
                <a:moveTo>
                  <a:pt x="5788443" y="2095367"/>
                </a:moveTo>
                <a:lnTo>
                  <a:pt x="5788443" y="2595780"/>
                </a:lnTo>
                <a:lnTo>
                  <a:pt x="6155228" y="2595780"/>
                </a:lnTo>
                <a:lnTo>
                  <a:pt x="6155228" y="2485026"/>
                </a:lnTo>
                <a:lnTo>
                  <a:pt x="5921223" y="2485026"/>
                </a:lnTo>
                <a:lnTo>
                  <a:pt x="5921223" y="2095367"/>
                </a:lnTo>
                <a:close/>
                <a:moveTo>
                  <a:pt x="5363874" y="2095367"/>
                </a:moveTo>
                <a:lnTo>
                  <a:pt x="5363874" y="2595780"/>
                </a:lnTo>
                <a:lnTo>
                  <a:pt x="5731069" y="2595780"/>
                </a:lnTo>
                <a:lnTo>
                  <a:pt x="5731069" y="2485026"/>
                </a:lnTo>
                <a:lnTo>
                  <a:pt x="5497064" y="2485026"/>
                </a:lnTo>
                <a:lnTo>
                  <a:pt x="5497064" y="2095367"/>
                </a:lnTo>
                <a:close/>
                <a:moveTo>
                  <a:pt x="4979058" y="2095367"/>
                </a:moveTo>
                <a:lnTo>
                  <a:pt x="4767593" y="2595780"/>
                </a:lnTo>
                <a:lnTo>
                  <a:pt x="4896275" y="2595780"/>
                </a:lnTo>
                <a:lnTo>
                  <a:pt x="4932748" y="2506449"/>
                </a:lnTo>
                <a:lnTo>
                  <a:pt x="5156098" y="2506449"/>
                </a:lnTo>
                <a:lnTo>
                  <a:pt x="5192571" y="2595780"/>
                </a:lnTo>
                <a:lnTo>
                  <a:pt x="5321254" y="2595780"/>
                </a:lnTo>
                <a:lnTo>
                  <a:pt x="5109789" y="2095367"/>
                </a:lnTo>
                <a:lnTo>
                  <a:pt x="5108149" y="2095367"/>
                </a:lnTo>
                <a:lnTo>
                  <a:pt x="5107739" y="2095367"/>
                </a:lnTo>
                <a:close/>
                <a:moveTo>
                  <a:pt x="4424578" y="2095367"/>
                </a:moveTo>
                <a:lnTo>
                  <a:pt x="4424578" y="2595780"/>
                </a:lnTo>
                <a:lnTo>
                  <a:pt x="4557358" y="2595780"/>
                </a:lnTo>
                <a:lnTo>
                  <a:pt x="4557358" y="2393270"/>
                </a:lnTo>
                <a:lnTo>
                  <a:pt x="4772101" y="2393270"/>
                </a:lnTo>
                <a:lnTo>
                  <a:pt x="4772101" y="2286154"/>
                </a:lnTo>
                <a:lnTo>
                  <a:pt x="4557358" y="2286154"/>
                </a:lnTo>
                <a:lnTo>
                  <a:pt x="4557358" y="2202483"/>
                </a:lnTo>
                <a:lnTo>
                  <a:pt x="4811854" y="2202483"/>
                </a:lnTo>
                <a:lnTo>
                  <a:pt x="4811854" y="2095367"/>
                </a:lnTo>
                <a:close/>
                <a:moveTo>
                  <a:pt x="3843460" y="2095367"/>
                </a:moveTo>
                <a:lnTo>
                  <a:pt x="3843460" y="2595780"/>
                </a:lnTo>
                <a:lnTo>
                  <a:pt x="3970503" y="2595780"/>
                </a:lnTo>
                <a:lnTo>
                  <a:pt x="3970503" y="2299898"/>
                </a:lnTo>
                <a:lnTo>
                  <a:pt x="4196721" y="2595780"/>
                </a:lnTo>
                <a:lnTo>
                  <a:pt x="4323354" y="2595780"/>
                </a:lnTo>
                <a:lnTo>
                  <a:pt x="4323354" y="2095367"/>
                </a:lnTo>
                <a:lnTo>
                  <a:pt x="4196721" y="2095367"/>
                </a:lnTo>
                <a:lnTo>
                  <a:pt x="4196721" y="2394887"/>
                </a:lnTo>
                <a:lnTo>
                  <a:pt x="3970503" y="2095367"/>
                </a:lnTo>
                <a:close/>
                <a:moveTo>
                  <a:pt x="3376270" y="2095367"/>
                </a:moveTo>
                <a:lnTo>
                  <a:pt x="3376270" y="2595780"/>
                </a:lnTo>
                <a:lnTo>
                  <a:pt x="3509050" y="2595780"/>
                </a:lnTo>
                <a:lnTo>
                  <a:pt x="3751661" y="2595780"/>
                </a:lnTo>
                <a:lnTo>
                  <a:pt x="3751661" y="2488664"/>
                </a:lnTo>
                <a:lnTo>
                  <a:pt x="3509050" y="2488664"/>
                </a:lnTo>
                <a:lnTo>
                  <a:pt x="3509050" y="2390037"/>
                </a:lnTo>
                <a:lnTo>
                  <a:pt x="3714777" y="2390037"/>
                </a:lnTo>
                <a:lnTo>
                  <a:pt x="3714777" y="2282921"/>
                </a:lnTo>
                <a:lnTo>
                  <a:pt x="3509050" y="2282921"/>
                </a:lnTo>
                <a:lnTo>
                  <a:pt x="3509050" y="2202483"/>
                </a:lnTo>
                <a:lnTo>
                  <a:pt x="3751661" y="2202483"/>
                </a:lnTo>
                <a:lnTo>
                  <a:pt x="3751661" y="2095367"/>
                </a:lnTo>
                <a:close/>
                <a:moveTo>
                  <a:pt x="2898835" y="2095367"/>
                </a:moveTo>
                <a:lnTo>
                  <a:pt x="2898835" y="2202483"/>
                </a:lnTo>
                <a:lnTo>
                  <a:pt x="3032025" y="2202483"/>
                </a:lnTo>
                <a:lnTo>
                  <a:pt x="3032025" y="2595780"/>
                </a:lnTo>
                <a:lnTo>
                  <a:pt x="3164805" y="2595780"/>
                </a:lnTo>
                <a:lnTo>
                  <a:pt x="3164805" y="2202483"/>
                </a:lnTo>
                <a:lnTo>
                  <a:pt x="3311929" y="2202483"/>
                </a:lnTo>
                <a:lnTo>
                  <a:pt x="3311929" y="2095367"/>
                </a:lnTo>
                <a:close/>
                <a:moveTo>
                  <a:pt x="2439842" y="2095367"/>
                </a:moveTo>
                <a:lnTo>
                  <a:pt x="2439842" y="2202483"/>
                </a:lnTo>
                <a:lnTo>
                  <a:pt x="2586966" y="2202483"/>
                </a:lnTo>
                <a:lnTo>
                  <a:pt x="2586966" y="2595780"/>
                </a:lnTo>
                <a:lnTo>
                  <a:pt x="2719746" y="2595780"/>
                </a:lnTo>
                <a:lnTo>
                  <a:pt x="2719746" y="2202483"/>
                </a:lnTo>
                <a:lnTo>
                  <a:pt x="2852526" y="2202483"/>
                </a:lnTo>
                <a:lnTo>
                  <a:pt x="2852526" y="2095367"/>
                </a:lnTo>
                <a:close/>
                <a:moveTo>
                  <a:pt x="2162808" y="2095367"/>
                </a:moveTo>
                <a:lnTo>
                  <a:pt x="1951343" y="2595780"/>
                </a:lnTo>
                <a:lnTo>
                  <a:pt x="2080025" y="2595780"/>
                </a:lnTo>
                <a:lnTo>
                  <a:pt x="2116498" y="2506449"/>
                </a:lnTo>
                <a:lnTo>
                  <a:pt x="2339848" y="2506449"/>
                </a:lnTo>
                <a:lnTo>
                  <a:pt x="2376321" y="2595780"/>
                </a:lnTo>
                <a:lnTo>
                  <a:pt x="2505003" y="2595780"/>
                </a:lnTo>
                <a:lnTo>
                  <a:pt x="2293539" y="2095367"/>
                </a:lnTo>
                <a:lnTo>
                  <a:pt x="2291900" y="2095367"/>
                </a:lnTo>
                <a:lnTo>
                  <a:pt x="2291490" y="2095367"/>
                </a:lnTo>
                <a:close/>
                <a:moveTo>
                  <a:pt x="1489891" y="2095367"/>
                </a:moveTo>
                <a:lnTo>
                  <a:pt x="1698077" y="2595780"/>
                </a:lnTo>
                <a:lnTo>
                  <a:pt x="1829218" y="2595780"/>
                </a:lnTo>
                <a:lnTo>
                  <a:pt x="2037404" y="2095367"/>
                </a:lnTo>
                <a:lnTo>
                  <a:pt x="1908722" y="2095367"/>
                </a:lnTo>
                <a:lnTo>
                  <a:pt x="1764057" y="2447434"/>
                </a:lnTo>
                <a:lnTo>
                  <a:pt x="1763238" y="2447434"/>
                </a:lnTo>
                <a:lnTo>
                  <a:pt x="1618573" y="2095367"/>
                </a:lnTo>
                <a:close/>
                <a:moveTo>
                  <a:pt x="6873098" y="1893888"/>
                </a:moveTo>
                <a:cubicBezTo>
                  <a:pt x="6843590" y="1892759"/>
                  <a:pt x="6813515" y="1894533"/>
                  <a:pt x="6783215" y="1899451"/>
                </a:cubicBezTo>
                <a:cubicBezTo>
                  <a:pt x="6540815" y="1938798"/>
                  <a:pt x="6375771" y="2164513"/>
                  <a:pt x="6414580" y="2403598"/>
                </a:cubicBezTo>
                <a:cubicBezTo>
                  <a:pt x="6453389" y="2642683"/>
                  <a:pt x="6681355" y="2804603"/>
                  <a:pt x="6923755" y="2765256"/>
                </a:cubicBezTo>
                <a:cubicBezTo>
                  <a:pt x="7166156" y="2725909"/>
                  <a:pt x="7331200" y="2500194"/>
                  <a:pt x="7292391" y="2261109"/>
                </a:cubicBezTo>
                <a:cubicBezTo>
                  <a:pt x="7258433" y="2051909"/>
                  <a:pt x="7079652" y="1901790"/>
                  <a:pt x="6873098" y="1893888"/>
                </a:cubicBezTo>
                <a:close/>
                <a:moveTo>
                  <a:pt x="0" y="0"/>
                </a:moveTo>
                <a:lnTo>
                  <a:pt x="8785322" y="0"/>
                </a:lnTo>
                <a:lnTo>
                  <a:pt x="8785322" y="4681538"/>
                </a:lnTo>
                <a:lnTo>
                  <a:pt x="0" y="4681538"/>
                </a:lnTo>
                <a:close/>
              </a:path>
            </a:pathLst>
          </a:custGeom>
          <a:blipFill dpi="0" rotWithShape="1">
            <a:blip r:embed="rId2"/>
            <a:srcRect/>
            <a:tile tx="0" ty="0" sx="100000" sy="100000" flip="none" algn="tl"/>
          </a:blipFill>
        </p:spPr>
        <p:txBody>
          <a:bodyPr wrap="square">
            <a:noAutofit/>
          </a:bodyPr>
          <a:lstStyle>
            <a:lvl1pPr algn="ctr">
              <a:buNone/>
              <a:defRPr sz="1067">
                <a:solidFill>
                  <a:schemeClr val="bg1">
                    <a:lumMod val="75000"/>
                  </a:schemeClr>
                </a:solidFill>
              </a:defRPr>
            </a:lvl1pPr>
          </a:lstStyle>
          <a:p>
            <a:r>
              <a:rPr lang="en-GB" noProof="0"/>
              <a:t>Click on the icon to add an image</a:t>
            </a:r>
          </a:p>
        </p:txBody>
      </p:sp>
      <p:sp>
        <p:nvSpPr>
          <p:cNvPr id="2" name="Rektangel 1">
            <a:extLst>
              <a:ext uri="{FF2B5EF4-FFF2-40B4-BE49-F238E27FC236}">
                <a16:creationId xmlns:a16="http://schemas.microsoft.com/office/drawing/2014/main" id="{F803F8D0-F719-E241-8577-1EB6E3E95C67}"/>
              </a:ext>
            </a:extLst>
          </p:cNvPr>
          <p:cNvSpPr/>
          <p:nvPr/>
        </p:nvSpPr>
        <p:spPr>
          <a:xfrm>
            <a:off x="5266267" y="6489395"/>
            <a:ext cx="1591733" cy="3686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537D5908-CED2-8445-B2F0-C1C5EBD56666}"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p:txBody>
      </p:sp>
      <p:sp>
        <p:nvSpPr>
          <p:cNvPr id="44" name="Freeform 43" hidden="1">
            <a:extLst>
              <a:ext uri="{FF2B5EF4-FFF2-40B4-BE49-F238E27FC236}">
                <a16:creationId xmlns:a16="http://schemas.microsoft.com/office/drawing/2014/main" id="{E9FC0811-40D9-831F-DCE0-427627CDAC09}"/>
              </a:ext>
            </a:extLst>
          </p:cNvPr>
          <p:cNvSpPr/>
          <p:nvPr/>
        </p:nvSpPr>
        <p:spPr>
          <a:xfrm>
            <a:off x="2225706" y="2736416"/>
            <a:ext cx="7744207" cy="1170113"/>
          </a:xfrm>
          <a:custGeom>
            <a:avLst/>
            <a:gdLst>
              <a:gd name="connsiteX0" fmla="*/ 3553917 w 5808155"/>
              <a:gd name="connsiteY0" fmla="*/ 340046 h 877585"/>
              <a:gd name="connsiteX1" fmla="*/ 3484659 w 5808155"/>
              <a:gd name="connsiteY1" fmla="*/ 511027 h 877585"/>
              <a:gd name="connsiteX2" fmla="*/ 3624406 w 5808155"/>
              <a:gd name="connsiteY2" fmla="*/ 511027 h 877585"/>
              <a:gd name="connsiteX3" fmla="*/ 3554737 w 5808155"/>
              <a:gd name="connsiteY3" fmla="*/ 340046 h 877585"/>
              <a:gd name="connsiteX4" fmla="*/ 737667 w 5808155"/>
              <a:gd name="connsiteY4" fmla="*/ 340046 h 877585"/>
              <a:gd name="connsiteX5" fmla="*/ 668409 w 5808155"/>
              <a:gd name="connsiteY5" fmla="*/ 511027 h 877585"/>
              <a:gd name="connsiteX6" fmla="*/ 808156 w 5808155"/>
              <a:gd name="connsiteY6" fmla="*/ 511027 h 877585"/>
              <a:gd name="connsiteX7" fmla="*/ 738487 w 5808155"/>
              <a:gd name="connsiteY7" fmla="*/ 340046 h 877585"/>
              <a:gd name="connsiteX8" fmla="*/ 4298552 w 5808155"/>
              <a:gd name="connsiteY8" fmla="*/ 201806 h 877585"/>
              <a:gd name="connsiteX9" fmla="*/ 4431332 w 5808155"/>
              <a:gd name="connsiteY9" fmla="*/ 201806 h 877585"/>
              <a:gd name="connsiteX10" fmla="*/ 4431332 w 5808155"/>
              <a:gd name="connsiteY10" fmla="*/ 591465 h 877585"/>
              <a:gd name="connsiteX11" fmla="*/ 4665337 w 5808155"/>
              <a:gd name="connsiteY11" fmla="*/ 591465 h 877585"/>
              <a:gd name="connsiteX12" fmla="*/ 4665337 w 5808155"/>
              <a:gd name="connsiteY12" fmla="*/ 702219 h 877585"/>
              <a:gd name="connsiteX13" fmla="*/ 4298552 w 5808155"/>
              <a:gd name="connsiteY13" fmla="*/ 702219 h 877585"/>
              <a:gd name="connsiteX14" fmla="*/ 3873983 w 5808155"/>
              <a:gd name="connsiteY14" fmla="*/ 201806 h 877585"/>
              <a:gd name="connsiteX15" fmla="*/ 4007173 w 5808155"/>
              <a:gd name="connsiteY15" fmla="*/ 201806 h 877585"/>
              <a:gd name="connsiteX16" fmla="*/ 4007173 w 5808155"/>
              <a:gd name="connsiteY16" fmla="*/ 591465 h 877585"/>
              <a:gd name="connsiteX17" fmla="*/ 4241178 w 5808155"/>
              <a:gd name="connsiteY17" fmla="*/ 591465 h 877585"/>
              <a:gd name="connsiteX18" fmla="*/ 4241178 w 5808155"/>
              <a:gd name="connsiteY18" fmla="*/ 702219 h 877585"/>
              <a:gd name="connsiteX19" fmla="*/ 3873983 w 5808155"/>
              <a:gd name="connsiteY19" fmla="*/ 702219 h 877585"/>
              <a:gd name="connsiteX20" fmla="*/ 3489167 w 5808155"/>
              <a:gd name="connsiteY20" fmla="*/ 201806 h 877585"/>
              <a:gd name="connsiteX21" fmla="*/ 3617848 w 5808155"/>
              <a:gd name="connsiteY21" fmla="*/ 201806 h 877585"/>
              <a:gd name="connsiteX22" fmla="*/ 3618258 w 5808155"/>
              <a:gd name="connsiteY22" fmla="*/ 201806 h 877585"/>
              <a:gd name="connsiteX23" fmla="*/ 3619898 w 5808155"/>
              <a:gd name="connsiteY23" fmla="*/ 201806 h 877585"/>
              <a:gd name="connsiteX24" fmla="*/ 3831363 w 5808155"/>
              <a:gd name="connsiteY24" fmla="*/ 702219 h 877585"/>
              <a:gd name="connsiteX25" fmla="*/ 3702680 w 5808155"/>
              <a:gd name="connsiteY25" fmla="*/ 702219 h 877585"/>
              <a:gd name="connsiteX26" fmla="*/ 3666207 w 5808155"/>
              <a:gd name="connsiteY26" fmla="*/ 612888 h 877585"/>
              <a:gd name="connsiteX27" fmla="*/ 3442857 w 5808155"/>
              <a:gd name="connsiteY27" fmla="*/ 612888 h 877585"/>
              <a:gd name="connsiteX28" fmla="*/ 3406384 w 5808155"/>
              <a:gd name="connsiteY28" fmla="*/ 702219 h 877585"/>
              <a:gd name="connsiteX29" fmla="*/ 3277702 w 5808155"/>
              <a:gd name="connsiteY29" fmla="*/ 702219 h 877585"/>
              <a:gd name="connsiteX30" fmla="*/ 2934687 w 5808155"/>
              <a:gd name="connsiteY30" fmla="*/ 201806 h 877585"/>
              <a:gd name="connsiteX31" fmla="*/ 3321963 w 5808155"/>
              <a:gd name="connsiteY31" fmla="*/ 201806 h 877585"/>
              <a:gd name="connsiteX32" fmla="*/ 3321963 w 5808155"/>
              <a:gd name="connsiteY32" fmla="*/ 308922 h 877585"/>
              <a:gd name="connsiteX33" fmla="*/ 3067467 w 5808155"/>
              <a:gd name="connsiteY33" fmla="*/ 308922 h 877585"/>
              <a:gd name="connsiteX34" fmla="*/ 3067467 w 5808155"/>
              <a:gd name="connsiteY34" fmla="*/ 392593 h 877585"/>
              <a:gd name="connsiteX35" fmla="*/ 3282210 w 5808155"/>
              <a:gd name="connsiteY35" fmla="*/ 392593 h 877585"/>
              <a:gd name="connsiteX36" fmla="*/ 3282210 w 5808155"/>
              <a:gd name="connsiteY36" fmla="*/ 499709 h 877585"/>
              <a:gd name="connsiteX37" fmla="*/ 3067467 w 5808155"/>
              <a:gd name="connsiteY37" fmla="*/ 499709 h 877585"/>
              <a:gd name="connsiteX38" fmla="*/ 3067467 w 5808155"/>
              <a:gd name="connsiteY38" fmla="*/ 702219 h 877585"/>
              <a:gd name="connsiteX39" fmla="*/ 2934687 w 5808155"/>
              <a:gd name="connsiteY39" fmla="*/ 702219 h 877585"/>
              <a:gd name="connsiteX40" fmla="*/ 2353569 w 5808155"/>
              <a:gd name="connsiteY40" fmla="*/ 201806 h 877585"/>
              <a:gd name="connsiteX41" fmla="*/ 2480612 w 5808155"/>
              <a:gd name="connsiteY41" fmla="*/ 201806 h 877585"/>
              <a:gd name="connsiteX42" fmla="*/ 2706830 w 5808155"/>
              <a:gd name="connsiteY42" fmla="*/ 501326 h 877585"/>
              <a:gd name="connsiteX43" fmla="*/ 2706830 w 5808155"/>
              <a:gd name="connsiteY43" fmla="*/ 201806 h 877585"/>
              <a:gd name="connsiteX44" fmla="*/ 2833463 w 5808155"/>
              <a:gd name="connsiteY44" fmla="*/ 201806 h 877585"/>
              <a:gd name="connsiteX45" fmla="*/ 2833463 w 5808155"/>
              <a:gd name="connsiteY45" fmla="*/ 702219 h 877585"/>
              <a:gd name="connsiteX46" fmla="*/ 2706830 w 5808155"/>
              <a:gd name="connsiteY46" fmla="*/ 702219 h 877585"/>
              <a:gd name="connsiteX47" fmla="*/ 2480612 w 5808155"/>
              <a:gd name="connsiteY47" fmla="*/ 406337 h 877585"/>
              <a:gd name="connsiteX48" fmla="*/ 2480612 w 5808155"/>
              <a:gd name="connsiteY48" fmla="*/ 702219 h 877585"/>
              <a:gd name="connsiteX49" fmla="*/ 2353569 w 5808155"/>
              <a:gd name="connsiteY49" fmla="*/ 702219 h 877585"/>
              <a:gd name="connsiteX50" fmla="*/ 1886379 w 5808155"/>
              <a:gd name="connsiteY50" fmla="*/ 201806 h 877585"/>
              <a:gd name="connsiteX51" fmla="*/ 2261770 w 5808155"/>
              <a:gd name="connsiteY51" fmla="*/ 201806 h 877585"/>
              <a:gd name="connsiteX52" fmla="*/ 2261770 w 5808155"/>
              <a:gd name="connsiteY52" fmla="*/ 308922 h 877585"/>
              <a:gd name="connsiteX53" fmla="*/ 2019159 w 5808155"/>
              <a:gd name="connsiteY53" fmla="*/ 308922 h 877585"/>
              <a:gd name="connsiteX54" fmla="*/ 2019159 w 5808155"/>
              <a:gd name="connsiteY54" fmla="*/ 389360 h 877585"/>
              <a:gd name="connsiteX55" fmla="*/ 2224886 w 5808155"/>
              <a:gd name="connsiteY55" fmla="*/ 389360 h 877585"/>
              <a:gd name="connsiteX56" fmla="*/ 2224886 w 5808155"/>
              <a:gd name="connsiteY56" fmla="*/ 496476 h 877585"/>
              <a:gd name="connsiteX57" fmla="*/ 2019159 w 5808155"/>
              <a:gd name="connsiteY57" fmla="*/ 496476 h 877585"/>
              <a:gd name="connsiteX58" fmla="*/ 2019159 w 5808155"/>
              <a:gd name="connsiteY58" fmla="*/ 595103 h 877585"/>
              <a:gd name="connsiteX59" fmla="*/ 2261770 w 5808155"/>
              <a:gd name="connsiteY59" fmla="*/ 595103 h 877585"/>
              <a:gd name="connsiteX60" fmla="*/ 2261770 w 5808155"/>
              <a:gd name="connsiteY60" fmla="*/ 702219 h 877585"/>
              <a:gd name="connsiteX61" fmla="*/ 2019159 w 5808155"/>
              <a:gd name="connsiteY61" fmla="*/ 702219 h 877585"/>
              <a:gd name="connsiteX62" fmla="*/ 1886379 w 5808155"/>
              <a:gd name="connsiteY62" fmla="*/ 702219 h 877585"/>
              <a:gd name="connsiteX63" fmla="*/ 1408944 w 5808155"/>
              <a:gd name="connsiteY63" fmla="*/ 201806 h 877585"/>
              <a:gd name="connsiteX64" fmla="*/ 1822038 w 5808155"/>
              <a:gd name="connsiteY64" fmla="*/ 201806 h 877585"/>
              <a:gd name="connsiteX65" fmla="*/ 1822038 w 5808155"/>
              <a:gd name="connsiteY65" fmla="*/ 308922 h 877585"/>
              <a:gd name="connsiteX66" fmla="*/ 1674914 w 5808155"/>
              <a:gd name="connsiteY66" fmla="*/ 308922 h 877585"/>
              <a:gd name="connsiteX67" fmla="*/ 1674914 w 5808155"/>
              <a:gd name="connsiteY67" fmla="*/ 702219 h 877585"/>
              <a:gd name="connsiteX68" fmla="*/ 1542134 w 5808155"/>
              <a:gd name="connsiteY68" fmla="*/ 702219 h 877585"/>
              <a:gd name="connsiteX69" fmla="*/ 1542134 w 5808155"/>
              <a:gd name="connsiteY69" fmla="*/ 308922 h 877585"/>
              <a:gd name="connsiteX70" fmla="*/ 1408944 w 5808155"/>
              <a:gd name="connsiteY70" fmla="*/ 308922 h 877585"/>
              <a:gd name="connsiteX71" fmla="*/ 949951 w 5808155"/>
              <a:gd name="connsiteY71" fmla="*/ 201806 h 877585"/>
              <a:gd name="connsiteX72" fmla="*/ 1362635 w 5808155"/>
              <a:gd name="connsiteY72" fmla="*/ 201806 h 877585"/>
              <a:gd name="connsiteX73" fmla="*/ 1362635 w 5808155"/>
              <a:gd name="connsiteY73" fmla="*/ 308922 h 877585"/>
              <a:gd name="connsiteX74" fmla="*/ 1229855 w 5808155"/>
              <a:gd name="connsiteY74" fmla="*/ 308922 h 877585"/>
              <a:gd name="connsiteX75" fmla="*/ 1229855 w 5808155"/>
              <a:gd name="connsiteY75" fmla="*/ 702219 h 877585"/>
              <a:gd name="connsiteX76" fmla="*/ 1097075 w 5808155"/>
              <a:gd name="connsiteY76" fmla="*/ 702219 h 877585"/>
              <a:gd name="connsiteX77" fmla="*/ 1097075 w 5808155"/>
              <a:gd name="connsiteY77" fmla="*/ 308922 h 877585"/>
              <a:gd name="connsiteX78" fmla="*/ 949951 w 5808155"/>
              <a:gd name="connsiteY78" fmla="*/ 308922 h 877585"/>
              <a:gd name="connsiteX79" fmla="*/ 672917 w 5808155"/>
              <a:gd name="connsiteY79" fmla="*/ 201806 h 877585"/>
              <a:gd name="connsiteX80" fmla="*/ 801599 w 5808155"/>
              <a:gd name="connsiteY80" fmla="*/ 201806 h 877585"/>
              <a:gd name="connsiteX81" fmla="*/ 802009 w 5808155"/>
              <a:gd name="connsiteY81" fmla="*/ 201806 h 877585"/>
              <a:gd name="connsiteX82" fmla="*/ 803648 w 5808155"/>
              <a:gd name="connsiteY82" fmla="*/ 201806 h 877585"/>
              <a:gd name="connsiteX83" fmla="*/ 1015112 w 5808155"/>
              <a:gd name="connsiteY83" fmla="*/ 702219 h 877585"/>
              <a:gd name="connsiteX84" fmla="*/ 886430 w 5808155"/>
              <a:gd name="connsiteY84" fmla="*/ 702219 h 877585"/>
              <a:gd name="connsiteX85" fmla="*/ 849957 w 5808155"/>
              <a:gd name="connsiteY85" fmla="*/ 612888 h 877585"/>
              <a:gd name="connsiteX86" fmla="*/ 626607 w 5808155"/>
              <a:gd name="connsiteY86" fmla="*/ 612888 h 877585"/>
              <a:gd name="connsiteX87" fmla="*/ 590134 w 5808155"/>
              <a:gd name="connsiteY87" fmla="*/ 702219 h 877585"/>
              <a:gd name="connsiteX88" fmla="*/ 461452 w 5808155"/>
              <a:gd name="connsiteY88" fmla="*/ 702219 h 877585"/>
              <a:gd name="connsiteX89" fmla="*/ 0 w 5808155"/>
              <a:gd name="connsiteY89" fmla="*/ 201806 h 877585"/>
              <a:gd name="connsiteX90" fmla="*/ 128682 w 5808155"/>
              <a:gd name="connsiteY90" fmla="*/ 201806 h 877585"/>
              <a:gd name="connsiteX91" fmla="*/ 273347 w 5808155"/>
              <a:gd name="connsiteY91" fmla="*/ 553873 h 877585"/>
              <a:gd name="connsiteX92" fmla="*/ 274166 w 5808155"/>
              <a:gd name="connsiteY92" fmla="*/ 553873 h 877585"/>
              <a:gd name="connsiteX93" fmla="*/ 418831 w 5808155"/>
              <a:gd name="connsiteY93" fmla="*/ 201806 h 877585"/>
              <a:gd name="connsiteX94" fmla="*/ 547513 w 5808155"/>
              <a:gd name="connsiteY94" fmla="*/ 201806 h 877585"/>
              <a:gd name="connsiteX95" fmla="*/ 339327 w 5808155"/>
              <a:gd name="connsiteY95" fmla="*/ 702219 h 877585"/>
              <a:gd name="connsiteX96" fmla="*/ 208186 w 5808155"/>
              <a:gd name="connsiteY96" fmla="*/ 702219 h 877585"/>
              <a:gd name="connsiteX97" fmla="*/ 5383207 w 5808155"/>
              <a:gd name="connsiteY97" fmla="*/ 327 h 877585"/>
              <a:gd name="connsiteX98" fmla="*/ 5802500 w 5808155"/>
              <a:gd name="connsiteY98" fmla="*/ 367548 h 877585"/>
              <a:gd name="connsiteX99" fmla="*/ 5433864 w 5808155"/>
              <a:gd name="connsiteY99" fmla="*/ 871695 h 877585"/>
              <a:gd name="connsiteX100" fmla="*/ 4924689 w 5808155"/>
              <a:gd name="connsiteY100" fmla="*/ 510037 h 877585"/>
              <a:gd name="connsiteX101" fmla="*/ 5293324 w 5808155"/>
              <a:gd name="connsiteY101" fmla="*/ 5890 h 877585"/>
              <a:gd name="connsiteX102" fmla="*/ 5383207 w 5808155"/>
              <a:gd name="connsiteY102" fmla="*/ 327 h 87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08155" h="877585">
                <a:moveTo>
                  <a:pt x="3553917" y="340046"/>
                </a:moveTo>
                <a:lnTo>
                  <a:pt x="3484659" y="511027"/>
                </a:lnTo>
                <a:lnTo>
                  <a:pt x="3624406" y="511027"/>
                </a:lnTo>
                <a:lnTo>
                  <a:pt x="3554737" y="340046"/>
                </a:lnTo>
                <a:close/>
                <a:moveTo>
                  <a:pt x="737667" y="340046"/>
                </a:moveTo>
                <a:lnTo>
                  <a:pt x="668409" y="511027"/>
                </a:lnTo>
                <a:lnTo>
                  <a:pt x="808156" y="511027"/>
                </a:lnTo>
                <a:lnTo>
                  <a:pt x="738487" y="340046"/>
                </a:lnTo>
                <a:close/>
                <a:moveTo>
                  <a:pt x="4298552" y="201806"/>
                </a:moveTo>
                <a:lnTo>
                  <a:pt x="4431332" y="201806"/>
                </a:lnTo>
                <a:lnTo>
                  <a:pt x="4431332" y="591465"/>
                </a:lnTo>
                <a:lnTo>
                  <a:pt x="4665337" y="591465"/>
                </a:lnTo>
                <a:lnTo>
                  <a:pt x="4665337" y="702219"/>
                </a:lnTo>
                <a:lnTo>
                  <a:pt x="4298552" y="702219"/>
                </a:lnTo>
                <a:close/>
                <a:moveTo>
                  <a:pt x="3873983" y="201806"/>
                </a:moveTo>
                <a:lnTo>
                  <a:pt x="4007173" y="201806"/>
                </a:lnTo>
                <a:lnTo>
                  <a:pt x="4007173" y="591465"/>
                </a:lnTo>
                <a:lnTo>
                  <a:pt x="4241178" y="591465"/>
                </a:lnTo>
                <a:lnTo>
                  <a:pt x="4241178" y="702219"/>
                </a:lnTo>
                <a:lnTo>
                  <a:pt x="3873983" y="702219"/>
                </a:lnTo>
                <a:close/>
                <a:moveTo>
                  <a:pt x="3489167" y="201806"/>
                </a:moveTo>
                <a:lnTo>
                  <a:pt x="3617848" y="201806"/>
                </a:lnTo>
                <a:lnTo>
                  <a:pt x="3618258" y="201806"/>
                </a:lnTo>
                <a:lnTo>
                  <a:pt x="3619898" y="201806"/>
                </a:lnTo>
                <a:lnTo>
                  <a:pt x="3831363" y="702219"/>
                </a:lnTo>
                <a:lnTo>
                  <a:pt x="3702680" y="702219"/>
                </a:lnTo>
                <a:lnTo>
                  <a:pt x="3666207" y="612888"/>
                </a:lnTo>
                <a:lnTo>
                  <a:pt x="3442857" y="612888"/>
                </a:lnTo>
                <a:lnTo>
                  <a:pt x="3406384" y="702219"/>
                </a:lnTo>
                <a:lnTo>
                  <a:pt x="3277702" y="702219"/>
                </a:lnTo>
                <a:close/>
                <a:moveTo>
                  <a:pt x="2934687" y="201806"/>
                </a:moveTo>
                <a:lnTo>
                  <a:pt x="3321963" y="201806"/>
                </a:lnTo>
                <a:lnTo>
                  <a:pt x="3321963" y="308922"/>
                </a:lnTo>
                <a:lnTo>
                  <a:pt x="3067467" y="308922"/>
                </a:lnTo>
                <a:lnTo>
                  <a:pt x="3067467" y="392593"/>
                </a:lnTo>
                <a:lnTo>
                  <a:pt x="3282210" y="392593"/>
                </a:lnTo>
                <a:lnTo>
                  <a:pt x="3282210" y="499709"/>
                </a:lnTo>
                <a:lnTo>
                  <a:pt x="3067467" y="499709"/>
                </a:lnTo>
                <a:lnTo>
                  <a:pt x="3067467" y="702219"/>
                </a:lnTo>
                <a:lnTo>
                  <a:pt x="2934687" y="702219"/>
                </a:lnTo>
                <a:close/>
                <a:moveTo>
                  <a:pt x="2353569" y="201806"/>
                </a:moveTo>
                <a:lnTo>
                  <a:pt x="2480612" y="201806"/>
                </a:lnTo>
                <a:lnTo>
                  <a:pt x="2706830" y="501326"/>
                </a:lnTo>
                <a:lnTo>
                  <a:pt x="2706830" y="201806"/>
                </a:lnTo>
                <a:lnTo>
                  <a:pt x="2833463" y="201806"/>
                </a:lnTo>
                <a:lnTo>
                  <a:pt x="2833463" y="702219"/>
                </a:lnTo>
                <a:lnTo>
                  <a:pt x="2706830" y="702219"/>
                </a:lnTo>
                <a:lnTo>
                  <a:pt x="2480612" y="406337"/>
                </a:lnTo>
                <a:lnTo>
                  <a:pt x="2480612" y="702219"/>
                </a:lnTo>
                <a:lnTo>
                  <a:pt x="2353569" y="702219"/>
                </a:lnTo>
                <a:close/>
                <a:moveTo>
                  <a:pt x="1886379" y="201806"/>
                </a:moveTo>
                <a:lnTo>
                  <a:pt x="2261770" y="201806"/>
                </a:lnTo>
                <a:lnTo>
                  <a:pt x="2261770" y="308922"/>
                </a:lnTo>
                <a:lnTo>
                  <a:pt x="2019159" y="308922"/>
                </a:lnTo>
                <a:lnTo>
                  <a:pt x="2019159" y="389360"/>
                </a:lnTo>
                <a:lnTo>
                  <a:pt x="2224886" y="389360"/>
                </a:lnTo>
                <a:lnTo>
                  <a:pt x="2224886" y="496476"/>
                </a:lnTo>
                <a:lnTo>
                  <a:pt x="2019159" y="496476"/>
                </a:lnTo>
                <a:lnTo>
                  <a:pt x="2019159" y="595103"/>
                </a:lnTo>
                <a:lnTo>
                  <a:pt x="2261770" y="595103"/>
                </a:lnTo>
                <a:lnTo>
                  <a:pt x="2261770" y="702219"/>
                </a:lnTo>
                <a:lnTo>
                  <a:pt x="2019159" y="702219"/>
                </a:lnTo>
                <a:lnTo>
                  <a:pt x="1886379" y="702219"/>
                </a:lnTo>
                <a:close/>
                <a:moveTo>
                  <a:pt x="1408944" y="201806"/>
                </a:moveTo>
                <a:lnTo>
                  <a:pt x="1822038" y="201806"/>
                </a:lnTo>
                <a:lnTo>
                  <a:pt x="1822038" y="308922"/>
                </a:lnTo>
                <a:lnTo>
                  <a:pt x="1674914" y="308922"/>
                </a:lnTo>
                <a:lnTo>
                  <a:pt x="1674914" y="702219"/>
                </a:lnTo>
                <a:lnTo>
                  <a:pt x="1542134" y="702219"/>
                </a:lnTo>
                <a:lnTo>
                  <a:pt x="1542134" y="308922"/>
                </a:lnTo>
                <a:lnTo>
                  <a:pt x="1408944" y="308922"/>
                </a:lnTo>
                <a:close/>
                <a:moveTo>
                  <a:pt x="949951" y="201806"/>
                </a:moveTo>
                <a:lnTo>
                  <a:pt x="1362635" y="201806"/>
                </a:lnTo>
                <a:lnTo>
                  <a:pt x="1362635" y="308922"/>
                </a:lnTo>
                <a:lnTo>
                  <a:pt x="1229855" y="308922"/>
                </a:lnTo>
                <a:lnTo>
                  <a:pt x="1229855" y="702219"/>
                </a:lnTo>
                <a:lnTo>
                  <a:pt x="1097075" y="702219"/>
                </a:lnTo>
                <a:lnTo>
                  <a:pt x="1097075" y="308922"/>
                </a:lnTo>
                <a:lnTo>
                  <a:pt x="949951" y="308922"/>
                </a:lnTo>
                <a:close/>
                <a:moveTo>
                  <a:pt x="672917" y="201806"/>
                </a:moveTo>
                <a:lnTo>
                  <a:pt x="801599" y="201806"/>
                </a:lnTo>
                <a:lnTo>
                  <a:pt x="802009" y="201806"/>
                </a:lnTo>
                <a:lnTo>
                  <a:pt x="803648" y="201806"/>
                </a:lnTo>
                <a:lnTo>
                  <a:pt x="1015112" y="702219"/>
                </a:lnTo>
                <a:lnTo>
                  <a:pt x="886430" y="702219"/>
                </a:lnTo>
                <a:lnTo>
                  <a:pt x="849957" y="612888"/>
                </a:lnTo>
                <a:lnTo>
                  <a:pt x="626607" y="612888"/>
                </a:lnTo>
                <a:lnTo>
                  <a:pt x="590134" y="702219"/>
                </a:lnTo>
                <a:lnTo>
                  <a:pt x="461452" y="702219"/>
                </a:lnTo>
                <a:close/>
                <a:moveTo>
                  <a:pt x="0" y="201806"/>
                </a:moveTo>
                <a:lnTo>
                  <a:pt x="128682" y="201806"/>
                </a:lnTo>
                <a:lnTo>
                  <a:pt x="273347" y="553873"/>
                </a:lnTo>
                <a:lnTo>
                  <a:pt x="274166" y="553873"/>
                </a:lnTo>
                <a:lnTo>
                  <a:pt x="418831" y="201806"/>
                </a:lnTo>
                <a:lnTo>
                  <a:pt x="547513" y="201806"/>
                </a:lnTo>
                <a:lnTo>
                  <a:pt x="339327" y="702219"/>
                </a:lnTo>
                <a:lnTo>
                  <a:pt x="208186" y="702219"/>
                </a:lnTo>
                <a:close/>
                <a:moveTo>
                  <a:pt x="5383207" y="327"/>
                </a:moveTo>
                <a:cubicBezTo>
                  <a:pt x="5589761" y="8229"/>
                  <a:pt x="5768542" y="158348"/>
                  <a:pt x="5802500" y="367548"/>
                </a:cubicBezTo>
                <a:cubicBezTo>
                  <a:pt x="5841309" y="606633"/>
                  <a:pt x="5676265" y="832348"/>
                  <a:pt x="5433864" y="871695"/>
                </a:cubicBezTo>
                <a:cubicBezTo>
                  <a:pt x="5191464" y="911042"/>
                  <a:pt x="4963498" y="749122"/>
                  <a:pt x="4924689" y="510037"/>
                </a:cubicBezTo>
                <a:cubicBezTo>
                  <a:pt x="4885880" y="270952"/>
                  <a:pt x="5050924" y="45237"/>
                  <a:pt x="5293324" y="5890"/>
                </a:cubicBezTo>
                <a:cubicBezTo>
                  <a:pt x="5323624" y="972"/>
                  <a:pt x="5353699" y="-802"/>
                  <a:pt x="5383207" y="327"/>
                </a:cubicBezTo>
                <a:close/>
              </a:path>
            </a:pathLst>
          </a:custGeom>
          <a:solidFill>
            <a:srgbClr val="0C65AF"/>
          </a:solidFill>
          <a:ln w="0" cap="flat">
            <a:noFill/>
            <a:prstDash val="solid"/>
            <a:miter/>
          </a:ln>
        </p:spPr>
        <p:txBody>
          <a:bodyPr rtlCol="0" anchor="ctr"/>
          <a:lstStyle/>
          <a:p>
            <a:endParaRPr lang="en-GB" sz="2400"/>
          </a:p>
        </p:txBody>
      </p:sp>
      <p:sp>
        <p:nvSpPr>
          <p:cNvPr id="6" name="Title 2">
            <a:extLst>
              <a:ext uri="{FF2B5EF4-FFF2-40B4-BE49-F238E27FC236}">
                <a16:creationId xmlns:a16="http://schemas.microsoft.com/office/drawing/2014/main" id="{A23CE6CE-A2B8-0881-C502-785080745644}"/>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50517103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 Generic Video Star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F1CB8391-5425-1AB1-E826-C2E0E97813F9}"/>
              </a:ext>
            </a:extLst>
          </p:cNvPr>
          <p:cNvGrpSpPr/>
          <p:nvPr/>
        </p:nvGrpSpPr>
        <p:grpSpPr>
          <a:xfrm>
            <a:off x="8694498" y="2676333"/>
            <a:ext cx="1338503" cy="1313776"/>
            <a:chOff x="6520873" y="2007250"/>
            <a:chExt cx="1003877" cy="985332"/>
          </a:xfrm>
        </p:grpSpPr>
        <p:sp>
          <p:nvSpPr>
            <p:cNvPr id="4" name="Rektangel 3">
              <a:extLst>
                <a:ext uri="{FF2B5EF4-FFF2-40B4-BE49-F238E27FC236}">
                  <a16:creationId xmlns:a16="http://schemas.microsoft.com/office/drawing/2014/main" id="{29B8958B-10DA-F24F-A2EC-49711C241895}"/>
                </a:ext>
              </a:extLst>
            </p:cNvPr>
            <p:cNvSpPr/>
            <p:nvPr/>
          </p:nvSpPr>
          <p:spPr>
            <a:xfrm>
              <a:off x="6520873" y="2499519"/>
              <a:ext cx="1003877" cy="493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8" name="Rektangel 27">
              <a:extLst>
                <a:ext uri="{FF2B5EF4-FFF2-40B4-BE49-F238E27FC236}">
                  <a16:creationId xmlns:a16="http://schemas.microsoft.com/office/drawing/2014/main" id="{44B06D9C-224E-0C44-86A7-A872605E97D8}"/>
                </a:ext>
              </a:extLst>
            </p:cNvPr>
            <p:cNvSpPr/>
            <p:nvPr/>
          </p:nvSpPr>
          <p:spPr>
            <a:xfrm>
              <a:off x="6520873" y="2007250"/>
              <a:ext cx="1003877" cy="493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grpSp>
      <p:sp>
        <p:nvSpPr>
          <p:cNvPr id="52" name="Media Placeholder 51">
            <a:extLst>
              <a:ext uri="{FF2B5EF4-FFF2-40B4-BE49-F238E27FC236}">
                <a16:creationId xmlns:a16="http://schemas.microsoft.com/office/drawing/2014/main" id="{5708EE99-0B61-DABA-AC8E-F36C1A13352F}"/>
              </a:ext>
            </a:extLst>
          </p:cNvPr>
          <p:cNvSpPr>
            <a:spLocks noGrp="1"/>
          </p:cNvSpPr>
          <p:nvPr>
            <p:ph type="media" sz="quarter" idx="11" hasCustomPrompt="1"/>
          </p:nvPr>
        </p:nvSpPr>
        <p:spPr>
          <a:xfrm>
            <a:off x="-43935" y="-24714"/>
            <a:ext cx="12279869" cy="6907427"/>
          </a:xfrm>
          <a:custGeom>
            <a:avLst/>
            <a:gdLst>
              <a:gd name="connsiteX0" fmla="*/ 5256147 w 9209902"/>
              <a:gd name="connsiteY0" fmla="*/ 2410892 h 5180570"/>
              <a:gd name="connsiteX1" fmla="*/ 5256967 w 9209902"/>
              <a:gd name="connsiteY1" fmla="*/ 2410892 h 5180570"/>
              <a:gd name="connsiteX2" fmla="*/ 5326636 w 9209902"/>
              <a:gd name="connsiteY2" fmla="*/ 2581873 h 5180570"/>
              <a:gd name="connsiteX3" fmla="*/ 5186889 w 9209902"/>
              <a:gd name="connsiteY3" fmla="*/ 2581873 h 5180570"/>
              <a:gd name="connsiteX4" fmla="*/ 2439897 w 9209902"/>
              <a:gd name="connsiteY4" fmla="*/ 2410892 h 5180570"/>
              <a:gd name="connsiteX5" fmla="*/ 2440717 w 9209902"/>
              <a:gd name="connsiteY5" fmla="*/ 2410892 h 5180570"/>
              <a:gd name="connsiteX6" fmla="*/ 2510386 w 9209902"/>
              <a:gd name="connsiteY6" fmla="*/ 2581873 h 5180570"/>
              <a:gd name="connsiteX7" fmla="*/ 2370639 w 9209902"/>
              <a:gd name="connsiteY7" fmla="*/ 2581873 h 5180570"/>
              <a:gd name="connsiteX8" fmla="*/ 6000782 w 9209902"/>
              <a:gd name="connsiteY8" fmla="*/ 2272652 h 5180570"/>
              <a:gd name="connsiteX9" fmla="*/ 6000782 w 9209902"/>
              <a:gd name="connsiteY9" fmla="*/ 2773065 h 5180570"/>
              <a:gd name="connsiteX10" fmla="*/ 6367567 w 9209902"/>
              <a:gd name="connsiteY10" fmla="*/ 2773065 h 5180570"/>
              <a:gd name="connsiteX11" fmla="*/ 6367567 w 9209902"/>
              <a:gd name="connsiteY11" fmla="*/ 2662311 h 5180570"/>
              <a:gd name="connsiteX12" fmla="*/ 6133562 w 9209902"/>
              <a:gd name="connsiteY12" fmla="*/ 2662311 h 5180570"/>
              <a:gd name="connsiteX13" fmla="*/ 6133562 w 9209902"/>
              <a:gd name="connsiteY13" fmla="*/ 2272652 h 5180570"/>
              <a:gd name="connsiteX14" fmla="*/ 5576213 w 9209902"/>
              <a:gd name="connsiteY14" fmla="*/ 2272652 h 5180570"/>
              <a:gd name="connsiteX15" fmla="*/ 5576213 w 9209902"/>
              <a:gd name="connsiteY15" fmla="*/ 2773065 h 5180570"/>
              <a:gd name="connsiteX16" fmla="*/ 5943408 w 9209902"/>
              <a:gd name="connsiteY16" fmla="*/ 2773065 h 5180570"/>
              <a:gd name="connsiteX17" fmla="*/ 5943408 w 9209902"/>
              <a:gd name="connsiteY17" fmla="*/ 2662311 h 5180570"/>
              <a:gd name="connsiteX18" fmla="*/ 5709403 w 9209902"/>
              <a:gd name="connsiteY18" fmla="*/ 2662311 h 5180570"/>
              <a:gd name="connsiteX19" fmla="*/ 5709403 w 9209902"/>
              <a:gd name="connsiteY19" fmla="*/ 2272652 h 5180570"/>
              <a:gd name="connsiteX20" fmla="*/ 5191397 w 9209902"/>
              <a:gd name="connsiteY20" fmla="*/ 2272652 h 5180570"/>
              <a:gd name="connsiteX21" fmla="*/ 4979932 w 9209902"/>
              <a:gd name="connsiteY21" fmla="*/ 2773065 h 5180570"/>
              <a:gd name="connsiteX22" fmla="*/ 5108614 w 9209902"/>
              <a:gd name="connsiteY22" fmla="*/ 2773065 h 5180570"/>
              <a:gd name="connsiteX23" fmla="*/ 5145087 w 9209902"/>
              <a:gd name="connsiteY23" fmla="*/ 2683734 h 5180570"/>
              <a:gd name="connsiteX24" fmla="*/ 5368437 w 9209902"/>
              <a:gd name="connsiteY24" fmla="*/ 2683734 h 5180570"/>
              <a:gd name="connsiteX25" fmla="*/ 5404910 w 9209902"/>
              <a:gd name="connsiteY25" fmla="*/ 2773065 h 5180570"/>
              <a:gd name="connsiteX26" fmla="*/ 5533593 w 9209902"/>
              <a:gd name="connsiteY26" fmla="*/ 2773065 h 5180570"/>
              <a:gd name="connsiteX27" fmla="*/ 5322128 w 9209902"/>
              <a:gd name="connsiteY27" fmla="*/ 2272652 h 5180570"/>
              <a:gd name="connsiteX28" fmla="*/ 5320488 w 9209902"/>
              <a:gd name="connsiteY28" fmla="*/ 2272652 h 5180570"/>
              <a:gd name="connsiteX29" fmla="*/ 5320078 w 9209902"/>
              <a:gd name="connsiteY29" fmla="*/ 2272652 h 5180570"/>
              <a:gd name="connsiteX30" fmla="*/ 4636917 w 9209902"/>
              <a:gd name="connsiteY30" fmla="*/ 2272652 h 5180570"/>
              <a:gd name="connsiteX31" fmla="*/ 4636917 w 9209902"/>
              <a:gd name="connsiteY31" fmla="*/ 2773065 h 5180570"/>
              <a:gd name="connsiteX32" fmla="*/ 4769697 w 9209902"/>
              <a:gd name="connsiteY32" fmla="*/ 2773065 h 5180570"/>
              <a:gd name="connsiteX33" fmla="*/ 4769697 w 9209902"/>
              <a:gd name="connsiteY33" fmla="*/ 2570555 h 5180570"/>
              <a:gd name="connsiteX34" fmla="*/ 4984440 w 9209902"/>
              <a:gd name="connsiteY34" fmla="*/ 2570555 h 5180570"/>
              <a:gd name="connsiteX35" fmla="*/ 4984440 w 9209902"/>
              <a:gd name="connsiteY35" fmla="*/ 2463439 h 5180570"/>
              <a:gd name="connsiteX36" fmla="*/ 4769697 w 9209902"/>
              <a:gd name="connsiteY36" fmla="*/ 2463439 h 5180570"/>
              <a:gd name="connsiteX37" fmla="*/ 4769697 w 9209902"/>
              <a:gd name="connsiteY37" fmla="*/ 2379768 h 5180570"/>
              <a:gd name="connsiteX38" fmla="*/ 5024193 w 9209902"/>
              <a:gd name="connsiteY38" fmla="*/ 2379768 h 5180570"/>
              <a:gd name="connsiteX39" fmla="*/ 5024193 w 9209902"/>
              <a:gd name="connsiteY39" fmla="*/ 2272652 h 5180570"/>
              <a:gd name="connsiteX40" fmla="*/ 4055799 w 9209902"/>
              <a:gd name="connsiteY40" fmla="*/ 2272652 h 5180570"/>
              <a:gd name="connsiteX41" fmla="*/ 4055799 w 9209902"/>
              <a:gd name="connsiteY41" fmla="*/ 2773065 h 5180570"/>
              <a:gd name="connsiteX42" fmla="*/ 4182842 w 9209902"/>
              <a:gd name="connsiteY42" fmla="*/ 2773065 h 5180570"/>
              <a:gd name="connsiteX43" fmla="*/ 4182842 w 9209902"/>
              <a:gd name="connsiteY43" fmla="*/ 2477183 h 5180570"/>
              <a:gd name="connsiteX44" fmla="*/ 4409060 w 9209902"/>
              <a:gd name="connsiteY44" fmla="*/ 2773065 h 5180570"/>
              <a:gd name="connsiteX45" fmla="*/ 4535693 w 9209902"/>
              <a:gd name="connsiteY45" fmla="*/ 2773065 h 5180570"/>
              <a:gd name="connsiteX46" fmla="*/ 4535693 w 9209902"/>
              <a:gd name="connsiteY46" fmla="*/ 2272652 h 5180570"/>
              <a:gd name="connsiteX47" fmla="*/ 4409060 w 9209902"/>
              <a:gd name="connsiteY47" fmla="*/ 2272652 h 5180570"/>
              <a:gd name="connsiteX48" fmla="*/ 4409060 w 9209902"/>
              <a:gd name="connsiteY48" fmla="*/ 2572172 h 5180570"/>
              <a:gd name="connsiteX49" fmla="*/ 4182842 w 9209902"/>
              <a:gd name="connsiteY49" fmla="*/ 2272652 h 5180570"/>
              <a:gd name="connsiteX50" fmla="*/ 3588609 w 9209902"/>
              <a:gd name="connsiteY50" fmla="*/ 2272652 h 5180570"/>
              <a:gd name="connsiteX51" fmla="*/ 3588609 w 9209902"/>
              <a:gd name="connsiteY51" fmla="*/ 2773065 h 5180570"/>
              <a:gd name="connsiteX52" fmla="*/ 3721389 w 9209902"/>
              <a:gd name="connsiteY52" fmla="*/ 2773065 h 5180570"/>
              <a:gd name="connsiteX53" fmla="*/ 3964000 w 9209902"/>
              <a:gd name="connsiteY53" fmla="*/ 2773065 h 5180570"/>
              <a:gd name="connsiteX54" fmla="*/ 3964000 w 9209902"/>
              <a:gd name="connsiteY54" fmla="*/ 2665949 h 5180570"/>
              <a:gd name="connsiteX55" fmla="*/ 3721389 w 9209902"/>
              <a:gd name="connsiteY55" fmla="*/ 2665949 h 5180570"/>
              <a:gd name="connsiteX56" fmla="*/ 3721389 w 9209902"/>
              <a:gd name="connsiteY56" fmla="*/ 2567322 h 5180570"/>
              <a:gd name="connsiteX57" fmla="*/ 3927116 w 9209902"/>
              <a:gd name="connsiteY57" fmla="*/ 2567322 h 5180570"/>
              <a:gd name="connsiteX58" fmla="*/ 3927116 w 9209902"/>
              <a:gd name="connsiteY58" fmla="*/ 2460206 h 5180570"/>
              <a:gd name="connsiteX59" fmla="*/ 3721389 w 9209902"/>
              <a:gd name="connsiteY59" fmla="*/ 2460206 h 5180570"/>
              <a:gd name="connsiteX60" fmla="*/ 3721389 w 9209902"/>
              <a:gd name="connsiteY60" fmla="*/ 2379768 h 5180570"/>
              <a:gd name="connsiteX61" fmla="*/ 3964000 w 9209902"/>
              <a:gd name="connsiteY61" fmla="*/ 2379768 h 5180570"/>
              <a:gd name="connsiteX62" fmla="*/ 3964000 w 9209902"/>
              <a:gd name="connsiteY62" fmla="*/ 2272652 h 5180570"/>
              <a:gd name="connsiteX63" fmla="*/ 3111174 w 9209902"/>
              <a:gd name="connsiteY63" fmla="*/ 2272652 h 5180570"/>
              <a:gd name="connsiteX64" fmla="*/ 3111174 w 9209902"/>
              <a:gd name="connsiteY64" fmla="*/ 2379768 h 5180570"/>
              <a:gd name="connsiteX65" fmla="*/ 3244364 w 9209902"/>
              <a:gd name="connsiteY65" fmla="*/ 2379768 h 5180570"/>
              <a:gd name="connsiteX66" fmla="*/ 3244364 w 9209902"/>
              <a:gd name="connsiteY66" fmla="*/ 2773065 h 5180570"/>
              <a:gd name="connsiteX67" fmla="*/ 3377144 w 9209902"/>
              <a:gd name="connsiteY67" fmla="*/ 2773065 h 5180570"/>
              <a:gd name="connsiteX68" fmla="*/ 3377144 w 9209902"/>
              <a:gd name="connsiteY68" fmla="*/ 2379768 h 5180570"/>
              <a:gd name="connsiteX69" fmla="*/ 3524268 w 9209902"/>
              <a:gd name="connsiteY69" fmla="*/ 2379768 h 5180570"/>
              <a:gd name="connsiteX70" fmla="*/ 3524268 w 9209902"/>
              <a:gd name="connsiteY70" fmla="*/ 2272652 h 5180570"/>
              <a:gd name="connsiteX71" fmla="*/ 2652181 w 9209902"/>
              <a:gd name="connsiteY71" fmla="*/ 2272652 h 5180570"/>
              <a:gd name="connsiteX72" fmla="*/ 2652181 w 9209902"/>
              <a:gd name="connsiteY72" fmla="*/ 2379768 h 5180570"/>
              <a:gd name="connsiteX73" fmla="*/ 2799305 w 9209902"/>
              <a:gd name="connsiteY73" fmla="*/ 2379768 h 5180570"/>
              <a:gd name="connsiteX74" fmla="*/ 2799305 w 9209902"/>
              <a:gd name="connsiteY74" fmla="*/ 2773065 h 5180570"/>
              <a:gd name="connsiteX75" fmla="*/ 2932085 w 9209902"/>
              <a:gd name="connsiteY75" fmla="*/ 2773065 h 5180570"/>
              <a:gd name="connsiteX76" fmla="*/ 2932085 w 9209902"/>
              <a:gd name="connsiteY76" fmla="*/ 2379768 h 5180570"/>
              <a:gd name="connsiteX77" fmla="*/ 3064865 w 9209902"/>
              <a:gd name="connsiteY77" fmla="*/ 2379768 h 5180570"/>
              <a:gd name="connsiteX78" fmla="*/ 3064865 w 9209902"/>
              <a:gd name="connsiteY78" fmla="*/ 2272652 h 5180570"/>
              <a:gd name="connsiteX79" fmla="*/ 2375147 w 9209902"/>
              <a:gd name="connsiteY79" fmla="*/ 2272652 h 5180570"/>
              <a:gd name="connsiteX80" fmla="*/ 2163682 w 9209902"/>
              <a:gd name="connsiteY80" fmla="*/ 2773065 h 5180570"/>
              <a:gd name="connsiteX81" fmla="*/ 2292364 w 9209902"/>
              <a:gd name="connsiteY81" fmla="*/ 2773065 h 5180570"/>
              <a:gd name="connsiteX82" fmla="*/ 2328837 w 9209902"/>
              <a:gd name="connsiteY82" fmla="*/ 2683734 h 5180570"/>
              <a:gd name="connsiteX83" fmla="*/ 2552187 w 9209902"/>
              <a:gd name="connsiteY83" fmla="*/ 2683734 h 5180570"/>
              <a:gd name="connsiteX84" fmla="*/ 2588660 w 9209902"/>
              <a:gd name="connsiteY84" fmla="*/ 2773065 h 5180570"/>
              <a:gd name="connsiteX85" fmla="*/ 2717342 w 9209902"/>
              <a:gd name="connsiteY85" fmla="*/ 2773065 h 5180570"/>
              <a:gd name="connsiteX86" fmla="*/ 2505878 w 9209902"/>
              <a:gd name="connsiteY86" fmla="*/ 2272652 h 5180570"/>
              <a:gd name="connsiteX87" fmla="*/ 2504239 w 9209902"/>
              <a:gd name="connsiteY87" fmla="*/ 2272652 h 5180570"/>
              <a:gd name="connsiteX88" fmla="*/ 2503829 w 9209902"/>
              <a:gd name="connsiteY88" fmla="*/ 2272652 h 5180570"/>
              <a:gd name="connsiteX89" fmla="*/ 1702230 w 9209902"/>
              <a:gd name="connsiteY89" fmla="*/ 2272652 h 5180570"/>
              <a:gd name="connsiteX90" fmla="*/ 1910416 w 9209902"/>
              <a:gd name="connsiteY90" fmla="*/ 2773065 h 5180570"/>
              <a:gd name="connsiteX91" fmla="*/ 2041557 w 9209902"/>
              <a:gd name="connsiteY91" fmla="*/ 2773065 h 5180570"/>
              <a:gd name="connsiteX92" fmla="*/ 2249743 w 9209902"/>
              <a:gd name="connsiteY92" fmla="*/ 2272652 h 5180570"/>
              <a:gd name="connsiteX93" fmla="*/ 2121061 w 9209902"/>
              <a:gd name="connsiteY93" fmla="*/ 2272652 h 5180570"/>
              <a:gd name="connsiteX94" fmla="*/ 1976396 w 9209902"/>
              <a:gd name="connsiteY94" fmla="*/ 2624719 h 5180570"/>
              <a:gd name="connsiteX95" fmla="*/ 1975577 w 9209902"/>
              <a:gd name="connsiteY95" fmla="*/ 2624719 h 5180570"/>
              <a:gd name="connsiteX96" fmla="*/ 1830912 w 9209902"/>
              <a:gd name="connsiteY96" fmla="*/ 2272652 h 5180570"/>
              <a:gd name="connsiteX97" fmla="*/ 7085437 w 9209902"/>
              <a:gd name="connsiteY97" fmla="*/ 2071173 h 5180570"/>
              <a:gd name="connsiteX98" fmla="*/ 6995554 w 9209902"/>
              <a:gd name="connsiteY98" fmla="*/ 2076736 h 5180570"/>
              <a:gd name="connsiteX99" fmla="*/ 6626919 w 9209902"/>
              <a:gd name="connsiteY99" fmla="*/ 2580883 h 5180570"/>
              <a:gd name="connsiteX100" fmla="*/ 7136094 w 9209902"/>
              <a:gd name="connsiteY100" fmla="*/ 2942541 h 5180570"/>
              <a:gd name="connsiteX101" fmla="*/ 7504730 w 9209902"/>
              <a:gd name="connsiteY101" fmla="*/ 2438394 h 5180570"/>
              <a:gd name="connsiteX102" fmla="*/ 7085437 w 9209902"/>
              <a:gd name="connsiteY102" fmla="*/ 2071173 h 5180570"/>
              <a:gd name="connsiteX103" fmla="*/ 212339 w 9209902"/>
              <a:gd name="connsiteY103" fmla="*/ 177285 h 5180570"/>
              <a:gd name="connsiteX104" fmla="*/ 8997562 w 9209902"/>
              <a:gd name="connsiteY104" fmla="*/ 177285 h 5180570"/>
              <a:gd name="connsiteX105" fmla="*/ 8997562 w 9209902"/>
              <a:gd name="connsiteY105" fmla="*/ 4858824 h 5180570"/>
              <a:gd name="connsiteX106" fmla="*/ 212339 w 9209902"/>
              <a:gd name="connsiteY106" fmla="*/ 4858824 h 5180570"/>
              <a:gd name="connsiteX107" fmla="*/ 32951 w 9209902"/>
              <a:gd name="connsiteY107" fmla="*/ 18535 h 5180570"/>
              <a:gd name="connsiteX108" fmla="*/ 32951 w 9209902"/>
              <a:gd name="connsiteY108" fmla="*/ 5162034 h 5180570"/>
              <a:gd name="connsiteX109" fmla="*/ 143236 w 9209902"/>
              <a:gd name="connsiteY109" fmla="*/ 5162034 h 5180570"/>
              <a:gd name="connsiteX110" fmla="*/ 143236 w 9209902"/>
              <a:gd name="connsiteY110" fmla="*/ 5162035 h 5180570"/>
              <a:gd name="connsiteX111" fmla="*/ 9151553 w 9209902"/>
              <a:gd name="connsiteY111" fmla="*/ 5162035 h 5180570"/>
              <a:gd name="connsiteX112" fmla="*/ 9176951 w 9209902"/>
              <a:gd name="connsiteY112" fmla="*/ 5162035 h 5180570"/>
              <a:gd name="connsiteX113" fmla="*/ 9176951 w 9209902"/>
              <a:gd name="connsiteY113" fmla="*/ 18535 h 5180570"/>
              <a:gd name="connsiteX114" fmla="*/ 8997562 w 9209902"/>
              <a:gd name="connsiteY114" fmla="*/ 18535 h 5180570"/>
              <a:gd name="connsiteX115" fmla="*/ 143237 w 9209902"/>
              <a:gd name="connsiteY115" fmla="*/ 18535 h 5180570"/>
              <a:gd name="connsiteX116" fmla="*/ 0 w 9209902"/>
              <a:gd name="connsiteY116" fmla="*/ 0 h 5180570"/>
              <a:gd name="connsiteX117" fmla="*/ 9209902 w 9209902"/>
              <a:gd name="connsiteY117" fmla="*/ 0 h 5180570"/>
              <a:gd name="connsiteX118" fmla="*/ 9209902 w 9209902"/>
              <a:gd name="connsiteY118" fmla="*/ 5180570 h 5180570"/>
              <a:gd name="connsiteX119" fmla="*/ 0 w 9209902"/>
              <a:gd name="connsiteY119"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209902" h="5180570">
                <a:moveTo>
                  <a:pt x="5256147" y="2410892"/>
                </a:moveTo>
                <a:lnTo>
                  <a:pt x="5256967" y="2410892"/>
                </a:lnTo>
                <a:lnTo>
                  <a:pt x="5326636" y="2581873"/>
                </a:lnTo>
                <a:lnTo>
                  <a:pt x="5186889" y="2581873"/>
                </a:lnTo>
                <a:close/>
                <a:moveTo>
                  <a:pt x="2439897" y="2410892"/>
                </a:moveTo>
                <a:lnTo>
                  <a:pt x="2440717" y="2410892"/>
                </a:lnTo>
                <a:lnTo>
                  <a:pt x="2510386" y="2581873"/>
                </a:lnTo>
                <a:lnTo>
                  <a:pt x="2370639" y="2581873"/>
                </a:lnTo>
                <a:close/>
                <a:moveTo>
                  <a:pt x="6000782" y="2272652"/>
                </a:moveTo>
                <a:lnTo>
                  <a:pt x="6000782" y="2773065"/>
                </a:lnTo>
                <a:lnTo>
                  <a:pt x="6367567" y="2773065"/>
                </a:lnTo>
                <a:lnTo>
                  <a:pt x="6367567" y="2662311"/>
                </a:lnTo>
                <a:lnTo>
                  <a:pt x="6133562" y="2662311"/>
                </a:lnTo>
                <a:lnTo>
                  <a:pt x="6133562" y="2272652"/>
                </a:lnTo>
                <a:close/>
                <a:moveTo>
                  <a:pt x="5576213" y="2272652"/>
                </a:moveTo>
                <a:lnTo>
                  <a:pt x="5576213" y="2773065"/>
                </a:lnTo>
                <a:lnTo>
                  <a:pt x="5943408" y="2773065"/>
                </a:lnTo>
                <a:lnTo>
                  <a:pt x="5943408" y="2662311"/>
                </a:lnTo>
                <a:lnTo>
                  <a:pt x="5709403" y="2662311"/>
                </a:lnTo>
                <a:lnTo>
                  <a:pt x="5709403" y="2272652"/>
                </a:lnTo>
                <a:close/>
                <a:moveTo>
                  <a:pt x="5191397" y="2272652"/>
                </a:moveTo>
                <a:lnTo>
                  <a:pt x="4979932" y="2773065"/>
                </a:lnTo>
                <a:lnTo>
                  <a:pt x="5108614" y="2773065"/>
                </a:lnTo>
                <a:lnTo>
                  <a:pt x="5145087" y="2683734"/>
                </a:lnTo>
                <a:lnTo>
                  <a:pt x="5368437" y="2683734"/>
                </a:lnTo>
                <a:lnTo>
                  <a:pt x="5404910" y="2773065"/>
                </a:lnTo>
                <a:lnTo>
                  <a:pt x="5533593" y="2773065"/>
                </a:lnTo>
                <a:lnTo>
                  <a:pt x="5322128" y="2272652"/>
                </a:lnTo>
                <a:lnTo>
                  <a:pt x="5320488" y="2272652"/>
                </a:lnTo>
                <a:lnTo>
                  <a:pt x="5320078" y="2272652"/>
                </a:lnTo>
                <a:close/>
                <a:moveTo>
                  <a:pt x="4636917" y="2272652"/>
                </a:moveTo>
                <a:lnTo>
                  <a:pt x="4636917" y="2773065"/>
                </a:lnTo>
                <a:lnTo>
                  <a:pt x="4769697" y="2773065"/>
                </a:lnTo>
                <a:lnTo>
                  <a:pt x="4769697" y="2570555"/>
                </a:lnTo>
                <a:lnTo>
                  <a:pt x="4984440" y="2570555"/>
                </a:lnTo>
                <a:lnTo>
                  <a:pt x="4984440" y="2463439"/>
                </a:lnTo>
                <a:lnTo>
                  <a:pt x="4769697" y="2463439"/>
                </a:lnTo>
                <a:lnTo>
                  <a:pt x="4769697" y="2379768"/>
                </a:lnTo>
                <a:lnTo>
                  <a:pt x="5024193" y="2379768"/>
                </a:lnTo>
                <a:lnTo>
                  <a:pt x="5024193" y="2272652"/>
                </a:lnTo>
                <a:close/>
                <a:moveTo>
                  <a:pt x="4055799" y="2272652"/>
                </a:moveTo>
                <a:lnTo>
                  <a:pt x="4055799" y="2773065"/>
                </a:lnTo>
                <a:lnTo>
                  <a:pt x="4182842" y="2773065"/>
                </a:lnTo>
                <a:lnTo>
                  <a:pt x="4182842" y="2477183"/>
                </a:lnTo>
                <a:lnTo>
                  <a:pt x="4409060" y="2773065"/>
                </a:lnTo>
                <a:lnTo>
                  <a:pt x="4535693" y="2773065"/>
                </a:lnTo>
                <a:lnTo>
                  <a:pt x="4535693" y="2272652"/>
                </a:lnTo>
                <a:lnTo>
                  <a:pt x="4409060" y="2272652"/>
                </a:lnTo>
                <a:lnTo>
                  <a:pt x="4409060" y="2572172"/>
                </a:lnTo>
                <a:lnTo>
                  <a:pt x="4182842" y="2272652"/>
                </a:lnTo>
                <a:close/>
                <a:moveTo>
                  <a:pt x="3588609" y="2272652"/>
                </a:moveTo>
                <a:lnTo>
                  <a:pt x="3588609" y="2773065"/>
                </a:lnTo>
                <a:lnTo>
                  <a:pt x="3721389" y="2773065"/>
                </a:lnTo>
                <a:lnTo>
                  <a:pt x="3964000" y="2773065"/>
                </a:lnTo>
                <a:lnTo>
                  <a:pt x="3964000" y="2665949"/>
                </a:lnTo>
                <a:lnTo>
                  <a:pt x="3721389" y="2665949"/>
                </a:lnTo>
                <a:lnTo>
                  <a:pt x="3721389" y="2567322"/>
                </a:lnTo>
                <a:lnTo>
                  <a:pt x="3927116" y="2567322"/>
                </a:lnTo>
                <a:lnTo>
                  <a:pt x="3927116" y="2460206"/>
                </a:lnTo>
                <a:lnTo>
                  <a:pt x="3721389" y="2460206"/>
                </a:lnTo>
                <a:lnTo>
                  <a:pt x="3721389" y="2379768"/>
                </a:lnTo>
                <a:lnTo>
                  <a:pt x="3964000" y="2379768"/>
                </a:lnTo>
                <a:lnTo>
                  <a:pt x="3964000" y="2272652"/>
                </a:lnTo>
                <a:close/>
                <a:moveTo>
                  <a:pt x="3111174" y="2272652"/>
                </a:moveTo>
                <a:lnTo>
                  <a:pt x="3111174" y="2379768"/>
                </a:lnTo>
                <a:lnTo>
                  <a:pt x="3244364" y="2379768"/>
                </a:lnTo>
                <a:lnTo>
                  <a:pt x="3244364" y="2773065"/>
                </a:lnTo>
                <a:lnTo>
                  <a:pt x="3377144" y="2773065"/>
                </a:lnTo>
                <a:lnTo>
                  <a:pt x="3377144" y="2379768"/>
                </a:lnTo>
                <a:lnTo>
                  <a:pt x="3524268" y="2379768"/>
                </a:lnTo>
                <a:lnTo>
                  <a:pt x="3524268" y="2272652"/>
                </a:lnTo>
                <a:close/>
                <a:moveTo>
                  <a:pt x="2652181" y="2272652"/>
                </a:moveTo>
                <a:lnTo>
                  <a:pt x="2652181" y="2379768"/>
                </a:lnTo>
                <a:lnTo>
                  <a:pt x="2799305" y="2379768"/>
                </a:lnTo>
                <a:lnTo>
                  <a:pt x="2799305" y="2773065"/>
                </a:lnTo>
                <a:lnTo>
                  <a:pt x="2932085" y="2773065"/>
                </a:lnTo>
                <a:lnTo>
                  <a:pt x="2932085" y="2379768"/>
                </a:lnTo>
                <a:lnTo>
                  <a:pt x="3064865" y="2379768"/>
                </a:lnTo>
                <a:lnTo>
                  <a:pt x="3064865" y="2272652"/>
                </a:lnTo>
                <a:close/>
                <a:moveTo>
                  <a:pt x="2375147" y="2272652"/>
                </a:moveTo>
                <a:lnTo>
                  <a:pt x="2163682" y="2773065"/>
                </a:lnTo>
                <a:lnTo>
                  <a:pt x="2292364" y="2773065"/>
                </a:lnTo>
                <a:lnTo>
                  <a:pt x="2328837" y="2683734"/>
                </a:lnTo>
                <a:lnTo>
                  <a:pt x="2552187" y="2683734"/>
                </a:lnTo>
                <a:lnTo>
                  <a:pt x="2588660" y="2773065"/>
                </a:lnTo>
                <a:lnTo>
                  <a:pt x="2717342" y="2773065"/>
                </a:lnTo>
                <a:lnTo>
                  <a:pt x="2505878" y="2272652"/>
                </a:lnTo>
                <a:lnTo>
                  <a:pt x="2504239" y="2272652"/>
                </a:lnTo>
                <a:lnTo>
                  <a:pt x="2503829" y="2272652"/>
                </a:lnTo>
                <a:close/>
                <a:moveTo>
                  <a:pt x="1702230" y="2272652"/>
                </a:moveTo>
                <a:lnTo>
                  <a:pt x="1910416" y="2773065"/>
                </a:lnTo>
                <a:lnTo>
                  <a:pt x="2041557" y="2773065"/>
                </a:lnTo>
                <a:lnTo>
                  <a:pt x="2249743" y="2272652"/>
                </a:lnTo>
                <a:lnTo>
                  <a:pt x="2121061" y="2272652"/>
                </a:lnTo>
                <a:lnTo>
                  <a:pt x="1976396" y="2624719"/>
                </a:lnTo>
                <a:lnTo>
                  <a:pt x="1975577" y="2624719"/>
                </a:lnTo>
                <a:lnTo>
                  <a:pt x="1830912" y="2272652"/>
                </a:lnTo>
                <a:close/>
                <a:moveTo>
                  <a:pt x="7085437" y="2071173"/>
                </a:moveTo>
                <a:cubicBezTo>
                  <a:pt x="7055929" y="2070044"/>
                  <a:pt x="7025854" y="2071818"/>
                  <a:pt x="6995554" y="2076736"/>
                </a:cubicBezTo>
                <a:cubicBezTo>
                  <a:pt x="6753154" y="2116083"/>
                  <a:pt x="6588110" y="2341798"/>
                  <a:pt x="6626919" y="2580883"/>
                </a:cubicBezTo>
                <a:cubicBezTo>
                  <a:pt x="6665728" y="2819968"/>
                  <a:pt x="6893694" y="2981888"/>
                  <a:pt x="7136094" y="2942541"/>
                </a:cubicBezTo>
                <a:cubicBezTo>
                  <a:pt x="7378495" y="2903194"/>
                  <a:pt x="7543539" y="2677479"/>
                  <a:pt x="7504730" y="2438394"/>
                </a:cubicBezTo>
                <a:cubicBezTo>
                  <a:pt x="7470772" y="2229194"/>
                  <a:pt x="7291991" y="2079075"/>
                  <a:pt x="7085437" y="2071173"/>
                </a:cubicBezTo>
                <a:close/>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1067" noProof="0" dirty="0">
                <a:solidFill>
                  <a:schemeClr val="bg1">
                    <a:lumMod val="75000"/>
                  </a:schemeClr>
                </a:solidFill>
              </a:defRPr>
            </a:lvl1pPr>
          </a:lstStyle>
          <a:p>
            <a:pPr marL="228594" lvl="0" indent="-228594" algn="ctr"/>
            <a:r>
              <a:rPr lang="en-GB" noProof="0"/>
              <a:t>Click on the icon to add video</a:t>
            </a:r>
          </a:p>
        </p:txBody>
      </p:sp>
      <p:sp>
        <p:nvSpPr>
          <p:cNvPr id="11" name="Date" hidden="1">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537D5908-CED2-8445-B2F0-C1C5EBD56666}" type="datetime1">
              <a:rPr lang="sv-SE" noProof="0" smtClean="0"/>
              <a:t>2025-04-07</a:t>
            </a:fld>
            <a:endParaRPr lang="en-GB" noProof="0"/>
          </a:p>
        </p:txBody>
      </p:sp>
      <p:sp>
        <p:nvSpPr>
          <p:cNvPr id="12" name="Number" hidden="1">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hidden="1">
            <a:extLst>
              <a:ext uri="{FF2B5EF4-FFF2-40B4-BE49-F238E27FC236}">
                <a16:creationId xmlns:a16="http://schemas.microsoft.com/office/drawing/2014/main" id="{3B9E93E1-A5C6-AE48-99D5-A7A443E60A8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p:txBody>
      </p:sp>
      <p:sp>
        <p:nvSpPr>
          <p:cNvPr id="14" name="Rectangle 13">
            <a:extLst>
              <a:ext uri="{FF2B5EF4-FFF2-40B4-BE49-F238E27FC236}">
                <a16:creationId xmlns:a16="http://schemas.microsoft.com/office/drawing/2014/main" id="{F2188644-0031-B196-A7B9-A7BC8A01F95B}"/>
              </a:ext>
            </a:extLst>
          </p:cNvPr>
          <p:cNvSpPr/>
          <p:nvPr/>
        </p:nvSpPr>
        <p:spPr>
          <a:xfrm>
            <a:off x="5350277" y="6483925"/>
            <a:ext cx="1491449" cy="358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5" name="Title 2">
            <a:extLst>
              <a:ext uri="{FF2B5EF4-FFF2-40B4-BE49-F238E27FC236}">
                <a16:creationId xmlns:a16="http://schemas.microsoft.com/office/drawing/2014/main" id="{1F91519E-2A47-1597-3C8F-039360207E01}"/>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2309840712"/>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 Title Start">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4" y="211667"/>
            <a:ext cx="11713763" cy="6242051"/>
          </a:xfrm>
          <a:blipFill dpi="0" rotWithShape="1">
            <a:blip r:embed="rId2"/>
            <a:srcRect/>
            <a:tile tx="0" ty="0" sx="100000" sy="100000" flip="none" algn="tl"/>
          </a:blipFill>
        </p:spPr>
        <p:txBody>
          <a:bodyPr/>
          <a:lstStyle>
            <a:lvl1pPr algn="ctr">
              <a:buNone/>
              <a:defRPr sz="1067">
                <a:solidFill>
                  <a:schemeClr val="bg1">
                    <a:lumMod val="75000"/>
                  </a:schemeClr>
                </a:solidFill>
              </a:defRPr>
            </a:lvl1pPr>
          </a:lstStyle>
          <a:p>
            <a:r>
              <a:rPr lang="en-GB" noProof="0"/>
              <a:t>Select placeholder and select Insert &gt; Pictures</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431800" y="2293103"/>
            <a:ext cx="11328400" cy="2081296"/>
          </a:xfrm>
        </p:spPr>
        <p:txBody>
          <a:bodyPr lIns="216000" rIns="216000" anchor="ctr"/>
          <a:lstStyle>
            <a:lvl1pPr algn="ctr">
              <a:defRPr sz="64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4271434" y="4410077"/>
            <a:ext cx="3649133" cy="954404"/>
          </a:xfrm>
        </p:spPr>
        <p:txBody>
          <a:bodyPr lIns="216000" rIns="216000" anchor="t"/>
          <a:lstStyle>
            <a:lvl1pPr marL="0" indent="-16933"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5FA19CE-4B8D-7840-9BCB-FB4DB9DB6856}"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2311166213"/>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 Title Start Video">
    <p:spTree>
      <p:nvGrpSpPr>
        <p:cNvPr id="1" name=""/>
        <p:cNvGrpSpPr/>
        <p:nvPr/>
      </p:nvGrpSpPr>
      <p:grpSpPr>
        <a:xfrm>
          <a:off x="0" y="0"/>
          <a:ext cx="0" cy="0"/>
          <a:chOff x="0" y="0"/>
          <a:chExt cx="0" cy="0"/>
        </a:xfrm>
      </p:grpSpPr>
      <p:sp>
        <p:nvSpPr>
          <p:cNvPr id="2" name="Video placeholder">
            <a:extLst>
              <a:ext uri="{FF2B5EF4-FFF2-40B4-BE49-F238E27FC236}">
                <a16:creationId xmlns:a16="http://schemas.microsoft.com/office/drawing/2014/main" id="{F4897AD2-B1C3-0325-16FD-104E14561548}"/>
              </a:ext>
            </a:extLst>
          </p:cNvPr>
          <p:cNvSpPr>
            <a:spLocks noGrp="1"/>
          </p:cNvSpPr>
          <p:nvPr>
            <p:ph type="media" sz="quarter" idx="12" hasCustomPrompt="1"/>
          </p:nvPr>
        </p:nvSpPr>
        <p:spPr>
          <a:xfrm>
            <a:off x="-43935" y="-24714"/>
            <a:ext cx="12279869" cy="6907427"/>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1067" noProof="0" dirty="0">
                <a:solidFill>
                  <a:schemeClr val="bg1">
                    <a:lumMod val="75000"/>
                  </a:schemeClr>
                </a:solidFill>
              </a:defRPr>
            </a:lvl1pPr>
          </a:lstStyle>
          <a:p>
            <a:pPr marL="228594" lvl="0" indent="-228594" algn="ctr"/>
            <a:r>
              <a:rPr lang="en-GB" noProof="0"/>
              <a:t>Select placeholder and select Insert &gt; Insert Video from this device</a:t>
            </a:r>
          </a:p>
        </p:txBody>
      </p:sp>
      <p:sp>
        <p:nvSpPr>
          <p:cNvPr id="6" name="Title">
            <a:extLst>
              <a:ext uri="{FF2B5EF4-FFF2-40B4-BE49-F238E27FC236}">
                <a16:creationId xmlns:a16="http://schemas.microsoft.com/office/drawing/2014/main" id="{D70BF8E9-745F-E646-8ACE-EA0841D80D16}"/>
              </a:ext>
            </a:extLst>
          </p:cNvPr>
          <p:cNvSpPr>
            <a:spLocks noGrp="1"/>
          </p:cNvSpPr>
          <p:nvPr>
            <p:ph type="title" hasCustomPrompt="1"/>
          </p:nvPr>
        </p:nvSpPr>
        <p:spPr>
          <a:xfrm>
            <a:off x="431800" y="2293103"/>
            <a:ext cx="11328400" cy="2081296"/>
          </a:xfrm>
        </p:spPr>
        <p:txBody>
          <a:bodyPr lIns="216000" rIns="216000" anchor="ctr"/>
          <a:lstStyle>
            <a:lvl1pPr algn="ctr">
              <a:defRPr sz="6400">
                <a:solidFill>
                  <a:schemeClr val="bg1"/>
                </a:solidFill>
              </a:defRPr>
            </a:lvl1pPr>
          </a:lstStyle>
          <a:p>
            <a:r>
              <a:rPr lang="en-GB" noProof="0"/>
              <a:t>Click to add presentation title in two rows</a:t>
            </a:r>
          </a:p>
        </p:txBody>
      </p:sp>
      <p:sp>
        <p:nvSpPr>
          <p:cNvPr id="15" name="Text">
            <a:extLst>
              <a:ext uri="{FF2B5EF4-FFF2-40B4-BE49-F238E27FC236}">
                <a16:creationId xmlns:a16="http://schemas.microsoft.com/office/drawing/2014/main" id="{454F8E95-426A-F348-AA14-06D4E6F905A5}"/>
              </a:ext>
            </a:extLst>
          </p:cNvPr>
          <p:cNvSpPr>
            <a:spLocks noGrp="1"/>
          </p:cNvSpPr>
          <p:nvPr>
            <p:ph type="body" sz="quarter" idx="11" hasCustomPrompt="1"/>
          </p:nvPr>
        </p:nvSpPr>
        <p:spPr>
          <a:xfrm>
            <a:off x="4271434" y="4410077"/>
            <a:ext cx="3649133" cy="954404"/>
          </a:xfrm>
        </p:spPr>
        <p:txBody>
          <a:bodyPr lIns="216000" rIns="216000" anchor="t"/>
          <a:lstStyle>
            <a:lvl1pPr marL="0" indent="-16933" algn="ctr">
              <a:lnSpc>
                <a:spcPct val="95000"/>
              </a:lnSpc>
              <a:spcBef>
                <a:spcPts val="0"/>
              </a:spcBef>
              <a:buNone/>
              <a:tabLst/>
              <a:defRPr b="1" baseline="0">
                <a:solidFill>
                  <a:schemeClr val="bg1"/>
                </a:solidFill>
              </a:defRPr>
            </a:lvl1pPr>
          </a:lstStyle>
          <a:p>
            <a:pPr lvl="0"/>
            <a:r>
              <a:rPr lang="en-GB" noProof="0"/>
              <a:t>Click to add Name of presenter and</a:t>
            </a:r>
            <a:br>
              <a:rPr lang="en-GB" noProof="0"/>
            </a:br>
            <a:r>
              <a:rPr lang="en-GB" noProof="0"/>
              <a:t>Job titl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5FA19CE-4B8D-7840-9BCB-FB4DB9DB6856}"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3B9E93E1-A5C6-AE48-99D5-A7A443E60A8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133160263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Agenda Arrow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43314A-E9EC-4F47-580C-4632AB725844}"/>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8113184" y="211667"/>
            <a:ext cx="3839633" cy="6242051"/>
          </a:xfrm>
          <a:blipFill dpi="0" rotWithShape="1">
            <a:blip r:embed="rId2"/>
            <a:srcRect/>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431800" y="319167"/>
            <a:ext cx="7488765" cy="833711"/>
          </a:xfrm>
        </p:spPr>
        <p:txBody>
          <a:bodyPr rIns="216000"/>
          <a:lstStyle>
            <a:lvl1pPr>
              <a:defRPr sz="4000" spc="-93" baseline="0"/>
            </a:lvl1pPr>
          </a:lstStyle>
          <a:p>
            <a:r>
              <a:rPr lang="en-GB"/>
              <a:t>Add agenda headline</a:t>
            </a:r>
          </a:p>
        </p:txBody>
      </p:sp>
      <p:sp>
        <p:nvSpPr>
          <p:cNvPr id="5" name="Text">
            <a:extLst>
              <a:ext uri="{FF2B5EF4-FFF2-40B4-BE49-F238E27FC236}">
                <a16:creationId xmlns:a16="http://schemas.microsoft.com/office/drawing/2014/main" id="{DE6EA794-E34B-EB7F-E8B2-70581E055E96}"/>
              </a:ext>
            </a:extLst>
          </p:cNvPr>
          <p:cNvSpPr>
            <a:spLocks noGrp="1"/>
          </p:cNvSpPr>
          <p:nvPr>
            <p:ph type="body" sz="quarter" idx="16"/>
          </p:nvPr>
        </p:nvSpPr>
        <p:spPr>
          <a:xfrm>
            <a:off x="431799" y="1458384"/>
            <a:ext cx="7488767" cy="4705349"/>
          </a:xfrm>
        </p:spPr>
        <p:txBody>
          <a:bodyPr rIns="216000"/>
          <a:lstStyle>
            <a:lvl1pPr marL="455989" indent="-455989">
              <a:lnSpc>
                <a:spcPct val="95000"/>
              </a:lnSpc>
              <a:spcBef>
                <a:spcPts val="1333"/>
              </a:spcBef>
              <a:buFontTx/>
              <a:buBlip>
                <a:blip r:embed="rId3">
                  <a:extLst>
                    <a:ext uri="{96DAC541-7B7A-43D3-8B79-37D633B846F1}">
                      <asvg:svgBlip xmlns:asvg="http://schemas.microsoft.com/office/drawing/2016/SVG/main" r:embed="rId4"/>
                    </a:ext>
                  </a:extLst>
                </a:blip>
              </a:buBlip>
              <a:defRPr sz="2400" b="1"/>
            </a:lvl1pPr>
            <a:lvl2pPr marL="455989" indent="-455989">
              <a:spcBef>
                <a:spcPts val="0"/>
              </a:spcBef>
              <a:buFontTx/>
              <a:buBlip>
                <a:blip r:embed="rId5"/>
              </a:buBlip>
              <a:defRPr sz="1867"/>
            </a:lvl2pPr>
            <a:lvl3pPr marL="455989" indent="-455989">
              <a:spcBef>
                <a:spcPts val="0"/>
              </a:spcBef>
              <a:spcAft>
                <a:spcPts val="0"/>
              </a:spcAft>
              <a:buFontTx/>
              <a:buBlip>
                <a:blip r:embed="rId5"/>
              </a:buBlip>
              <a:defRPr>
                <a:solidFill>
                  <a:schemeClr val="tx1"/>
                </a:solidFill>
              </a:defRPr>
            </a:lvl3pPr>
          </a:lstStyle>
          <a:p>
            <a:pPr lvl="0"/>
            <a:r>
              <a:rPr lang="sv-SE"/>
              <a:t>Klicka här för att ändra format på bakgrundstexten</a:t>
            </a:r>
          </a:p>
          <a:p>
            <a:pPr lvl="1"/>
            <a:r>
              <a:rPr lang="sv-SE"/>
              <a:t>Nivå två</a:t>
            </a:r>
          </a:p>
          <a:p>
            <a:pPr lvl="2"/>
            <a:r>
              <a:rPr lang="sv-SE"/>
              <a:t>Nivå tr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44DB898C-9087-4543-B38C-FB8719DF3795}"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50029462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10BA0-E845-FF2E-77E1-85B7F92188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F8C4FA3-397B-40A7-6523-B6ABF114F25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77C2338-48CA-98A0-23F6-795CA18563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3C24AD-EF6C-0BB8-267F-8E9B0A77308F}"/>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6" name="Footer Placeholder 5">
            <a:extLst>
              <a:ext uri="{FF2B5EF4-FFF2-40B4-BE49-F238E27FC236}">
                <a16:creationId xmlns:a16="http://schemas.microsoft.com/office/drawing/2014/main" id="{127BA1FF-BBD3-2E74-2F3F-F4DC441727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7A8F55-8A9D-5408-066B-975C58D694DB}"/>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32810008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Agenda Number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83029C-4BD0-01F6-A7DC-553290C00BA4}"/>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Image">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8113184"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431800" y="319167"/>
            <a:ext cx="7488765" cy="833711"/>
          </a:xfrm>
        </p:spPr>
        <p:txBody>
          <a:bodyPr rIns="216000"/>
          <a:lstStyle>
            <a:lvl1pPr>
              <a:defRPr sz="4000" spc="-93" baseline="0"/>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CC67EC9-3B77-8A4B-ACA1-DA3413F0189C}"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3" name="Text Placeholder 4">
            <a:extLst>
              <a:ext uri="{FF2B5EF4-FFF2-40B4-BE49-F238E27FC236}">
                <a16:creationId xmlns:a16="http://schemas.microsoft.com/office/drawing/2014/main" id="{1B36BF2C-DC48-8966-772A-4D05FAA4DBF6}"/>
              </a:ext>
            </a:extLst>
          </p:cNvPr>
          <p:cNvSpPr>
            <a:spLocks noGrp="1"/>
          </p:cNvSpPr>
          <p:nvPr>
            <p:ph type="body" sz="quarter" idx="16"/>
          </p:nvPr>
        </p:nvSpPr>
        <p:spPr>
          <a:xfrm>
            <a:off x="431800" y="1458384"/>
            <a:ext cx="7488000" cy="4705349"/>
          </a:xfrm>
        </p:spPr>
        <p:txBody>
          <a:bodyPr rIns="216000"/>
          <a:lstStyle>
            <a:lvl1pPr marL="457189" indent="-457189">
              <a:lnSpc>
                <a:spcPct val="95000"/>
              </a:lnSpc>
              <a:spcBef>
                <a:spcPts val="1333"/>
              </a:spcBef>
              <a:buFont typeface="+mj-lt"/>
              <a:buAutoNum type="arabicPeriod"/>
              <a:defRPr sz="2400" b="1"/>
            </a:lvl1pPr>
            <a:lvl2pPr marL="455989" indent="-455989">
              <a:spcBef>
                <a:spcPts val="0"/>
              </a:spcBef>
              <a:buFontTx/>
              <a:buBlip>
                <a:blip r:embed="rId3"/>
              </a:buBlip>
              <a:defRPr sz="1867"/>
            </a:lvl2pPr>
            <a:lvl3pPr marL="455989" indent="-455989">
              <a:spcBef>
                <a:spcPts val="0"/>
              </a:spcBef>
              <a:spcAft>
                <a:spcPts val="0"/>
              </a:spcAft>
              <a:buFontTx/>
              <a:buBlip>
                <a:blip r:embed="rId3"/>
              </a:buBlip>
              <a:defRPr>
                <a:solidFill>
                  <a:schemeClr val="tx1"/>
                </a:solidFill>
              </a:defRPr>
            </a:lvl3p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3269586980"/>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Agenda on image">
    <p:spTree>
      <p:nvGrpSpPr>
        <p:cNvPr id="1" name=""/>
        <p:cNvGrpSpPr/>
        <p:nvPr/>
      </p:nvGrpSpPr>
      <p:grpSpPr>
        <a:xfrm>
          <a:off x="0" y="0"/>
          <a:ext cx="0" cy="0"/>
          <a:chOff x="0" y="0"/>
          <a:chExt cx="0" cy="0"/>
        </a:xfrm>
      </p:grpSpPr>
      <p:sp>
        <p:nvSpPr>
          <p:cNvPr id="11" name="Background image">
            <a:extLst>
              <a:ext uri="{FF2B5EF4-FFF2-40B4-BE49-F238E27FC236}">
                <a16:creationId xmlns:a16="http://schemas.microsoft.com/office/drawing/2014/main" id="{7DE09709-4C7A-2B45-91B8-828515344C2F}"/>
              </a:ext>
            </a:extLst>
          </p:cNvPr>
          <p:cNvSpPr>
            <a:spLocks noGrp="1"/>
          </p:cNvSpPr>
          <p:nvPr>
            <p:ph type="pic" sz="quarter" idx="10" hasCustomPrompt="1"/>
          </p:nvPr>
        </p:nvSpPr>
        <p:spPr>
          <a:xfrm>
            <a:off x="239184" y="211667"/>
            <a:ext cx="11713763" cy="6242051"/>
          </a:xfrm>
          <a:blipFill dpi="0" rotWithShape="1">
            <a:blip r:embed="rId2"/>
            <a:srcRect/>
            <a:tile tx="0" ty="0" sx="100000" sy="100000" flip="none" algn="tl"/>
          </a:blipFill>
        </p:spPr>
        <p:txBody>
          <a:bodyPr/>
          <a:lstStyle>
            <a:lvl1pPr algn="r">
              <a:buNone/>
              <a:defRPr sz="1067">
                <a:solidFill>
                  <a:schemeClr val="bg1">
                    <a:lumMod val="75000"/>
                  </a:schemeClr>
                </a:solidFill>
              </a:defRPr>
            </a:lvl1pPr>
          </a:lstStyle>
          <a:p>
            <a:r>
              <a:rPr lang="en-GB" noProof="0"/>
              <a:t>Select placeholder and select Insert &gt; Pictures</a:t>
            </a:r>
          </a:p>
        </p:txBody>
      </p:sp>
      <p:sp>
        <p:nvSpPr>
          <p:cNvPr id="17" name="Title">
            <a:extLst>
              <a:ext uri="{FF2B5EF4-FFF2-40B4-BE49-F238E27FC236}">
                <a16:creationId xmlns:a16="http://schemas.microsoft.com/office/drawing/2014/main" id="{2A7B5CC4-3731-AB42-B5BE-731595BD8458}"/>
              </a:ext>
            </a:extLst>
          </p:cNvPr>
          <p:cNvSpPr>
            <a:spLocks noGrp="1"/>
          </p:cNvSpPr>
          <p:nvPr>
            <p:ph type="title" hasCustomPrompt="1"/>
          </p:nvPr>
        </p:nvSpPr>
        <p:spPr>
          <a:xfrm>
            <a:off x="431800" y="319167"/>
            <a:ext cx="7488765" cy="833711"/>
          </a:xfrm>
        </p:spPr>
        <p:txBody>
          <a:bodyPr rIns="216000"/>
          <a:lstStyle>
            <a:lvl1pPr>
              <a:defRPr sz="4000" spc="-93" baseline="0">
                <a:solidFill>
                  <a:schemeClr val="bg1"/>
                </a:solidFill>
              </a:defRPr>
            </a:lvl1pPr>
          </a:lstStyle>
          <a:p>
            <a:r>
              <a:rPr lang="en-GB"/>
              <a:t>Add agenda headline</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0E73DF25-FF51-854A-AD45-0FFADEA2A142}"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B10204F0-D72F-7C43-9047-C52F851EBA3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5" name="Text Placeholder 4">
            <a:extLst>
              <a:ext uri="{FF2B5EF4-FFF2-40B4-BE49-F238E27FC236}">
                <a16:creationId xmlns:a16="http://schemas.microsoft.com/office/drawing/2014/main" id="{B1706622-C08B-4BF2-03BE-8B82945901F9}"/>
              </a:ext>
            </a:extLst>
          </p:cNvPr>
          <p:cNvSpPr>
            <a:spLocks noGrp="1"/>
          </p:cNvSpPr>
          <p:nvPr>
            <p:ph type="body" sz="quarter" idx="16"/>
          </p:nvPr>
        </p:nvSpPr>
        <p:spPr>
          <a:xfrm>
            <a:off x="431800" y="1458384"/>
            <a:ext cx="7488000" cy="4705349"/>
          </a:xfrm>
        </p:spPr>
        <p:txBody>
          <a:bodyPr rIns="216000"/>
          <a:lstStyle>
            <a:lvl1pPr marL="457189" indent="-457189">
              <a:lnSpc>
                <a:spcPct val="95000"/>
              </a:lnSpc>
              <a:spcBef>
                <a:spcPts val="1333"/>
              </a:spcBef>
              <a:buFont typeface="+mj-lt"/>
              <a:buAutoNum type="arabicPeriod"/>
              <a:defRPr sz="2400" b="1">
                <a:solidFill>
                  <a:schemeClr val="bg1"/>
                </a:solidFill>
              </a:defRPr>
            </a:lvl1pPr>
            <a:lvl2pPr marL="455989" indent="-455989">
              <a:spcBef>
                <a:spcPts val="0"/>
              </a:spcBef>
              <a:buFontTx/>
              <a:buBlip>
                <a:blip r:embed="rId3"/>
              </a:buBlip>
              <a:defRPr sz="1867">
                <a:solidFill>
                  <a:schemeClr val="bg1"/>
                </a:solidFill>
              </a:defRPr>
            </a:lvl2pPr>
            <a:lvl3pPr marL="455989" indent="-455989">
              <a:spcBef>
                <a:spcPts val="0"/>
              </a:spcBef>
              <a:spcAft>
                <a:spcPts val="0"/>
              </a:spcAft>
              <a:buFontTx/>
              <a:buBlip>
                <a:blip r:embed="rId3"/>
              </a:buBlip>
              <a:defRPr>
                <a:solidFill>
                  <a:schemeClr val="bg1"/>
                </a:solidFill>
              </a:defRPr>
            </a:lvl3p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383330862"/>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hapter divider">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4" y="211667"/>
            <a:ext cx="11713763" cy="6242051"/>
          </a:xfrm>
          <a:blipFill dpi="0" rotWithShape="1">
            <a:blip r:embed="rId2"/>
            <a:srcRect/>
            <a:tile tx="0" ty="0" sx="100000" sy="100000" flip="none" algn="tl"/>
          </a:blipFill>
        </p:spPr>
        <p:txBody>
          <a:bodyPr/>
          <a:lstStyle>
            <a:lvl1pPr algn="r">
              <a:buNone/>
              <a:defRPr sz="1067">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2351618" y="368302"/>
            <a:ext cx="7488767" cy="369332"/>
          </a:xfrm>
        </p:spPr>
        <p:txBody>
          <a:bodyPr lIns="216000" rIns="216000" anchor="t"/>
          <a:lstStyle>
            <a:lvl1pPr marL="4233" indent="-4233" algn="ctr">
              <a:buNone/>
              <a:tabLst/>
              <a:defRPr sz="16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2C797527-51E3-3340-BA7E-FE8930AD0020}"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95234386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Chapter divider Video">
    <p:spTree>
      <p:nvGrpSpPr>
        <p:cNvPr id="1" name=""/>
        <p:cNvGrpSpPr/>
        <p:nvPr/>
      </p:nvGrpSpPr>
      <p:grpSpPr>
        <a:xfrm>
          <a:off x="0" y="0"/>
          <a:ext cx="0" cy="0"/>
          <a:chOff x="0" y="0"/>
          <a:chExt cx="0" cy="0"/>
        </a:xfrm>
      </p:grpSpPr>
      <p:sp>
        <p:nvSpPr>
          <p:cNvPr id="6" name="Video placeholder">
            <a:extLst>
              <a:ext uri="{FF2B5EF4-FFF2-40B4-BE49-F238E27FC236}">
                <a16:creationId xmlns:a16="http://schemas.microsoft.com/office/drawing/2014/main" id="{AFA9E759-54BF-ABD9-0FCE-C361BE6D8AAD}"/>
              </a:ext>
            </a:extLst>
          </p:cNvPr>
          <p:cNvSpPr>
            <a:spLocks noGrp="1"/>
          </p:cNvSpPr>
          <p:nvPr>
            <p:ph type="media" sz="quarter" idx="11" hasCustomPrompt="1"/>
          </p:nvPr>
        </p:nvSpPr>
        <p:spPr>
          <a:xfrm>
            <a:off x="-43935" y="-24714"/>
            <a:ext cx="12279869" cy="6907427"/>
          </a:xfrm>
          <a:custGeom>
            <a:avLst/>
            <a:gdLst>
              <a:gd name="connsiteX0" fmla="*/ 212339 w 9209902"/>
              <a:gd name="connsiteY0" fmla="*/ 177285 h 5180570"/>
              <a:gd name="connsiteX1" fmla="*/ 8997562 w 9209902"/>
              <a:gd name="connsiteY1" fmla="*/ 177285 h 5180570"/>
              <a:gd name="connsiteX2" fmla="*/ 8997562 w 9209902"/>
              <a:gd name="connsiteY2" fmla="*/ 4858824 h 5180570"/>
              <a:gd name="connsiteX3" fmla="*/ 212339 w 9209902"/>
              <a:gd name="connsiteY3" fmla="*/ 4858824 h 5180570"/>
              <a:gd name="connsiteX4" fmla="*/ 32951 w 9209902"/>
              <a:gd name="connsiteY4" fmla="*/ 18535 h 5180570"/>
              <a:gd name="connsiteX5" fmla="*/ 32951 w 9209902"/>
              <a:gd name="connsiteY5" fmla="*/ 5162034 h 5180570"/>
              <a:gd name="connsiteX6" fmla="*/ 143236 w 9209902"/>
              <a:gd name="connsiteY6" fmla="*/ 5162034 h 5180570"/>
              <a:gd name="connsiteX7" fmla="*/ 143236 w 9209902"/>
              <a:gd name="connsiteY7" fmla="*/ 5162035 h 5180570"/>
              <a:gd name="connsiteX8" fmla="*/ 9151553 w 9209902"/>
              <a:gd name="connsiteY8" fmla="*/ 5162035 h 5180570"/>
              <a:gd name="connsiteX9" fmla="*/ 9176951 w 9209902"/>
              <a:gd name="connsiteY9" fmla="*/ 5162035 h 5180570"/>
              <a:gd name="connsiteX10" fmla="*/ 9176951 w 9209902"/>
              <a:gd name="connsiteY10" fmla="*/ 18535 h 5180570"/>
              <a:gd name="connsiteX11" fmla="*/ 8997562 w 9209902"/>
              <a:gd name="connsiteY11" fmla="*/ 18535 h 5180570"/>
              <a:gd name="connsiteX12" fmla="*/ 143237 w 9209902"/>
              <a:gd name="connsiteY12" fmla="*/ 18535 h 5180570"/>
              <a:gd name="connsiteX13" fmla="*/ 0 w 9209902"/>
              <a:gd name="connsiteY13" fmla="*/ 0 h 5180570"/>
              <a:gd name="connsiteX14" fmla="*/ 9209902 w 9209902"/>
              <a:gd name="connsiteY14" fmla="*/ 0 h 5180570"/>
              <a:gd name="connsiteX15" fmla="*/ 9209902 w 9209902"/>
              <a:gd name="connsiteY15" fmla="*/ 5180570 h 5180570"/>
              <a:gd name="connsiteX16" fmla="*/ 0 w 9209902"/>
              <a:gd name="connsiteY16" fmla="*/ 5180570 h 518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9902" h="5180570">
                <a:moveTo>
                  <a:pt x="212339" y="177285"/>
                </a:moveTo>
                <a:lnTo>
                  <a:pt x="8997562" y="177285"/>
                </a:lnTo>
                <a:lnTo>
                  <a:pt x="8997562" y="4858824"/>
                </a:lnTo>
                <a:lnTo>
                  <a:pt x="212339" y="4858824"/>
                </a:lnTo>
                <a:close/>
                <a:moveTo>
                  <a:pt x="32951" y="18535"/>
                </a:moveTo>
                <a:lnTo>
                  <a:pt x="32951" y="5162034"/>
                </a:lnTo>
                <a:lnTo>
                  <a:pt x="143236" y="5162034"/>
                </a:lnTo>
                <a:lnTo>
                  <a:pt x="143236" y="5162035"/>
                </a:lnTo>
                <a:lnTo>
                  <a:pt x="9151553" y="5162035"/>
                </a:lnTo>
                <a:lnTo>
                  <a:pt x="9176951" y="5162035"/>
                </a:lnTo>
                <a:lnTo>
                  <a:pt x="9176951" y="18535"/>
                </a:lnTo>
                <a:lnTo>
                  <a:pt x="8997562" y="18535"/>
                </a:lnTo>
                <a:lnTo>
                  <a:pt x="143237" y="18535"/>
                </a:lnTo>
                <a:close/>
                <a:moveTo>
                  <a:pt x="0" y="0"/>
                </a:moveTo>
                <a:lnTo>
                  <a:pt x="9209902" y="0"/>
                </a:lnTo>
                <a:lnTo>
                  <a:pt x="9209902" y="5180570"/>
                </a:lnTo>
                <a:lnTo>
                  <a:pt x="0" y="5180570"/>
                </a:lnTo>
                <a:close/>
              </a:path>
            </a:pathLst>
          </a:custGeom>
          <a:blipFill dpi="0" rotWithShape="1">
            <a:blip r:embed="rId2"/>
            <a:srcRect/>
            <a:tile tx="0" ty="0" sx="100000" sy="100000" flip="none" algn="tl"/>
          </a:blipFill>
        </p:spPr>
        <p:txBody>
          <a:bodyPr vert="horz" wrap="square" lIns="90000" tIns="251999" rIns="90000" bIns="45720" rtlCol="0">
            <a:noAutofit/>
          </a:bodyPr>
          <a:lstStyle>
            <a:lvl1pPr marL="0" indent="0" algn="ctr">
              <a:buNone/>
              <a:defRPr lang="en-GB" sz="1067" noProof="0" dirty="0">
                <a:solidFill>
                  <a:schemeClr val="bg1">
                    <a:lumMod val="75000"/>
                  </a:schemeClr>
                </a:solidFill>
              </a:defRPr>
            </a:lvl1pPr>
          </a:lstStyle>
          <a:p>
            <a:pPr marL="228594" lvl="0" indent="-228594" algn="ctr"/>
            <a:r>
              <a:rPr lang="en-GB" noProof="0"/>
              <a:t>Select placeholder and select Insert &gt; Insert Video from this device</a:t>
            </a:r>
          </a:p>
        </p:txBody>
      </p:sp>
      <p:sp>
        <p:nvSpPr>
          <p:cNvPr id="8" name="Title">
            <a:extLst>
              <a:ext uri="{FF2B5EF4-FFF2-40B4-BE49-F238E27FC236}">
                <a16:creationId xmlns:a16="http://schemas.microsoft.com/office/drawing/2014/main" id="{D0286019-1596-CC4C-95F2-E2F7E54FE89D}"/>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bg1"/>
                </a:solidFill>
              </a:defRPr>
            </a:lvl1pPr>
          </a:lstStyle>
          <a:p>
            <a:r>
              <a:rPr lang="en-GB" noProof="0"/>
              <a:t>Click to add chapter </a:t>
            </a:r>
            <a:br>
              <a:rPr lang="en-GB" noProof="0"/>
            </a:br>
            <a:r>
              <a:rPr lang="en-GB" noProof="0"/>
              <a:t>or divider text</a:t>
            </a:r>
          </a:p>
        </p:txBody>
      </p:sp>
      <p:sp>
        <p:nvSpPr>
          <p:cNvPr id="30" name="Navigation">
            <a:extLst>
              <a:ext uri="{FF2B5EF4-FFF2-40B4-BE49-F238E27FC236}">
                <a16:creationId xmlns:a16="http://schemas.microsoft.com/office/drawing/2014/main" id="{E89B3305-CD61-6F45-85AE-0AF738D56906}"/>
              </a:ext>
            </a:extLst>
          </p:cNvPr>
          <p:cNvSpPr>
            <a:spLocks noGrp="1"/>
          </p:cNvSpPr>
          <p:nvPr>
            <p:ph type="body" sz="quarter" idx="14" hasCustomPrompt="1"/>
          </p:nvPr>
        </p:nvSpPr>
        <p:spPr>
          <a:xfrm>
            <a:off x="2351618" y="368302"/>
            <a:ext cx="7488767" cy="369332"/>
          </a:xfrm>
        </p:spPr>
        <p:txBody>
          <a:bodyPr lIns="216000" rIns="216000" anchor="t"/>
          <a:lstStyle>
            <a:lvl1pPr marL="4233" indent="-4233" algn="ctr">
              <a:buNone/>
              <a:tabLst/>
              <a:defRPr sz="16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2C797527-51E3-3340-BA7E-FE8930AD0020}"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9" name="Footer">
            <a:extLst>
              <a:ext uri="{FF2B5EF4-FFF2-40B4-BE49-F238E27FC236}">
                <a16:creationId xmlns:a16="http://schemas.microsoft.com/office/drawing/2014/main" id="{8C9F6B2B-126D-5341-B841-385A749EDBFF}"/>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975259106"/>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4 Statement/Insight">
    <p:bg>
      <p:bgPr>
        <a:solidFill>
          <a:schemeClr val="bg2"/>
        </a:solidFill>
        <a:effectLst/>
      </p:bgPr>
    </p:bg>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tx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D966C99-A8F4-EE49-AA84-FA7F0242F070}"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8" name="Footer">
            <a:extLst>
              <a:ext uri="{FF2B5EF4-FFF2-40B4-BE49-F238E27FC236}">
                <a16:creationId xmlns:a16="http://schemas.microsoft.com/office/drawing/2014/main" id="{F76D3661-5BD5-6848-A702-AC0A276D4C4A}"/>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55180201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 Statement/Insight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4" y="211667"/>
            <a:ext cx="1171376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Select placeholder and select Insert &gt; Pictures</a:t>
            </a:r>
          </a:p>
        </p:txBody>
      </p:sp>
      <p:sp>
        <p:nvSpPr>
          <p:cNvPr id="7" name="Title">
            <a:extLst>
              <a:ext uri="{FF2B5EF4-FFF2-40B4-BE49-F238E27FC236}">
                <a16:creationId xmlns:a16="http://schemas.microsoft.com/office/drawing/2014/main" id="{A55878FD-9E3E-1D42-8830-1CCBED7F67BF}"/>
              </a:ext>
            </a:extLst>
          </p:cNvPr>
          <p:cNvSpPr>
            <a:spLocks noGrp="1"/>
          </p:cNvSpPr>
          <p:nvPr>
            <p:ph type="title" hasCustomPrompt="1"/>
          </p:nvPr>
        </p:nvSpPr>
        <p:spPr>
          <a:xfrm>
            <a:off x="432000" y="2293103"/>
            <a:ext cx="11328000" cy="2081296"/>
          </a:xfrm>
        </p:spPr>
        <p:txBody>
          <a:bodyPr lIns="216000" rIns="216000" anchor="ctr"/>
          <a:lstStyle>
            <a:lvl1pPr algn="ctr">
              <a:defRPr sz="5867">
                <a:solidFill>
                  <a:schemeClr val="bg1"/>
                </a:solidFill>
              </a:defRPr>
            </a:lvl1pPr>
          </a:lstStyle>
          <a:p>
            <a:r>
              <a:rPr lang="en-GB" noProof="0"/>
              <a:t>Click to add statement </a:t>
            </a:r>
            <a:br>
              <a:rPr lang="en-GB" noProof="0"/>
            </a:br>
            <a:r>
              <a:rPr lang="en-GB" noProof="0"/>
              <a:t>or insight</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E9802B5-07D7-E44F-919C-B3DDEE2DA9AA}"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9" name="Footer">
            <a:extLst>
              <a:ext uri="{FF2B5EF4-FFF2-40B4-BE49-F238E27FC236}">
                <a16:creationId xmlns:a16="http://schemas.microsoft.com/office/drawing/2014/main" id="{3AFBD1D1-32D7-814D-842E-EBEF1C14001E}"/>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076357441"/>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 Quote image">
    <p:spTree>
      <p:nvGrpSpPr>
        <p:cNvPr id="1" name=""/>
        <p:cNvGrpSpPr/>
        <p:nvPr/>
      </p:nvGrpSpPr>
      <p:grpSpPr>
        <a:xfrm>
          <a:off x="0" y="0"/>
          <a:ext cx="0" cy="0"/>
          <a:chOff x="0" y="0"/>
          <a:chExt cx="0" cy="0"/>
        </a:xfrm>
      </p:grpSpPr>
      <p:sp>
        <p:nvSpPr>
          <p:cNvPr id="33" name="Background image">
            <a:extLst>
              <a:ext uri="{FF2B5EF4-FFF2-40B4-BE49-F238E27FC236}">
                <a16:creationId xmlns:a16="http://schemas.microsoft.com/office/drawing/2014/main" id="{99FB47D4-AFE7-B043-97C1-A69890F347EC}"/>
              </a:ext>
            </a:extLst>
          </p:cNvPr>
          <p:cNvSpPr>
            <a:spLocks noGrp="1"/>
          </p:cNvSpPr>
          <p:nvPr>
            <p:ph type="pic" sz="quarter" idx="10" hasCustomPrompt="1"/>
          </p:nvPr>
        </p:nvSpPr>
        <p:spPr>
          <a:xfrm>
            <a:off x="239184" y="211667"/>
            <a:ext cx="11713763" cy="6242051"/>
          </a:xfrm>
          <a:custGeom>
            <a:avLst/>
            <a:gdLst/>
            <a:ahLst/>
            <a:cxnLst/>
            <a:rect l="l" t="t" r="r" b="b"/>
            <a:pathLst>
              <a:path w="8785322" h="4681538">
                <a:moveTo>
                  <a:pt x="8379260" y="3874916"/>
                </a:moveTo>
                <a:lnTo>
                  <a:pt x="8379260" y="4136296"/>
                </a:lnTo>
                <a:lnTo>
                  <a:pt x="8504834" y="4136296"/>
                </a:lnTo>
                <a:cubicBezTo>
                  <a:pt x="8504214" y="4187766"/>
                  <a:pt x="8492586" y="4229003"/>
                  <a:pt x="8469952" y="4260009"/>
                </a:cubicBezTo>
                <a:cubicBezTo>
                  <a:pt x="8447318" y="4291015"/>
                  <a:pt x="8409956" y="4315200"/>
                  <a:pt x="8357866" y="4332563"/>
                </a:cubicBezTo>
                <a:lnTo>
                  <a:pt x="8409026" y="4441394"/>
                </a:lnTo>
                <a:cubicBezTo>
                  <a:pt x="8464216" y="4421550"/>
                  <a:pt x="8509950" y="4394110"/>
                  <a:pt x="8546226" y="4359073"/>
                </a:cubicBezTo>
                <a:cubicBezTo>
                  <a:pt x="8582503" y="4324036"/>
                  <a:pt x="8607308" y="4284814"/>
                  <a:pt x="8620640" y="4241406"/>
                </a:cubicBezTo>
                <a:cubicBezTo>
                  <a:pt x="8633973" y="4197998"/>
                  <a:pt x="8640639" y="4138466"/>
                  <a:pt x="8640639" y="4062812"/>
                </a:cubicBezTo>
                <a:lnTo>
                  <a:pt x="8640639" y="3874916"/>
                </a:lnTo>
                <a:close/>
                <a:moveTo>
                  <a:pt x="7940217" y="3874916"/>
                </a:moveTo>
                <a:lnTo>
                  <a:pt x="7940217" y="4136296"/>
                </a:lnTo>
                <a:lnTo>
                  <a:pt x="8066721" y="4136296"/>
                </a:lnTo>
                <a:cubicBezTo>
                  <a:pt x="8065481" y="4187766"/>
                  <a:pt x="8053699" y="4229003"/>
                  <a:pt x="8031374" y="4260009"/>
                </a:cubicBezTo>
                <a:cubicBezTo>
                  <a:pt x="8009050" y="4291015"/>
                  <a:pt x="7971533" y="4315200"/>
                  <a:pt x="7918823" y="4332563"/>
                </a:cubicBezTo>
                <a:lnTo>
                  <a:pt x="7969983" y="4441394"/>
                </a:lnTo>
                <a:cubicBezTo>
                  <a:pt x="8025793" y="4421550"/>
                  <a:pt x="8071837" y="4394110"/>
                  <a:pt x="8108114" y="4359073"/>
                </a:cubicBezTo>
                <a:cubicBezTo>
                  <a:pt x="8144391" y="4324036"/>
                  <a:pt x="8169040" y="4284814"/>
                  <a:pt x="8182063" y="4241406"/>
                </a:cubicBezTo>
                <a:cubicBezTo>
                  <a:pt x="8195085" y="4197998"/>
                  <a:pt x="8201597" y="4138466"/>
                  <a:pt x="8201597" y="4062812"/>
                </a:cubicBezTo>
                <a:lnTo>
                  <a:pt x="8201597" y="3874916"/>
                </a:lnTo>
                <a:close/>
                <a:moveTo>
                  <a:pt x="816817" y="173144"/>
                </a:moveTo>
                <a:cubicBezTo>
                  <a:pt x="761626" y="192988"/>
                  <a:pt x="715893" y="220273"/>
                  <a:pt x="679616" y="254999"/>
                </a:cubicBezTo>
                <a:cubicBezTo>
                  <a:pt x="643339" y="289726"/>
                  <a:pt x="618534" y="328793"/>
                  <a:pt x="605202" y="372202"/>
                </a:cubicBezTo>
                <a:cubicBezTo>
                  <a:pt x="591869" y="415610"/>
                  <a:pt x="585203" y="475451"/>
                  <a:pt x="585203" y="551726"/>
                </a:cubicBezTo>
                <a:lnTo>
                  <a:pt x="585203" y="738691"/>
                </a:lnTo>
                <a:lnTo>
                  <a:pt x="846582" y="738691"/>
                </a:lnTo>
                <a:lnTo>
                  <a:pt x="846582" y="477311"/>
                </a:lnTo>
                <a:lnTo>
                  <a:pt x="720078" y="477311"/>
                </a:lnTo>
                <a:cubicBezTo>
                  <a:pt x="721319" y="425842"/>
                  <a:pt x="733256" y="384604"/>
                  <a:pt x="755890" y="353598"/>
                </a:cubicBezTo>
                <a:cubicBezTo>
                  <a:pt x="778524" y="322592"/>
                  <a:pt x="815887" y="298408"/>
                  <a:pt x="867976" y="281044"/>
                </a:cubicBezTo>
                <a:close/>
                <a:moveTo>
                  <a:pt x="380564" y="173144"/>
                </a:moveTo>
                <a:cubicBezTo>
                  <a:pt x="324754" y="192988"/>
                  <a:pt x="278865" y="220273"/>
                  <a:pt x="242898" y="254999"/>
                </a:cubicBezTo>
                <a:cubicBezTo>
                  <a:pt x="206931" y="289726"/>
                  <a:pt x="182282" y="328948"/>
                  <a:pt x="168949" y="372667"/>
                </a:cubicBezTo>
                <a:cubicBezTo>
                  <a:pt x="155617" y="416385"/>
                  <a:pt x="148950" y="476071"/>
                  <a:pt x="148950" y="551726"/>
                </a:cubicBezTo>
                <a:lnTo>
                  <a:pt x="148950" y="738691"/>
                </a:lnTo>
                <a:lnTo>
                  <a:pt x="410330" y="738691"/>
                </a:lnTo>
                <a:lnTo>
                  <a:pt x="410330" y="477311"/>
                </a:lnTo>
                <a:lnTo>
                  <a:pt x="283826" y="477311"/>
                </a:lnTo>
                <a:cubicBezTo>
                  <a:pt x="285066" y="425842"/>
                  <a:pt x="297003" y="384604"/>
                  <a:pt x="319638" y="353598"/>
                </a:cubicBezTo>
                <a:cubicBezTo>
                  <a:pt x="342272" y="322592"/>
                  <a:pt x="379634" y="298408"/>
                  <a:pt x="431724" y="281044"/>
                </a:cubicBezTo>
                <a:close/>
                <a:moveTo>
                  <a:pt x="0" y="0"/>
                </a:moveTo>
                <a:lnTo>
                  <a:pt x="8785322" y="0"/>
                </a:lnTo>
                <a:lnTo>
                  <a:pt x="8785322" y="4681538"/>
                </a:lnTo>
                <a:lnTo>
                  <a:pt x="0" y="4681538"/>
                </a:lnTo>
                <a:close/>
              </a:path>
            </a:pathLst>
          </a:custGeom>
          <a:blipFill>
            <a:blip r:embed="rId2"/>
            <a:tile tx="0" ty="0" sx="100000" sy="100000" flip="none" algn="tl"/>
          </a:blipFill>
        </p:spPr>
        <p:txBody>
          <a:bodyPr wrap="square">
            <a:noAutofit/>
          </a:bodyPr>
          <a:lstStyle>
            <a:lvl1pPr algn="ctr">
              <a:buNone/>
              <a:defRPr sz="1067">
                <a:solidFill>
                  <a:schemeClr val="bg1">
                    <a:lumMod val="75000"/>
                  </a:schemeClr>
                </a:solidFill>
              </a:defRPr>
            </a:lvl1pPr>
          </a:lstStyle>
          <a:p>
            <a:r>
              <a:rPr lang="en-GB" noProof="0"/>
              <a:t>Select placeholder and select Insert &gt; Pictures</a:t>
            </a:r>
          </a:p>
        </p:txBody>
      </p:sp>
      <p:sp>
        <p:nvSpPr>
          <p:cNvPr id="8" name="Title">
            <a:extLst>
              <a:ext uri="{FF2B5EF4-FFF2-40B4-BE49-F238E27FC236}">
                <a16:creationId xmlns:a16="http://schemas.microsoft.com/office/drawing/2014/main" id="{2AF8C6B0-2A99-6F45-B536-0E0C728FB39E}"/>
              </a:ext>
            </a:extLst>
          </p:cNvPr>
          <p:cNvSpPr>
            <a:spLocks noGrp="1"/>
          </p:cNvSpPr>
          <p:nvPr>
            <p:ph type="title" hasCustomPrompt="1"/>
          </p:nvPr>
        </p:nvSpPr>
        <p:spPr>
          <a:xfrm>
            <a:off x="432000" y="1374680"/>
            <a:ext cx="11328000" cy="3916024"/>
          </a:xfrm>
        </p:spPr>
        <p:txBody>
          <a:bodyPr lIns="216000" rIns="216000" anchor="ctr"/>
          <a:lstStyle>
            <a:lvl1pPr algn="ctr">
              <a:defRPr sz="5867">
                <a:solidFill>
                  <a:schemeClr val="bg1"/>
                </a:solidFill>
              </a:defRPr>
            </a:lvl1pPr>
          </a:lstStyle>
          <a:p>
            <a:r>
              <a:rPr lang="en-GB" noProof="0"/>
              <a:t>Click to add inspiring quote</a:t>
            </a:r>
          </a:p>
        </p:txBody>
      </p:sp>
      <p:sp>
        <p:nvSpPr>
          <p:cNvPr id="29" name="Text">
            <a:extLst>
              <a:ext uri="{FF2B5EF4-FFF2-40B4-BE49-F238E27FC236}">
                <a16:creationId xmlns:a16="http://schemas.microsoft.com/office/drawing/2014/main" id="{0752070A-41E1-7D46-9FFE-B3EB4F12E077}"/>
              </a:ext>
            </a:extLst>
          </p:cNvPr>
          <p:cNvSpPr>
            <a:spLocks noGrp="1"/>
          </p:cNvSpPr>
          <p:nvPr>
            <p:ph type="body" sz="quarter" idx="11" hasCustomPrompt="1"/>
          </p:nvPr>
        </p:nvSpPr>
        <p:spPr>
          <a:xfrm>
            <a:off x="4271434" y="5282369"/>
            <a:ext cx="3649133" cy="989715"/>
          </a:xfrm>
        </p:spPr>
        <p:txBody>
          <a:bodyPr anchor="t"/>
          <a:lstStyle>
            <a:lvl1pPr marL="0" indent="-16933" algn="ctr">
              <a:lnSpc>
                <a:spcPct val="95000"/>
              </a:lnSpc>
              <a:spcBef>
                <a:spcPts val="0"/>
              </a:spcBef>
              <a:buNone/>
              <a:tabLst/>
              <a:defRPr b="1" spc="0" baseline="0">
                <a:solidFill>
                  <a:schemeClr val="bg1"/>
                </a:solidFill>
              </a:defRPr>
            </a:lvl1pPr>
          </a:lstStyle>
          <a:p>
            <a:pPr lvl="0"/>
            <a:r>
              <a:rPr lang="en-GB" noProof="0"/>
              <a:t>– Source of quot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EEFF717F-A034-C443-8663-DDEF0A1995EC}"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9" name="Footer">
            <a:extLst>
              <a:ext uri="{FF2B5EF4-FFF2-40B4-BE49-F238E27FC236}">
                <a16:creationId xmlns:a16="http://schemas.microsoft.com/office/drawing/2014/main" id="{D235B6C8-FB19-4544-A8A8-260345B89FFC}"/>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9048662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46B149-EE35-5F76-5302-E64A76A85984}"/>
              </a:ext>
            </a:extLst>
          </p:cNvPr>
          <p:cNvSpPr/>
          <p:nvPr/>
        </p:nvSpPr>
        <p:spPr>
          <a:xfrm>
            <a:off x="5999692"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191252" y="211667"/>
            <a:ext cx="5761696"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1"/>
            <a:ext cx="5568951" cy="2111489"/>
          </a:xfrm>
        </p:spPr>
        <p:txBody>
          <a:bodyPr rIns="216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a:p>
            <a:pPr lvl="0"/>
            <a:endParaRPr lang="en-GB" noProof="0"/>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4"/>
            <a:ext cx="5568949" cy="3476227"/>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3AD7647E-A4FC-D74C-B420-CF22E5D9DB0D}"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F273896-B1DA-2A4A-9AEB-368D26B986D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28044630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 Text and Smal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31C907-1832-6462-0053-4E9B38292362}"/>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8113184" y="211667"/>
            <a:ext cx="3839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a:p>
            <a:endParaRPr lang="en-GB"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0" y="700800"/>
            <a:ext cx="7488768" cy="1997752"/>
          </a:xfrm>
        </p:spPr>
        <p:txBody>
          <a:bodyPr rIns="216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3"/>
            <a:ext cx="7488767" cy="332499"/>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1" y="2804585"/>
            <a:ext cx="3647016"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2">
            <a:extLst>
              <a:ext uri="{FF2B5EF4-FFF2-40B4-BE49-F238E27FC236}">
                <a16:creationId xmlns:a16="http://schemas.microsoft.com/office/drawing/2014/main" id="{0FB76FD9-59CC-F342-90A0-4CBDA20D19ED}"/>
              </a:ext>
            </a:extLst>
          </p:cNvPr>
          <p:cNvSpPr>
            <a:spLocks noGrp="1"/>
          </p:cNvSpPr>
          <p:nvPr>
            <p:ph type="body" sz="quarter" idx="16" hasCustomPrompt="1"/>
          </p:nvPr>
        </p:nvSpPr>
        <p:spPr>
          <a:xfrm>
            <a:off x="4272492" y="2804585"/>
            <a:ext cx="3648075"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829AD6F-558B-A445-9312-F68DDBA1B105}"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1" name="Footer">
            <a:extLst>
              <a:ext uri="{FF2B5EF4-FFF2-40B4-BE49-F238E27FC236}">
                <a16:creationId xmlns:a16="http://schemas.microsoft.com/office/drawing/2014/main" id="{82519C75-0594-8F47-9542-99B135CAA319}"/>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825411354"/>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 Text on background image">
    <p:spTree>
      <p:nvGrpSpPr>
        <p:cNvPr id="1" name=""/>
        <p:cNvGrpSpPr/>
        <p:nvPr/>
      </p:nvGrpSpPr>
      <p:grpSpPr>
        <a:xfrm>
          <a:off x="0" y="0"/>
          <a:ext cx="0" cy="0"/>
          <a:chOff x="0" y="0"/>
          <a:chExt cx="0" cy="0"/>
        </a:xfrm>
      </p:grpSpPr>
      <p:sp>
        <p:nvSpPr>
          <p:cNvPr id="4" name="Background 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239185" y="211667"/>
            <a:ext cx="117136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1" y="700800"/>
            <a:ext cx="5568951" cy="1997752"/>
          </a:xfrm>
        </p:spPr>
        <p:txBody>
          <a:bodyPr rIns="216000"/>
          <a:lstStyle>
            <a:lvl1pPr>
              <a:defRPr sz="4000" spc="-67" baseline="0">
                <a:solidFill>
                  <a:schemeClr val="bg1"/>
                </a:solidFill>
              </a:defRPr>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216000"/>
          <a:lstStyle>
            <a:lvl1pPr>
              <a:defRPr sz="1867">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B6B46DB5-92F3-6A45-893B-773A2BCCFD1B}"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5CA8B606-3188-9643-98F0-31B8738AF06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9275334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08CF70-B0FD-7287-03D9-090A3D7E90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9FFE22D-C61C-553C-9DA0-13635B5671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185EB8F-44E4-B178-25F3-2EE7C6E675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C5E232-4A83-3A52-580F-8054EEE6A4A2}"/>
              </a:ext>
            </a:extLst>
          </p:cNvPr>
          <p:cNvSpPr>
            <a:spLocks noGrp="1"/>
          </p:cNvSpPr>
          <p:nvPr>
            <p:ph type="dt" sz="half" idx="10"/>
          </p:nvPr>
        </p:nvSpPr>
        <p:spPr/>
        <p:txBody>
          <a:bodyPr/>
          <a:lstStyle/>
          <a:p>
            <a:fld id="{A0F75E7B-13D7-4622-8664-DDAED784DC53}" type="datetimeFigureOut">
              <a:rPr lang="en-US" smtClean="0"/>
              <a:t>4/7/2025</a:t>
            </a:fld>
            <a:endParaRPr lang="en-US"/>
          </a:p>
        </p:txBody>
      </p:sp>
      <p:sp>
        <p:nvSpPr>
          <p:cNvPr id="6" name="Footer Placeholder 5">
            <a:extLst>
              <a:ext uri="{FF2B5EF4-FFF2-40B4-BE49-F238E27FC236}">
                <a16:creationId xmlns:a16="http://schemas.microsoft.com/office/drawing/2014/main" id="{10E3F141-B865-199D-F8D0-48B4A8546C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3AC407-4F4B-3736-BB43-5355251436F0}"/>
              </a:ext>
            </a:extLst>
          </p:cNvPr>
          <p:cNvSpPr>
            <a:spLocks noGrp="1"/>
          </p:cNvSpPr>
          <p:nvPr>
            <p:ph type="sldNum" sz="quarter" idx="12"/>
          </p:nvPr>
        </p:nvSpPr>
        <p:spPr/>
        <p:txBody>
          <a:bodyPr/>
          <a:lstStyle/>
          <a:p>
            <a:fld id="{60A6AF82-6B75-4596-941D-0DB3790BA3C8}" type="slidenum">
              <a:rPr lang="en-US" smtClean="0"/>
              <a:t>‹#›</a:t>
            </a:fld>
            <a:endParaRPr lang="en-US"/>
          </a:p>
        </p:txBody>
      </p:sp>
    </p:spTree>
    <p:extLst>
      <p:ext uri="{BB962C8B-B14F-4D97-AF65-F5344CB8AC3E}">
        <p14:creationId xmlns:p14="http://schemas.microsoft.com/office/powerpoint/2010/main" val="33494718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 Large image small text">
    <p:bg>
      <p:bgPr>
        <a:solidFill>
          <a:srgbClr val="EBF2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3BCD082-6D86-921B-1F86-51388796B050}"/>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3" name="Image">
            <a:extLst>
              <a:ext uri="{FF2B5EF4-FFF2-40B4-BE49-F238E27FC236}">
                <a16:creationId xmlns:a16="http://schemas.microsoft.com/office/drawing/2014/main" id="{25798999-2A1E-2547-A8D5-4373B7132ADB}"/>
              </a:ext>
            </a:extLst>
          </p:cNvPr>
          <p:cNvSpPr>
            <a:spLocks noGrp="1"/>
          </p:cNvSpPr>
          <p:nvPr>
            <p:ph type="pic" sz="quarter" idx="10" hasCustomPrompt="1"/>
          </p:nvPr>
        </p:nvSpPr>
        <p:spPr>
          <a:xfrm>
            <a:off x="239185" y="211667"/>
            <a:ext cx="768138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1" name="Date">
            <a:extLst>
              <a:ext uri="{FF2B5EF4-FFF2-40B4-BE49-F238E27FC236}">
                <a16:creationId xmlns:a16="http://schemas.microsoft.com/office/drawing/2014/main" id="{38CA3AD7-12F8-9F43-820D-33071C26D41A}"/>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9D3DD5F2-81EE-7B4A-B5AD-2DE5A4458439}" type="datetime1">
              <a:rPr lang="sv-SE" noProof="0" smtClean="0"/>
              <a:t>2025-04-07</a:t>
            </a:fld>
            <a:endParaRPr lang="en-GB" noProof="0"/>
          </a:p>
        </p:txBody>
      </p:sp>
      <p:sp>
        <p:nvSpPr>
          <p:cNvPr id="12" name="Number">
            <a:extLst>
              <a:ext uri="{FF2B5EF4-FFF2-40B4-BE49-F238E27FC236}">
                <a16:creationId xmlns:a16="http://schemas.microsoft.com/office/drawing/2014/main" id="{DFED6C3B-4A73-344C-A9A5-F8224178884F}"/>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4" name="Footer">
            <a:extLst>
              <a:ext uri="{FF2B5EF4-FFF2-40B4-BE49-F238E27FC236}">
                <a16:creationId xmlns:a16="http://schemas.microsoft.com/office/drawing/2014/main" id="{373FE5A1-132B-B247-9BF4-ED02DBE7E9C2}"/>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8" name="Title">
            <a:extLst>
              <a:ext uri="{FF2B5EF4-FFF2-40B4-BE49-F238E27FC236}">
                <a16:creationId xmlns:a16="http://schemas.microsoft.com/office/drawing/2014/main" id="{57BA0AC4-7B61-A491-A4CA-FDB8858B8831}"/>
              </a:ext>
            </a:extLst>
          </p:cNvPr>
          <p:cNvSpPr>
            <a:spLocks noGrp="1"/>
          </p:cNvSpPr>
          <p:nvPr>
            <p:ph type="title" hasCustomPrompt="1"/>
          </p:nvPr>
        </p:nvSpPr>
        <p:spPr>
          <a:xfrm>
            <a:off x="8113185" y="700799"/>
            <a:ext cx="3647016" cy="3830320"/>
          </a:xfrm>
        </p:spPr>
        <p:txBody>
          <a:bodyPr lIns="154800" rIns="144000"/>
          <a:lstStyle>
            <a:lvl1pPr>
              <a:defRPr sz="4000" spc="-67" baseline="0">
                <a:solidFill>
                  <a:schemeClr val="tx1"/>
                </a:solidFill>
              </a:defRPr>
            </a:lvl1pPr>
          </a:lstStyle>
          <a:p>
            <a:r>
              <a:rPr lang="en-GB" noProof="0"/>
              <a:t>Click to add a headline of one to six lines of text</a:t>
            </a:r>
          </a:p>
        </p:txBody>
      </p:sp>
      <p:sp>
        <p:nvSpPr>
          <p:cNvPr id="9" name="Navigation">
            <a:extLst>
              <a:ext uri="{FF2B5EF4-FFF2-40B4-BE49-F238E27FC236}">
                <a16:creationId xmlns:a16="http://schemas.microsoft.com/office/drawing/2014/main" id="{BFCEBC49-E251-C34D-23C9-35EC0903C583}"/>
              </a:ext>
            </a:extLst>
          </p:cNvPr>
          <p:cNvSpPr>
            <a:spLocks noGrp="1"/>
          </p:cNvSpPr>
          <p:nvPr>
            <p:ph type="body" sz="quarter" idx="14" hasCustomPrompt="1"/>
          </p:nvPr>
        </p:nvSpPr>
        <p:spPr>
          <a:xfrm>
            <a:off x="8113185" y="368302"/>
            <a:ext cx="3647016" cy="369332"/>
          </a:xfrm>
        </p:spPr>
        <p:txBody>
          <a:bodyPr lIns="154800" rIns="216000" anchor="t"/>
          <a:lstStyle>
            <a:lvl1pPr marL="4233" indent="-4233">
              <a:buNone/>
              <a:tabLst/>
              <a:defRPr sz="1600" b="1">
                <a:solidFill>
                  <a:schemeClr val="tx1"/>
                </a:solidFill>
              </a:defRPr>
            </a:lvl1pPr>
            <a:lvl2pPr>
              <a:buNone/>
              <a:defRPr/>
            </a:lvl2pPr>
            <a:lvl3pPr>
              <a:buNone/>
              <a:defRPr/>
            </a:lvl3pPr>
            <a:lvl4pPr>
              <a:buNone/>
              <a:defRPr/>
            </a:lvl4pPr>
            <a:lvl5pPr>
              <a:buNone/>
              <a:defRPr/>
            </a:lvl5pPr>
          </a:lstStyle>
          <a:p>
            <a:pPr lvl="0"/>
            <a:r>
              <a:rPr lang="en-GB" noProof="0"/>
              <a:t>Click to add short tracker</a:t>
            </a:r>
          </a:p>
        </p:txBody>
      </p:sp>
      <p:sp>
        <p:nvSpPr>
          <p:cNvPr id="10" name="Text">
            <a:extLst>
              <a:ext uri="{FF2B5EF4-FFF2-40B4-BE49-F238E27FC236}">
                <a16:creationId xmlns:a16="http://schemas.microsoft.com/office/drawing/2014/main" id="{FB92BDDD-CC14-2C4C-9D78-0BB5C9D6D22B}"/>
              </a:ext>
            </a:extLst>
          </p:cNvPr>
          <p:cNvSpPr>
            <a:spLocks noGrp="1"/>
          </p:cNvSpPr>
          <p:nvPr>
            <p:ph type="body" sz="quarter" idx="13" hasCustomPrompt="1"/>
          </p:nvPr>
        </p:nvSpPr>
        <p:spPr>
          <a:xfrm>
            <a:off x="8113186" y="4805082"/>
            <a:ext cx="3647015" cy="1456017"/>
          </a:xfrm>
        </p:spPr>
        <p:txBody>
          <a:bodyPr lIns="154800" rIns="216000"/>
          <a:lstStyle>
            <a:lvl1pPr marL="0" indent="0">
              <a:buNone/>
              <a:defRPr sz="1867">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GB" noProof="0"/>
              <a:t>Click to add a short description text in a few lines</a:t>
            </a:r>
          </a:p>
        </p:txBody>
      </p:sp>
    </p:spTree>
    <p:extLst>
      <p:ext uri="{BB962C8B-B14F-4D97-AF65-F5344CB8AC3E}">
        <p14:creationId xmlns:p14="http://schemas.microsoft.com/office/powerpoint/2010/main" val="3990439212"/>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5 Text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797" y="700800"/>
            <a:ext cx="9408587"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0" y="368303"/>
            <a:ext cx="9408584" cy="332499"/>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802" y="2804585"/>
            <a:ext cx="5568949" cy="3456516"/>
          </a:xfrm>
        </p:spPr>
        <p:txBody>
          <a:bodyPr rIns="180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1" name="Text 2">
            <a:extLst>
              <a:ext uri="{FF2B5EF4-FFF2-40B4-BE49-F238E27FC236}">
                <a16:creationId xmlns:a16="http://schemas.microsoft.com/office/drawing/2014/main" id="{C849FC5B-B320-ED44-9AC1-132066E1AA48}"/>
              </a:ext>
            </a:extLst>
          </p:cNvPr>
          <p:cNvSpPr>
            <a:spLocks noGrp="1"/>
          </p:cNvSpPr>
          <p:nvPr>
            <p:ph type="body" sz="quarter" idx="15" hasCustomPrompt="1"/>
          </p:nvPr>
        </p:nvSpPr>
        <p:spPr>
          <a:xfrm>
            <a:off x="6191251" y="2804585"/>
            <a:ext cx="5568949" cy="3456516"/>
          </a:xfrm>
        </p:spPr>
        <p:txBody>
          <a:bodyPr rIns="180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B462FD91-91AD-554F-B192-E635DE32B3F0}"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9081F78F-04AB-B54E-AA0D-682C305BD0C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4009624767"/>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5 Three Bullets">
    <p:bg>
      <p:bgPr>
        <a:solidFill>
          <a:schemeClr val="bg2"/>
        </a:solidFill>
        <a:effectLst/>
      </p:bgPr>
    </p:bg>
    <p:spTree>
      <p:nvGrpSpPr>
        <p:cNvPr id="1" name=""/>
        <p:cNvGrpSpPr/>
        <p:nvPr/>
      </p:nvGrpSpPr>
      <p:grpSpPr>
        <a:xfrm>
          <a:off x="0" y="0"/>
          <a:ext cx="0" cy="0"/>
          <a:chOff x="0" y="0"/>
          <a:chExt cx="0" cy="0"/>
        </a:xfrm>
      </p:grpSpPr>
      <p:sp>
        <p:nvSpPr>
          <p:cNvPr id="10" name="Title">
            <a:extLst>
              <a:ext uri="{FF2B5EF4-FFF2-40B4-BE49-F238E27FC236}">
                <a16:creationId xmlns:a16="http://schemas.microsoft.com/office/drawing/2014/main" id="{53087196-C9C5-BE48-9D76-3372ECAC159C}"/>
              </a:ext>
            </a:extLst>
          </p:cNvPr>
          <p:cNvSpPr>
            <a:spLocks noGrp="1"/>
          </p:cNvSpPr>
          <p:nvPr>
            <p:ph type="title" hasCustomPrompt="1"/>
          </p:nvPr>
        </p:nvSpPr>
        <p:spPr>
          <a:xfrm>
            <a:off x="431797" y="700800"/>
            <a:ext cx="9408587" cy="840315"/>
          </a:xfrm>
        </p:spPr>
        <p:txBody>
          <a:bodyPr rIns="216000"/>
          <a:lstStyle>
            <a:lvl1pPr>
              <a:defRPr sz="4000" spc="-67"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Text 1">
            <a:extLst>
              <a:ext uri="{FF2B5EF4-FFF2-40B4-BE49-F238E27FC236}">
                <a16:creationId xmlns:a16="http://schemas.microsoft.com/office/drawing/2014/main" id="{3BF31E87-F6F5-0C4F-B6DB-72F0D53D636B}"/>
              </a:ext>
            </a:extLst>
          </p:cNvPr>
          <p:cNvSpPr>
            <a:spLocks noGrp="1" noChangeAspect="1"/>
          </p:cNvSpPr>
          <p:nvPr>
            <p:ph type="body" sz="quarter" idx="17" hasCustomPrompt="1"/>
          </p:nvPr>
        </p:nvSpPr>
        <p:spPr>
          <a:xfrm>
            <a:off x="892679" y="1964692"/>
            <a:ext cx="2736000" cy="2736000"/>
          </a:xfrm>
          <a:prstGeom prst="ellipse">
            <a:avLst/>
          </a:prstGeom>
          <a:solidFill>
            <a:schemeClr val="accent5"/>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18" name="Text 2">
            <a:extLst>
              <a:ext uri="{FF2B5EF4-FFF2-40B4-BE49-F238E27FC236}">
                <a16:creationId xmlns:a16="http://schemas.microsoft.com/office/drawing/2014/main" id="{8782FCDA-CE43-ED4B-B564-F2CC331FC617}"/>
              </a:ext>
            </a:extLst>
          </p:cNvPr>
          <p:cNvSpPr>
            <a:spLocks noGrp="1" noChangeAspect="1"/>
          </p:cNvSpPr>
          <p:nvPr>
            <p:ph type="body" sz="quarter" idx="18" hasCustomPrompt="1"/>
          </p:nvPr>
        </p:nvSpPr>
        <p:spPr>
          <a:xfrm>
            <a:off x="4728000" y="1964692"/>
            <a:ext cx="2736000" cy="2736000"/>
          </a:xfrm>
          <a:prstGeom prst="ellipse">
            <a:avLst/>
          </a:prstGeom>
          <a:solidFill>
            <a:schemeClr val="accent5"/>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19" name="Text 3">
            <a:extLst>
              <a:ext uri="{FF2B5EF4-FFF2-40B4-BE49-F238E27FC236}">
                <a16:creationId xmlns:a16="http://schemas.microsoft.com/office/drawing/2014/main" id="{86327479-9D75-FF49-A369-D1A00CC1DA81}"/>
              </a:ext>
            </a:extLst>
          </p:cNvPr>
          <p:cNvSpPr>
            <a:spLocks noGrp="1" noChangeAspect="1"/>
          </p:cNvSpPr>
          <p:nvPr>
            <p:ph type="body" sz="quarter" idx="19" hasCustomPrompt="1"/>
          </p:nvPr>
        </p:nvSpPr>
        <p:spPr>
          <a:xfrm>
            <a:off x="8576132" y="1964692"/>
            <a:ext cx="2736000" cy="2736000"/>
          </a:xfrm>
          <a:prstGeom prst="ellipse">
            <a:avLst/>
          </a:prstGeom>
          <a:solidFill>
            <a:schemeClr val="accent5"/>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4B352C5-C33C-A443-8F82-4C19E6ABD27B}"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3" name="Footer">
            <a:extLst>
              <a:ext uri="{FF2B5EF4-FFF2-40B4-BE49-F238E27FC236}">
                <a16:creationId xmlns:a16="http://schemas.microsoft.com/office/drawing/2014/main" id="{8DF4D24D-538B-A54E-BE5A-7EAB96CDD093}"/>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48718221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5 Three Bullets and Image">
    <p:spTree>
      <p:nvGrpSpPr>
        <p:cNvPr id="1" name=""/>
        <p:cNvGrpSpPr/>
        <p:nvPr/>
      </p:nvGrpSpPr>
      <p:grpSpPr>
        <a:xfrm>
          <a:off x="0" y="0"/>
          <a:ext cx="0" cy="0"/>
          <a:chOff x="0" y="0"/>
          <a:chExt cx="0" cy="0"/>
        </a:xfrm>
      </p:grpSpPr>
      <p:sp>
        <p:nvSpPr>
          <p:cNvPr id="19" name="Background image">
            <a:extLst>
              <a:ext uri="{FF2B5EF4-FFF2-40B4-BE49-F238E27FC236}">
                <a16:creationId xmlns:a16="http://schemas.microsoft.com/office/drawing/2014/main" id="{1C249437-ECE8-8C43-BEB1-A558F34C86D4}"/>
              </a:ext>
            </a:extLst>
          </p:cNvPr>
          <p:cNvSpPr>
            <a:spLocks noGrp="1"/>
          </p:cNvSpPr>
          <p:nvPr>
            <p:ph type="pic" sz="quarter" idx="10" hasCustomPrompt="1"/>
          </p:nvPr>
        </p:nvSpPr>
        <p:spPr>
          <a:xfrm>
            <a:off x="239184" y="211667"/>
            <a:ext cx="11713763" cy="6242051"/>
          </a:xfrm>
          <a:blipFill>
            <a:blip r:embed="rId2"/>
            <a:tile tx="0" ty="0" sx="100000" sy="100000" flip="none" algn="tl"/>
          </a:blipFill>
        </p:spPr>
        <p:txBody>
          <a:bodyPr/>
          <a:lstStyle>
            <a:lvl1pPr algn="r">
              <a:buNone/>
              <a:defRPr sz="1067">
                <a:solidFill>
                  <a:schemeClr val="bg1">
                    <a:lumMod val="75000"/>
                  </a:schemeClr>
                </a:solidFill>
              </a:defRPr>
            </a:lvl1pPr>
          </a:lstStyle>
          <a:p>
            <a:r>
              <a:rPr lang="en-GB" noProof="0"/>
              <a:t>Select placeholder and select Insert &gt; Pictures</a:t>
            </a:r>
          </a:p>
        </p:txBody>
      </p:sp>
      <p:sp>
        <p:nvSpPr>
          <p:cNvPr id="13" name="Title">
            <a:extLst>
              <a:ext uri="{FF2B5EF4-FFF2-40B4-BE49-F238E27FC236}">
                <a16:creationId xmlns:a16="http://schemas.microsoft.com/office/drawing/2014/main" id="{E49F3BE6-D2B1-164B-B9F4-18257A7F1BEE}"/>
              </a:ext>
            </a:extLst>
          </p:cNvPr>
          <p:cNvSpPr>
            <a:spLocks noGrp="1"/>
          </p:cNvSpPr>
          <p:nvPr>
            <p:ph type="title" hasCustomPrompt="1"/>
          </p:nvPr>
        </p:nvSpPr>
        <p:spPr>
          <a:xfrm>
            <a:off x="431797" y="700800"/>
            <a:ext cx="9408587" cy="840315"/>
          </a:xfrm>
        </p:spPr>
        <p:txBody>
          <a:bodyPr rIns="216000"/>
          <a:lstStyle>
            <a:lvl1pPr>
              <a:defRPr sz="4000" spc="-67" baseline="0">
                <a:solidFill>
                  <a:schemeClr val="bg1"/>
                </a:solidFill>
              </a:defRPr>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216000" anchor="t"/>
          <a:lstStyle>
            <a:lvl1pPr marL="4233" indent="-4233">
              <a:buNone/>
              <a:tabLst/>
              <a:defRPr sz="1600" b="1">
                <a:solidFill>
                  <a:schemeClr val="bg1"/>
                </a:solidFill>
              </a:defRPr>
            </a:lvl1pPr>
            <a:lvl2pPr>
              <a:buNone/>
              <a:defRPr/>
            </a:lvl2pPr>
            <a:lvl3pPr>
              <a:buNone/>
              <a:defRPr/>
            </a:lvl3pPr>
            <a:lvl4pPr>
              <a:buNone/>
              <a:defRPr/>
            </a:lvl4pPr>
            <a:lvl5pPr>
              <a:buNone/>
              <a:defRPr/>
            </a:lvl5pPr>
          </a:lstStyle>
          <a:p>
            <a:pPr lvl="0"/>
            <a:r>
              <a:rPr lang="en-GB" noProof="0"/>
              <a:t>Click to add navigation/chapter tracker</a:t>
            </a:r>
          </a:p>
        </p:txBody>
      </p:sp>
      <p:sp>
        <p:nvSpPr>
          <p:cNvPr id="10" name="Text 1">
            <a:extLst>
              <a:ext uri="{FF2B5EF4-FFF2-40B4-BE49-F238E27FC236}">
                <a16:creationId xmlns:a16="http://schemas.microsoft.com/office/drawing/2014/main" id="{A0D0A950-AAC5-7A4C-BBFF-C2F1D36A2CFF}"/>
              </a:ext>
            </a:extLst>
          </p:cNvPr>
          <p:cNvSpPr>
            <a:spLocks noGrp="1" noChangeAspect="1"/>
          </p:cNvSpPr>
          <p:nvPr>
            <p:ph type="body" sz="quarter" idx="17" hasCustomPrompt="1"/>
          </p:nvPr>
        </p:nvSpPr>
        <p:spPr>
          <a:xfrm>
            <a:off x="892679" y="1964692"/>
            <a:ext cx="2736000" cy="2736000"/>
          </a:xfrm>
          <a:prstGeom prst="ellipse">
            <a:avLst/>
          </a:prstGeom>
          <a:solidFill>
            <a:srgbClr val="EDF9F3"/>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11" name="Text 2">
            <a:extLst>
              <a:ext uri="{FF2B5EF4-FFF2-40B4-BE49-F238E27FC236}">
                <a16:creationId xmlns:a16="http://schemas.microsoft.com/office/drawing/2014/main" id="{E23DDBC6-EA11-0449-AB3C-6281C5EDAC05}"/>
              </a:ext>
            </a:extLst>
          </p:cNvPr>
          <p:cNvSpPr>
            <a:spLocks noGrp="1" noChangeAspect="1"/>
          </p:cNvSpPr>
          <p:nvPr>
            <p:ph type="body" sz="quarter" idx="18" hasCustomPrompt="1"/>
          </p:nvPr>
        </p:nvSpPr>
        <p:spPr>
          <a:xfrm>
            <a:off x="4728000" y="1964692"/>
            <a:ext cx="2736000" cy="2736000"/>
          </a:xfrm>
          <a:prstGeom prst="ellipse">
            <a:avLst/>
          </a:prstGeom>
          <a:solidFill>
            <a:srgbClr val="EDF9F3"/>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12" name="Text 3">
            <a:extLst>
              <a:ext uri="{FF2B5EF4-FFF2-40B4-BE49-F238E27FC236}">
                <a16:creationId xmlns:a16="http://schemas.microsoft.com/office/drawing/2014/main" id="{4BE092D2-014A-3A42-9A92-2EBCB0703736}"/>
              </a:ext>
            </a:extLst>
          </p:cNvPr>
          <p:cNvSpPr>
            <a:spLocks noGrp="1" noChangeAspect="1"/>
          </p:cNvSpPr>
          <p:nvPr>
            <p:ph type="body" sz="quarter" idx="19" hasCustomPrompt="1"/>
          </p:nvPr>
        </p:nvSpPr>
        <p:spPr>
          <a:xfrm>
            <a:off x="8576132" y="1964692"/>
            <a:ext cx="2736000" cy="2736000"/>
          </a:xfrm>
          <a:prstGeom prst="ellipse">
            <a:avLst/>
          </a:prstGeom>
          <a:solidFill>
            <a:srgbClr val="EDF9F3"/>
          </a:solidFill>
        </p:spPr>
        <p:txBody>
          <a:bodyPr lIns="0" tIns="36000" rIns="0" bIns="36000" anchor="ctr"/>
          <a:lstStyle>
            <a:lvl1pPr marL="0" indent="-23283" algn="ctr">
              <a:lnSpc>
                <a:spcPct val="95000"/>
              </a:lnSpc>
              <a:spcBef>
                <a:spcPts val="0"/>
              </a:spcBef>
              <a:buNone/>
              <a:tabLst/>
              <a:defRPr sz="1867" b="1">
                <a:solidFill>
                  <a:schemeClr val="tx1"/>
                </a:solidFill>
              </a:defRPr>
            </a:lvl1pPr>
          </a:lstStyle>
          <a:p>
            <a:pPr lvl="0"/>
            <a:r>
              <a:rPr lang="en-GB" noProof="0"/>
              <a:t>Click to add text in a maximum of four lines</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EC627DFE-E0E6-9B48-8FAC-72F1F1872243}"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5" name="Footer">
            <a:extLst>
              <a:ext uri="{FF2B5EF4-FFF2-40B4-BE49-F238E27FC236}">
                <a16:creationId xmlns:a16="http://schemas.microsoft.com/office/drawing/2014/main" id="{4C90DA47-3EEB-B445-BFD0-FB49D53363F6}"/>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err="1"/>
          </a:p>
        </p:txBody>
      </p:sp>
    </p:spTree>
    <p:extLst>
      <p:ext uri="{BB962C8B-B14F-4D97-AF65-F5344CB8AC3E}">
        <p14:creationId xmlns:p14="http://schemas.microsoft.com/office/powerpoint/2010/main" val="1388186016"/>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5 Three Icons">
    <p:bg>
      <p:bgPr>
        <a:solidFill>
          <a:schemeClr val="bg2"/>
        </a:solidFill>
        <a:effectLst/>
      </p:bgPr>
    </p:bg>
    <p:spTree>
      <p:nvGrpSpPr>
        <p:cNvPr id="1" name=""/>
        <p:cNvGrpSpPr/>
        <p:nvPr/>
      </p:nvGrpSpPr>
      <p:grpSpPr>
        <a:xfrm>
          <a:off x="0" y="0"/>
          <a:ext cx="0" cy="0"/>
          <a:chOff x="0" y="0"/>
          <a:chExt cx="0" cy="0"/>
        </a:xfrm>
      </p:grpSpPr>
      <p:sp>
        <p:nvSpPr>
          <p:cNvPr id="42" name="Title">
            <a:extLst>
              <a:ext uri="{FF2B5EF4-FFF2-40B4-BE49-F238E27FC236}">
                <a16:creationId xmlns:a16="http://schemas.microsoft.com/office/drawing/2014/main" id="{4EE3E706-517C-DA49-BD6A-D25F70D7C32F}"/>
              </a:ext>
            </a:extLst>
          </p:cNvPr>
          <p:cNvSpPr>
            <a:spLocks noGrp="1"/>
          </p:cNvSpPr>
          <p:nvPr>
            <p:ph type="title" hasCustomPrompt="1"/>
          </p:nvPr>
        </p:nvSpPr>
        <p:spPr>
          <a:xfrm>
            <a:off x="431800" y="700801"/>
            <a:ext cx="9408584" cy="826460"/>
          </a:xfrm>
        </p:spPr>
        <p:txBody>
          <a:bodyPr rIns="144000"/>
          <a:lstStyle>
            <a:lvl1pPr>
              <a:defRPr sz="4000" spc="-67" baseline="0"/>
            </a:lvl1pPr>
          </a:lstStyle>
          <a:p>
            <a:r>
              <a:rPr lang="en-GB" noProof="0"/>
              <a:t>Click to add short headline or delete</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Icon 1">
            <a:extLst>
              <a:ext uri="{FF2B5EF4-FFF2-40B4-BE49-F238E27FC236}">
                <a16:creationId xmlns:a16="http://schemas.microsoft.com/office/drawing/2014/main" id="{BF6831D5-0949-4149-AC62-D7EE74E03FA0}"/>
              </a:ext>
            </a:extLst>
          </p:cNvPr>
          <p:cNvSpPr>
            <a:spLocks noGrp="1"/>
          </p:cNvSpPr>
          <p:nvPr>
            <p:ph type="pic" sz="quarter" idx="22" hasCustomPrompt="1"/>
          </p:nvPr>
        </p:nvSpPr>
        <p:spPr>
          <a:xfrm>
            <a:off x="1599361" y="2671202"/>
            <a:ext cx="1322983" cy="1322983"/>
          </a:xfrm>
        </p:spPr>
        <p:txBody>
          <a:bodyPr/>
          <a:lstStyle>
            <a:lvl1pPr algn="ctr">
              <a:buNone/>
              <a:defRPr sz="1067"/>
            </a:lvl1pPr>
          </a:lstStyle>
          <a:p>
            <a:r>
              <a:rPr lang="en-GB" sz="1067" noProof="0"/>
              <a:t>Click to add icon</a:t>
            </a:r>
            <a:endParaRPr lang="en-GB" noProof="0"/>
          </a:p>
        </p:txBody>
      </p:sp>
      <p:sp>
        <p:nvSpPr>
          <p:cNvPr id="27" name="Subtitle 1">
            <a:extLst>
              <a:ext uri="{FF2B5EF4-FFF2-40B4-BE49-F238E27FC236}">
                <a16:creationId xmlns:a16="http://schemas.microsoft.com/office/drawing/2014/main" id="{66FB5539-4991-4D46-884F-A63F571088C6}"/>
              </a:ext>
            </a:extLst>
          </p:cNvPr>
          <p:cNvSpPr>
            <a:spLocks noGrp="1"/>
          </p:cNvSpPr>
          <p:nvPr>
            <p:ph type="body" sz="quarter" idx="16" hasCustomPrompt="1"/>
          </p:nvPr>
        </p:nvSpPr>
        <p:spPr>
          <a:xfrm>
            <a:off x="431801" y="4521118"/>
            <a:ext cx="3647017"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28" name="Text 1">
            <a:extLst>
              <a:ext uri="{FF2B5EF4-FFF2-40B4-BE49-F238E27FC236}">
                <a16:creationId xmlns:a16="http://schemas.microsoft.com/office/drawing/2014/main" id="{0BDC7661-3072-564C-891C-82718D2BF14C}"/>
              </a:ext>
            </a:extLst>
          </p:cNvPr>
          <p:cNvSpPr>
            <a:spLocks noGrp="1"/>
          </p:cNvSpPr>
          <p:nvPr>
            <p:ph type="body" sz="quarter" idx="17" hasCustomPrompt="1"/>
          </p:nvPr>
        </p:nvSpPr>
        <p:spPr>
          <a:xfrm>
            <a:off x="431800"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43" name="Icon 2">
            <a:extLst>
              <a:ext uri="{FF2B5EF4-FFF2-40B4-BE49-F238E27FC236}">
                <a16:creationId xmlns:a16="http://schemas.microsoft.com/office/drawing/2014/main" id="{BF57B7AA-6436-9944-BED9-277CEAC62278}"/>
              </a:ext>
            </a:extLst>
          </p:cNvPr>
          <p:cNvSpPr>
            <a:spLocks noGrp="1"/>
          </p:cNvSpPr>
          <p:nvPr>
            <p:ph type="pic" sz="quarter" idx="23" hasCustomPrompt="1"/>
          </p:nvPr>
        </p:nvSpPr>
        <p:spPr>
          <a:xfrm>
            <a:off x="5434761" y="2671202"/>
            <a:ext cx="1322983" cy="1322983"/>
          </a:xfrm>
        </p:spPr>
        <p:txBody>
          <a:bodyPr/>
          <a:lstStyle>
            <a:lvl1pPr algn="ctr">
              <a:buNone/>
              <a:defRPr sz="1067"/>
            </a:lvl1pPr>
          </a:lstStyle>
          <a:p>
            <a:r>
              <a:rPr lang="en-GB" sz="1067" noProof="0"/>
              <a:t>Click to add icon</a:t>
            </a:r>
            <a:endParaRPr lang="en-GB" noProof="0"/>
          </a:p>
        </p:txBody>
      </p:sp>
      <p:sp>
        <p:nvSpPr>
          <p:cNvPr id="29" name="Subtitle 2">
            <a:extLst>
              <a:ext uri="{FF2B5EF4-FFF2-40B4-BE49-F238E27FC236}">
                <a16:creationId xmlns:a16="http://schemas.microsoft.com/office/drawing/2014/main" id="{C48D686F-94A2-DD46-82F1-E264BEE11C43}"/>
              </a:ext>
            </a:extLst>
          </p:cNvPr>
          <p:cNvSpPr>
            <a:spLocks noGrp="1"/>
          </p:cNvSpPr>
          <p:nvPr>
            <p:ph type="body" sz="quarter" idx="18" hasCustomPrompt="1"/>
          </p:nvPr>
        </p:nvSpPr>
        <p:spPr>
          <a:xfrm>
            <a:off x="4271434" y="4521118"/>
            <a:ext cx="3647017"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30" name="Text 2">
            <a:extLst>
              <a:ext uri="{FF2B5EF4-FFF2-40B4-BE49-F238E27FC236}">
                <a16:creationId xmlns:a16="http://schemas.microsoft.com/office/drawing/2014/main" id="{642F0A82-A9F6-AF48-B15A-56A4F0C4908D}"/>
              </a:ext>
            </a:extLst>
          </p:cNvPr>
          <p:cNvSpPr>
            <a:spLocks noGrp="1"/>
          </p:cNvSpPr>
          <p:nvPr>
            <p:ph type="body" sz="quarter" idx="19" hasCustomPrompt="1"/>
          </p:nvPr>
        </p:nvSpPr>
        <p:spPr>
          <a:xfrm>
            <a:off x="4271433"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44" name="Icon 3">
            <a:extLst>
              <a:ext uri="{FF2B5EF4-FFF2-40B4-BE49-F238E27FC236}">
                <a16:creationId xmlns:a16="http://schemas.microsoft.com/office/drawing/2014/main" id="{D533FAC1-ED80-7B4E-8ECA-38C55CFD41A1}"/>
              </a:ext>
            </a:extLst>
          </p:cNvPr>
          <p:cNvSpPr>
            <a:spLocks noGrp="1"/>
          </p:cNvSpPr>
          <p:nvPr>
            <p:ph type="pic" sz="quarter" idx="24" hasCustomPrompt="1"/>
          </p:nvPr>
        </p:nvSpPr>
        <p:spPr>
          <a:xfrm>
            <a:off x="9282861" y="2671202"/>
            <a:ext cx="1322983" cy="1322983"/>
          </a:xfrm>
        </p:spPr>
        <p:txBody>
          <a:bodyPr/>
          <a:lstStyle>
            <a:lvl1pPr algn="ctr">
              <a:buNone/>
              <a:defRPr sz="1067"/>
            </a:lvl1pPr>
          </a:lstStyle>
          <a:p>
            <a:r>
              <a:rPr lang="en-GB" sz="1067" noProof="0"/>
              <a:t>Click to add icon</a:t>
            </a:r>
            <a:endParaRPr lang="en-GB" noProof="0"/>
          </a:p>
        </p:txBody>
      </p:sp>
      <p:sp>
        <p:nvSpPr>
          <p:cNvPr id="31" name="Subtitle 3">
            <a:extLst>
              <a:ext uri="{FF2B5EF4-FFF2-40B4-BE49-F238E27FC236}">
                <a16:creationId xmlns:a16="http://schemas.microsoft.com/office/drawing/2014/main" id="{54CE80BA-70B6-674B-8EEE-564BBFD7E630}"/>
              </a:ext>
            </a:extLst>
          </p:cNvPr>
          <p:cNvSpPr>
            <a:spLocks noGrp="1"/>
          </p:cNvSpPr>
          <p:nvPr>
            <p:ph type="body" sz="quarter" idx="20" hasCustomPrompt="1"/>
          </p:nvPr>
        </p:nvSpPr>
        <p:spPr>
          <a:xfrm>
            <a:off x="8113184" y="4521118"/>
            <a:ext cx="3647016"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32" name="Text 3">
            <a:extLst>
              <a:ext uri="{FF2B5EF4-FFF2-40B4-BE49-F238E27FC236}">
                <a16:creationId xmlns:a16="http://schemas.microsoft.com/office/drawing/2014/main" id="{F5FFA93D-6EB2-9F4D-A77F-D10B1DBE6477}"/>
              </a:ext>
            </a:extLst>
          </p:cNvPr>
          <p:cNvSpPr>
            <a:spLocks noGrp="1"/>
          </p:cNvSpPr>
          <p:nvPr>
            <p:ph type="body" sz="quarter" idx="21" hasCustomPrompt="1"/>
          </p:nvPr>
        </p:nvSpPr>
        <p:spPr>
          <a:xfrm>
            <a:off x="8113184"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D09D7ED9-2859-BD43-B1BC-6991E60C7B29}"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8" name="Footer">
            <a:extLst>
              <a:ext uri="{FF2B5EF4-FFF2-40B4-BE49-F238E27FC236}">
                <a16:creationId xmlns:a16="http://schemas.microsoft.com/office/drawing/2014/main" id="{004EB2A8-772A-6F45-A53E-60955D52F3A6}"/>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9554918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5 Three Images text">
    <p:bg>
      <p:bgPr>
        <a:solidFill>
          <a:schemeClr val="bg2"/>
        </a:solidFill>
        <a:effectLst/>
      </p:bgPr>
    </p:bg>
    <p:spTree>
      <p:nvGrpSpPr>
        <p:cNvPr id="1" name=""/>
        <p:cNvGrpSpPr/>
        <p:nvPr/>
      </p:nvGrpSpPr>
      <p:grpSpPr>
        <a:xfrm>
          <a:off x="0" y="0"/>
          <a:ext cx="0" cy="0"/>
          <a:chOff x="0" y="0"/>
          <a:chExt cx="0" cy="0"/>
        </a:xfrm>
      </p:grpSpPr>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4" name="Image 1">
            <a:extLst>
              <a:ext uri="{FF2B5EF4-FFF2-40B4-BE49-F238E27FC236}">
                <a16:creationId xmlns:a16="http://schemas.microsoft.com/office/drawing/2014/main" id="{A5A31898-D5B1-EE4E-A7EE-E18C844975AA}"/>
              </a:ext>
            </a:extLst>
          </p:cNvPr>
          <p:cNvSpPr>
            <a:spLocks noGrp="1"/>
          </p:cNvSpPr>
          <p:nvPr>
            <p:ph type="pic" sz="quarter" idx="22" hasCustomPrompt="1"/>
          </p:nvPr>
        </p:nvSpPr>
        <p:spPr>
          <a:xfrm>
            <a:off x="431801" y="867833"/>
            <a:ext cx="3647017" cy="326916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17" name="Subtitle 1">
            <a:extLst>
              <a:ext uri="{FF2B5EF4-FFF2-40B4-BE49-F238E27FC236}">
                <a16:creationId xmlns:a16="http://schemas.microsoft.com/office/drawing/2014/main" id="{9539D912-EDEC-D04A-AE66-E4AF2B4B8924}"/>
              </a:ext>
            </a:extLst>
          </p:cNvPr>
          <p:cNvSpPr>
            <a:spLocks noGrp="1"/>
          </p:cNvSpPr>
          <p:nvPr>
            <p:ph type="body" sz="quarter" idx="16" hasCustomPrompt="1"/>
          </p:nvPr>
        </p:nvSpPr>
        <p:spPr>
          <a:xfrm>
            <a:off x="431801" y="4521118"/>
            <a:ext cx="3647017"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18" name="Text 1">
            <a:extLst>
              <a:ext uri="{FF2B5EF4-FFF2-40B4-BE49-F238E27FC236}">
                <a16:creationId xmlns:a16="http://schemas.microsoft.com/office/drawing/2014/main" id="{42913F9C-29B8-3D4E-A5EA-0F08C0C9FAC6}"/>
              </a:ext>
            </a:extLst>
          </p:cNvPr>
          <p:cNvSpPr>
            <a:spLocks noGrp="1"/>
          </p:cNvSpPr>
          <p:nvPr>
            <p:ph type="body" sz="quarter" idx="17" hasCustomPrompt="1"/>
          </p:nvPr>
        </p:nvSpPr>
        <p:spPr>
          <a:xfrm>
            <a:off x="431800"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19" name="Image 2">
            <a:extLst>
              <a:ext uri="{FF2B5EF4-FFF2-40B4-BE49-F238E27FC236}">
                <a16:creationId xmlns:a16="http://schemas.microsoft.com/office/drawing/2014/main" id="{CFB476F6-A1A2-9341-A7CE-364121691484}"/>
              </a:ext>
            </a:extLst>
          </p:cNvPr>
          <p:cNvSpPr>
            <a:spLocks noGrp="1"/>
          </p:cNvSpPr>
          <p:nvPr>
            <p:ph type="pic" sz="quarter" idx="23" hasCustomPrompt="1"/>
          </p:nvPr>
        </p:nvSpPr>
        <p:spPr>
          <a:xfrm>
            <a:off x="4272493" y="867833"/>
            <a:ext cx="3647017" cy="326916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22" name="Subtitle 2">
            <a:extLst>
              <a:ext uri="{FF2B5EF4-FFF2-40B4-BE49-F238E27FC236}">
                <a16:creationId xmlns:a16="http://schemas.microsoft.com/office/drawing/2014/main" id="{C3C5B55E-94CB-7B47-B062-5D9F39ACF993}"/>
              </a:ext>
            </a:extLst>
          </p:cNvPr>
          <p:cNvSpPr>
            <a:spLocks noGrp="1"/>
          </p:cNvSpPr>
          <p:nvPr>
            <p:ph type="body" sz="quarter" idx="18" hasCustomPrompt="1"/>
          </p:nvPr>
        </p:nvSpPr>
        <p:spPr>
          <a:xfrm>
            <a:off x="4271434" y="4521118"/>
            <a:ext cx="3647017"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23" name="Text 2">
            <a:extLst>
              <a:ext uri="{FF2B5EF4-FFF2-40B4-BE49-F238E27FC236}">
                <a16:creationId xmlns:a16="http://schemas.microsoft.com/office/drawing/2014/main" id="{A1A87AB1-E04D-7D40-AA0E-7E9AAA85FDD7}"/>
              </a:ext>
            </a:extLst>
          </p:cNvPr>
          <p:cNvSpPr>
            <a:spLocks noGrp="1"/>
          </p:cNvSpPr>
          <p:nvPr>
            <p:ph type="body" sz="quarter" idx="19" hasCustomPrompt="1"/>
          </p:nvPr>
        </p:nvSpPr>
        <p:spPr>
          <a:xfrm>
            <a:off x="4271433"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20" name="Image 3">
            <a:extLst>
              <a:ext uri="{FF2B5EF4-FFF2-40B4-BE49-F238E27FC236}">
                <a16:creationId xmlns:a16="http://schemas.microsoft.com/office/drawing/2014/main" id="{AA2CC83E-62F3-474B-9DE5-B6EDF26CA353}"/>
              </a:ext>
            </a:extLst>
          </p:cNvPr>
          <p:cNvSpPr>
            <a:spLocks noGrp="1"/>
          </p:cNvSpPr>
          <p:nvPr>
            <p:ph type="pic" sz="quarter" idx="24" hasCustomPrompt="1"/>
          </p:nvPr>
        </p:nvSpPr>
        <p:spPr>
          <a:xfrm>
            <a:off x="8113184" y="867833"/>
            <a:ext cx="3647017" cy="326916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24" name="Subtitle 3">
            <a:extLst>
              <a:ext uri="{FF2B5EF4-FFF2-40B4-BE49-F238E27FC236}">
                <a16:creationId xmlns:a16="http://schemas.microsoft.com/office/drawing/2014/main" id="{F30BCF56-210D-1340-ACE8-BFCB24314D0A}"/>
              </a:ext>
            </a:extLst>
          </p:cNvPr>
          <p:cNvSpPr>
            <a:spLocks noGrp="1"/>
          </p:cNvSpPr>
          <p:nvPr>
            <p:ph type="body" sz="quarter" idx="20" hasCustomPrompt="1"/>
          </p:nvPr>
        </p:nvSpPr>
        <p:spPr>
          <a:xfrm>
            <a:off x="8113184" y="4521118"/>
            <a:ext cx="3647016"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25" name="Text 3">
            <a:extLst>
              <a:ext uri="{FF2B5EF4-FFF2-40B4-BE49-F238E27FC236}">
                <a16:creationId xmlns:a16="http://schemas.microsoft.com/office/drawing/2014/main" id="{B6BB44C6-034C-2A4F-9D6D-0F870DF593AF}"/>
              </a:ext>
            </a:extLst>
          </p:cNvPr>
          <p:cNvSpPr>
            <a:spLocks noGrp="1"/>
          </p:cNvSpPr>
          <p:nvPr>
            <p:ph type="body" sz="quarter" idx="21" hasCustomPrompt="1"/>
          </p:nvPr>
        </p:nvSpPr>
        <p:spPr>
          <a:xfrm>
            <a:off x="8113184" y="5036447"/>
            <a:ext cx="3648000" cy="1224653"/>
          </a:xfrm>
        </p:spPr>
        <p:txBody>
          <a:bodyPr lIns="180000" rIns="180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09C6E498-F043-9744-8B10-B2320D86B4EF}"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21" name="Footer">
            <a:extLst>
              <a:ext uri="{FF2B5EF4-FFF2-40B4-BE49-F238E27FC236}">
                <a16:creationId xmlns:a16="http://schemas.microsoft.com/office/drawing/2014/main" id="{5D5AD7F1-DD0A-5249-BE82-8E2CAFDE6736}"/>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3" name="Title 2">
            <a:extLst>
              <a:ext uri="{FF2B5EF4-FFF2-40B4-BE49-F238E27FC236}">
                <a16:creationId xmlns:a16="http://schemas.microsoft.com/office/drawing/2014/main" id="{071F4384-77E3-8A4F-255F-ACB92CCB3AEF}"/>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168359320"/>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5 Chart and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A4E6B1-9731-D7D3-5F53-FB721A7F11C1}"/>
              </a:ext>
            </a:extLst>
          </p:cNvPr>
          <p:cNvSpPr/>
          <p:nvPr/>
        </p:nvSpPr>
        <p:spPr>
          <a:xfrm>
            <a:off x="5999692"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4" name="Image">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6195484" y="211667"/>
            <a:ext cx="575733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800" y="700800"/>
            <a:ext cx="5564717" cy="1997752"/>
          </a:xfrm>
        </p:spPr>
        <p:txBody>
          <a:bodyPr rIns="216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0" y="368302"/>
            <a:ext cx="5564717" cy="369332"/>
          </a:xfrm>
        </p:spPr>
        <p:txBody>
          <a:bodyPr lIns="111600" rIns="216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 name="Chart">
            <a:extLst>
              <a:ext uri="{FF2B5EF4-FFF2-40B4-BE49-F238E27FC236}">
                <a16:creationId xmlns:a16="http://schemas.microsoft.com/office/drawing/2014/main" id="{D12947F2-2E24-E74E-ABD3-2D0BB0AEAA87}"/>
              </a:ext>
            </a:extLst>
          </p:cNvPr>
          <p:cNvSpPr>
            <a:spLocks noGrp="1"/>
          </p:cNvSpPr>
          <p:nvPr>
            <p:ph type="chart" sz="quarter" idx="16" hasCustomPrompt="1"/>
          </p:nvPr>
        </p:nvSpPr>
        <p:spPr>
          <a:xfrm>
            <a:off x="431800" y="2804585"/>
            <a:ext cx="5367867" cy="3456516"/>
          </a:xfrm>
        </p:spPr>
        <p:txBody>
          <a:bodyPr/>
          <a:lstStyle>
            <a:lvl1pPr algn="ctr">
              <a:buNone/>
              <a:defRPr sz="1067"/>
            </a:lvl1pPr>
          </a:lstStyle>
          <a:p>
            <a:r>
              <a:rPr lang="en-GB" noProof="0"/>
              <a:t>Click on the icon to add chart</a:t>
            </a:r>
          </a:p>
        </p:txBody>
      </p:sp>
      <p:sp>
        <p:nvSpPr>
          <p:cNvPr id="2" name="Notes">
            <a:extLst>
              <a:ext uri="{FF2B5EF4-FFF2-40B4-BE49-F238E27FC236}">
                <a16:creationId xmlns:a16="http://schemas.microsoft.com/office/drawing/2014/main" id="{11595CA4-EF2B-D233-21D6-7671E39200FA}"/>
              </a:ext>
            </a:extLst>
          </p:cNvPr>
          <p:cNvSpPr>
            <a:spLocks noGrp="1"/>
          </p:cNvSpPr>
          <p:nvPr>
            <p:ph type="body" sz="quarter" idx="19" hasCustomPrompt="1"/>
          </p:nvPr>
        </p:nvSpPr>
        <p:spPr>
          <a:xfrm>
            <a:off x="431801" y="6261101"/>
            <a:ext cx="5568953" cy="192617"/>
          </a:xfrm>
        </p:spPr>
        <p:txBody>
          <a:bodyPr lIns="111600" tIns="0" rIns="216000" bIns="18000" anchor="b"/>
          <a:lstStyle>
            <a:lvl1pPr marL="0" indent="0">
              <a:spcBef>
                <a:spcPts val="0"/>
              </a:spcBef>
              <a:buNone/>
              <a:tabLst/>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38" name="Date">
            <a:extLst>
              <a:ext uri="{FF2B5EF4-FFF2-40B4-BE49-F238E27FC236}">
                <a16:creationId xmlns:a16="http://schemas.microsoft.com/office/drawing/2014/main" id="{B7D04508-015B-A24C-A068-9517A03041E5}"/>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FB4BB045-73C6-F94A-AFF1-A9F3EBDB30D0}" type="datetime1">
              <a:rPr lang="sv-SE" noProof="0" smtClean="0"/>
              <a:t>2025-04-07</a:t>
            </a:fld>
            <a:endParaRPr lang="en-GB" noProof="0"/>
          </a:p>
        </p:txBody>
      </p:sp>
      <p:sp>
        <p:nvSpPr>
          <p:cNvPr id="39" name="Number">
            <a:extLst>
              <a:ext uri="{FF2B5EF4-FFF2-40B4-BE49-F238E27FC236}">
                <a16:creationId xmlns:a16="http://schemas.microsoft.com/office/drawing/2014/main" id="{24E3E452-24F0-1B44-9014-429AC576B5B6}"/>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0" name="Footer">
            <a:extLst>
              <a:ext uri="{FF2B5EF4-FFF2-40B4-BE49-F238E27FC236}">
                <a16:creationId xmlns:a16="http://schemas.microsoft.com/office/drawing/2014/main" id="{29FB046A-7260-684A-8AE8-A5E2FA938289}"/>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710472081"/>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5 Text and 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4F5968-AA5C-92DB-88F3-7DB9CADE540F}"/>
              </a:ext>
            </a:extLst>
          </p:cNvPr>
          <p:cNvSpPr/>
          <p:nvPr/>
        </p:nvSpPr>
        <p:spPr>
          <a:xfrm>
            <a:off x="7920567" y="211667"/>
            <a:ext cx="192616" cy="6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0" name="Rektangel 9">
            <a:extLst>
              <a:ext uri="{FF2B5EF4-FFF2-40B4-BE49-F238E27FC236}">
                <a16:creationId xmlns:a16="http://schemas.microsoft.com/office/drawing/2014/main" id="{A1839504-BA43-3148-B19E-480FB1E15F74}"/>
              </a:ext>
            </a:extLst>
          </p:cNvPr>
          <p:cNvSpPr/>
          <p:nvPr/>
        </p:nvSpPr>
        <p:spPr>
          <a:xfrm>
            <a:off x="8113185" y="211667"/>
            <a:ext cx="3839633" cy="62420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799" y="700800"/>
            <a:ext cx="7488767"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12" name="Text 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431799" y="2804585"/>
            <a:ext cx="3645548"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 2">
            <a:extLst>
              <a:ext uri="{FF2B5EF4-FFF2-40B4-BE49-F238E27FC236}">
                <a16:creationId xmlns:a16="http://schemas.microsoft.com/office/drawing/2014/main" id="{089CFEC7-99C6-0746-8ADC-4898C0347892}"/>
              </a:ext>
            </a:extLst>
          </p:cNvPr>
          <p:cNvSpPr>
            <a:spLocks noGrp="1"/>
          </p:cNvSpPr>
          <p:nvPr>
            <p:ph type="body" sz="quarter" idx="22" hasCustomPrompt="1"/>
          </p:nvPr>
        </p:nvSpPr>
        <p:spPr>
          <a:xfrm>
            <a:off x="4275017" y="2804585"/>
            <a:ext cx="3645548" cy="3456516"/>
          </a:xfrm>
        </p:spPr>
        <p:txBody>
          <a:bodyPr rIns="216000"/>
          <a:lstStyle>
            <a:lvl1pPr>
              <a:defRPr sz="1867"/>
            </a:lvl1pPr>
            <a:lvl2pPr>
              <a:defRPr sz="1600"/>
            </a:lvl2pPr>
            <a:lvl3pPr>
              <a:defRPr sz="1600"/>
            </a:lvl3pPr>
            <a:lvl4pPr>
              <a:defRPr sz="1600"/>
            </a:lvl4pPr>
            <a:lvl5pPr>
              <a:defRPr sz="1600"/>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hart">
            <a:extLst>
              <a:ext uri="{FF2B5EF4-FFF2-40B4-BE49-F238E27FC236}">
                <a16:creationId xmlns:a16="http://schemas.microsoft.com/office/drawing/2014/main" id="{A91A41A0-04EF-2048-AE61-5DDC5148F93A}"/>
              </a:ext>
            </a:extLst>
          </p:cNvPr>
          <p:cNvSpPr>
            <a:spLocks noGrp="1"/>
          </p:cNvSpPr>
          <p:nvPr>
            <p:ph type="chart" sz="quarter" idx="15" hasCustomPrompt="1"/>
          </p:nvPr>
        </p:nvSpPr>
        <p:spPr>
          <a:xfrm>
            <a:off x="8295923" y="836085"/>
            <a:ext cx="3474156" cy="3334156"/>
          </a:xfrm>
        </p:spPr>
        <p:txBody>
          <a:bodyPr/>
          <a:lstStyle>
            <a:lvl1pPr algn="ctr">
              <a:buNone/>
              <a:defRPr sz="1067"/>
            </a:lvl1pPr>
          </a:lstStyle>
          <a:p>
            <a:r>
              <a:rPr lang="en-GB" noProof="0"/>
              <a:t>Click on the icon to add chart</a:t>
            </a:r>
          </a:p>
        </p:txBody>
      </p:sp>
      <p:sp>
        <p:nvSpPr>
          <p:cNvPr id="14" name="Subtitle 1">
            <a:extLst>
              <a:ext uri="{FF2B5EF4-FFF2-40B4-BE49-F238E27FC236}">
                <a16:creationId xmlns:a16="http://schemas.microsoft.com/office/drawing/2014/main" id="{67982006-AFBB-0E47-AD42-44CEB05BBE12}"/>
              </a:ext>
            </a:extLst>
          </p:cNvPr>
          <p:cNvSpPr>
            <a:spLocks noGrp="1"/>
          </p:cNvSpPr>
          <p:nvPr>
            <p:ph type="body" sz="quarter" idx="20" hasCustomPrompt="1"/>
          </p:nvPr>
        </p:nvSpPr>
        <p:spPr>
          <a:xfrm>
            <a:off x="8304339" y="4521118"/>
            <a:ext cx="3460800" cy="474657"/>
          </a:xfrm>
        </p:spPr>
        <p:txBody>
          <a:bodyPr lIns="144000" rIns="144000" anchor="b"/>
          <a:lstStyle>
            <a:lvl1pPr marL="0" indent="0" algn="ctr">
              <a:lnSpc>
                <a:spcPct val="95000"/>
              </a:lnSpc>
              <a:spcBef>
                <a:spcPts val="0"/>
              </a:spcBef>
              <a:buNone/>
              <a:tabLst/>
              <a:defRPr sz="2400" b="1"/>
            </a:lvl1pPr>
            <a:lvl2pPr marL="0" indent="0">
              <a:buNone/>
              <a:tabLst/>
              <a:defRPr sz="1600"/>
            </a:lvl2pPr>
            <a:lvl3pPr marL="0" indent="0">
              <a:buNone/>
              <a:tabLst/>
              <a:defRPr sz="1600"/>
            </a:lvl3pPr>
            <a:lvl4pPr marL="0" indent="0">
              <a:buNone/>
              <a:tabLst/>
              <a:defRPr sz="1600"/>
            </a:lvl4pPr>
            <a:lvl5pPr marL="0" indent="0">
              <a:buNone/>
              <a:tabLst/>
              <a:defRPr sz="1600"/>
            </a:lvl5pPr>
          </a:lstStyle>
          <a:p>
            <a:pPr lvl="0"/>
            <a:r>
              <a:rPr lang="en-GB" noProof="0"/>
              <a:t>Click to add headline</a:t>
            </a:r>
          </a:p>
        </p:txBody>
      </p:sp>
      <p:sp>
        <p:nvSpPr>
          <p:cNvPr id="18" name="Text 3">
            <a:extLst>
              <a:ext uri="{FF2B5EF4-FFF2-40B4-BE49-F238E27FC236}">
                <a16:creationId xmlns:a16="http://schemas.microsoft.com/office/drawing/2014/main" id="{754D20A8-6A7E-3C4B-82E9-6F1713B7D670}"/>
              </a:ext>
            </a:extLst>
          </p:cNvPr>
          <p:cNvSpPr>
            <a:spLocks noGrp="1"/>
          </p:cNvSpPr>
          <p:nvPr>
            <p:ph type="body" sz="quarter" idx="21" hasCustomPrompt="1"/>
          </p:nvPr>
        </p:nvSpPr>
        <p:spPr>
          <a:xfrm>
            <a:off x="8300862" y="5036447"/>
            <a:ext cx="3464277" cy="1224653"/>
          </a:xfrm>
        </p:spPr>
        <p:txBody>
          <a:bodyPr lIns="216000" rIns="216000"/>
          <a:lstStyle>
            <a:lvl1pPr marL="21166" indent="-21166" algn="ctr">
              <a:buNone/>
              <a:tabLst/>
              <a:defRPr sz="1867"/>
            </a:lvl1pPr>
            <a:lvl2pPr marL="21166" indent="-21166" algn="ctr">
              <a:buNone/>
              <a:tabLst/>
              <a:defRPr sz="1600"/>
            </a:lvl2pPr>
            <a:lvl3pPr marL="21166" indent="-21166" algn="ctr">
              <a:buNone/>
              <a:tabLst/>
              <a:defRPr sz="1600"/>
            </a:lvl3pPr>
            <a:lvl4pPr marL="21166" indent="-21166" algn="ctr">
              <a:buNone/>
              <a:tabLst/>
              <a:defRPr sz="1600"/>
            </a:lvl4pPr>
            <a:lvl5pPr marL="21166" indent="-21166" algn="ctr">
              <a:buNone/>
              <a:tabLst/>
              <a:defRPr sz="1600"/>
            </a:lvl5pPr>
          </a:lstStyle>
          <a:p>
            <a:pPr lvl="0"/>
            <a:r>
              <a:rPr lang="en-GB" noProof="0"/>
              <a:t>Click to add text</a:t>
            </a:r>
          </a:p>
        </p:txBody>
      </p:sp>
      <p:sp>
        <p:nvSpPr>
          <p:cNvPr id="2" name="Notes">
            <a:extLst>
              <a:ext uri="{FF2B5EF4-FFF2-40B4-BE49-F238E27FC236}">
                <a16:creationId xmlns:a16="http://schemas.microsoft.com/office/drawing/2014/main" id="{3F5A0366-B78C-8BBB-FBFD-59D31AD2FAEF}"/>
              </a:ext>
            </a:extLst>
          </p:cNvPr>
          <p:cNvSpPr>
            <a:spLocks noGrp="1"/>
          </p:cNvSpPr>
          <p:nvPr>
            <p:ph type="body" sz="quarter" idx="19" hasCustomPrompt="1"/>
          </p:nvPr>
        </p:nvSpPr>
        <p:spPr>
          <a:xfrm>
            <a:off x="8118233" y="6261101"/>
            <a:ext cx="3641968" cy="192617"/>
          </a:xfrm>
        </p:spPr>
        <p:txBody>
          <a:bodyPr lIns="111600" tIns="0" rIns="216000" bIns="18000" anchor="b"/>
          <a:lstStyle>
            <a:lvl1pPr marL="0" indent="0">
              <a:spcBef>
                <a:spcPts val="0"/>
              </a:spcBef>
              <a:buNone/>
              <a:tabLst/>
              <a:defRPr sz="800"/>
            </a:lvl1pPr>
            <a:lvl2pPr>
              <a:buNone/>
              <a:defRPr sz="1067"/>
            </a:lvl2pPr>
            <a:lvl3pPr>
              <a:buNone/>
              <a:defRPr sz="1067"/>
            </a:lvl3pPr>
            <a:lvl4pPr>
              <a:buNone/>
              <a:defRPr sz="1067"/>
            </a:lvl4pPr>
            <a:lvl5pPr>
              <a:buNone/>
              <a:defRPr sz="1067"/>
            </a:lvl5pPr>
          </a:lstStyle>
          <a:p>
            <a:pPr lvl="0"/>
            <a:r>
              <a:rPr lang="en-GB" noProof="0"/>
              <a:t>*Click to add footnotes</a:t>
            </a:r>
          </a:p>
        </p:txBody>
      </p:sp>
      <p:sp>
        <p:nvSpPr>
          <p:cNvPr id="38" name="Date">
            <a:extLst>
              <a:ext uri="{FF2B5EF4-FFF2-40B4-BE49-F238E27FC236}">
                <a16:creationId xmlns:a16="http://schemas.microsoft.com/office/drawing/2014/main" id="{9AD8DCC8-E09D-6045-BD4F-CD56F045E71F}"/>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7A530446-CD9E-364C-89E4-9677296BD4F4}" type="datetime1">
              <a:rPr lang="sv-SE" noProof="0" smtClean="0"/>
              <a:t>2025-04-07</a:t>
            </a:fld>
            <a:endParaRPr lang="en-GB" noProof="0"/>
          </a:p>
        </p:txBody>
      </p:sp>
      <p:sp>
        <p:nvSpPr>
          <p:cNvPr id="39" name="Number">
            <a:extLst>
              <a:ext uri="{FF2B5EF4-FFF2-40B4-BE49-F238E27FC236}">
                <a16:creationId xmlns:a16="http://schemas.microsoft.com/office/drawing/2014/main" id="{8146F900-BA4E-2B4B-B712-8BFC2919DDD1}"/>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15" name="Footer">
            <a:extLst>
              <a:ext uri="{FF2B5EF4-FFF2-40B4-BE49-F238E27FC236}">
                <a16:creationId xmlns:a16="http://schemas.microsoft.com/office/drawing/2014/main" id="{75B76674-8D8E-5447-A5ED-487EED102E9F}"/>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362310008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5 Headline only">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4F9BFEED-0E03-904F-9847-3F79E60C9524}"/>
              </a:ext>
            </a:extLst>
          </p:cNvPr>
          <p:cNvSpPr>
            <a:spLocks noGrp="1"/>
          </p:cNvSpPr>
          <p:nvPr>
            <p:ph type="title" hasCustomPrompt="1"/>
          </p:nvPr>
        </p:nvSpPr>
        <p:spPr>
          <a:xfrm>
            <a:off x="431797" y="700800"/>
            <a:ext cx="9408587" cy="1997752"/>
          </a:xfrm>
        </p:spPr>
        <p:txBody>
          <a:bodyPr rIns="144000"/>
          <a:lstStyle>
            <a:lvl1pPr>
              <a:defRPr sz="4000" spc="-67" baseline="0"/>
            </a:lvl1pPr>
          </a:lstStyle>
          <a:p>
            <a:r>
              <a:rPr lang="en-GB" noProof="0"/>
              <a:t>Click to add a headline of maximum three lines</a:t>
            </a:r>
          </a:p>
        </p:txBody>
      </p:sp>
      <p:sp>
        <p:nvSpPr>
          <p:cNvPr id="16" name="Navigation">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431801" y="368302"/>
            <a:ext cx="5568951" cy="369332"/>
          </a:xfrm>
        </p:spPr>
        <p:txBody>
          <a:bodyPr lIns="111600" rIns="144000" anchor="t"/>
          <a:lstStyle>
            <a:lvl1pPr marL="4233" indent="-4233">
              <a:buNone/>
              <a:tabLst/>
              <a:defRPr sz="1600" b="1"/>
            </a:lvl1pPr>
            <a:lvl2pPr>
              <a:buNone/>
              <a:defRPr/>
            </a:lvl2pPr>
            <a:lvl3pPr>
              <a:buNone/>
              <a:defRPr/>
            </a:lvl3pPr>
            <a:lvl4pPr>
              <a:buNone/>
              <a:defRPr/>
            </a:lvl4pPr>
            <a:lvl5pPr>
              <a:buNone/>
              <a:defRPr/>
            </a:lvl5pPr>
          </a:lstStyle>
          <a:p>
            <a:pPr lvl="0"/>
            <a:r>
              <a:rPr lang="en-GB" noProof="0"/>
              <a:t>Click to add navigation/chapter tracker</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26DA92D1-7070-C747-8A62-71428CEA4859}"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9" name="Footer">
            <a:extLst>
              <a:ext uri="{FF2B5EF4-FFF2-40B4-BE49-F238E27FC236}">
                <a16:creationId xmlns:a16="http://schemas.microsoft.com/office/drawing/2014/main" id="{616B5AAB-F6E7-9147-98E7-3D0B31E4B4D8}"/>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1441132502"/>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5 Full image">
    <p:spTree>
      <p:nvGrpSpPr>
        <p:cNvPr id="1" name=""/>
        <p:cNvGrpSpPr/>
        <p:nvPr/>
      </p:nvGrpSpPr>
      <p:grpSpPr>
        <a:xfrm>
          <a:off x="0" y="0"/>
          <a:ext cx="0" cy="0"/>
          <a:chOff x="0" y="0"/>
          <a:chExt cx="0" cy="0"/>
        </a:xfrm>
      </p:grpSpPr>
      <p:sp>
        <p:nvSpPr>
          <p:cNvPr id="3" name="Background image">
            <a:extLst>
              <a:ext uri="{FF2B5EF4-FFF2-40B4-BE49-F238E27FC236}">
                <a16:creationId xmlns:a16="http://schemas.microsoft.com/office/drawing/2014/main" id="{9F1AC932-946D-0741-A2C9-2D08F5084820}"/>
              </a:ext>
            </a:extLst>
          </p:cNvPr>
          <p:cNvSpPr>
            <a:spLocks noGrp="1"/>
          </p:cNvSpPr>
          <p:nvPr>
            <p:ph type="pic" sz="quarter" idx="10" hasCustomPrompt="1"/>
          </p:nvPr>
        </p:nvSpPr>
        <p:spPr>
          <a:xfrm>
            <a:off x="239184" y="211667"/>
            <a:ext cx="11713763" cy="6242051"/>
          </a:xfrm>
          <a:blipFill>
            <a:blip r:embed="rId2"/>
            <a:tile tx="0" ty="0" sx="100000" sy="100000" flip="none" algn="tl"/>
          </a:blipFill>
        </p:spPr>
        <p:txBody>
          <a:bodyPr/>
          <a:lstStyle>
            <a:lvl1pPr algn="ctr">
              <a:buNone/>
              <a:defRPr sz="1067">
                <a:solidFill>
                  <a:schemeClr val="bg1">
                    <a:lumMod val="75000"/>
                  </a:schemeClr>
                </a:solidFill>
              </a:defRPr>
            </a:lvl1pPr>
          </a:lstStyle>
          <a:p>
            <a:r>
              <a:rPr lang="en-GB" noProof="0"/>
              <a:t>Click on the icon to add an image</a:t>
            </a:r>
          </a:p>
        </p:txBody>
      </p:sp>
      <p:sp>
        <p:nvSpPr>
          <p:cNvPr id="35" name="Date">
            <a:extLst>
              <a:ext uri="{FF2B5EF4-FFF2-40B4-BE49-F238E27FC236}">
                <a16:creationId xmlns:a16="http://schemas.microsoft.com/office/drawing/2014/main" id="{EBF909F0-CE1B-3D46-83B7-E4DA279DC19B}"/>
              </a:ext>
            </a:extLst>
          </p:cNvPr>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66D56CCE-AB4C-DB42-A17E-D0263EED643F}" type="datetime1">
              <a:rPr lang="sv-SE" noProof="0" smtClean="0"/>
              <a:t>2025-04-07</a:t>
            </a:fld>
            <a:endParaRPr lang="en-GB" noProof="0"/>
          </a:p>
        </p:txBody>
      </p:sp>
      <p:sp>
        <p:nvSpPr>
          <p:cNvPr id="36" name="Number">
            <a:extLst>
              <a:ext uri="{FF2B5EF4-FFF2-40B4-BE49-F238E27FC236}">
                <a16:creationId xmlns:a16="http://schemas.microsoft.com/office/drawing/2014/main" id="{EB2FF840-5D29-6845-91DA-E82490F28637}"/>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6" name="Footer">
            <a:extLst>
              <a:ext uri="{FF2B5EF4-FFF2-40B4-BE49-F238E27FC236}">
                <a16:creationId xmlns:a16="http://schemas.microsoft.com/office/drawing/2014/main" id="{FD8AC7D3-A9FD-F249-A363-5AE59D634F07}"/>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4" name="Title 2">
            <a:extLst>
              <a:ext uri="{FF2B5EF4-FFF2-40B4-BE49-F238E27FC236}">
                <a16:creationId xmlns:a16="http://schemas.microsoft.com/office/drawing/2014/main" id="{28672C7D-DCE5-CFD2-2545-B2F04897613F}"/>
              </a:ext>
            </a:extLst>
          </p:cNvPr>
          <p:cNvSpPr>
            <a:spLocks noGrp="1"/>
          </p:cNvSpPr>
          <p:nvPr>
            <p:ph type="title" hasCustomPrompt="1"/>
          </p:nvPr>
        </p:nvSpPr>
        <p:spPr>
          <a:xfrm>
            <a:off x="431800" y="-1427185"/>
            <a:ext cx="11328400" cy="702735"/>
          </a:xfrm>
        </p:spPr>
        <p:txBody>
          <a:bodyPr/>
          <a:lstStyle>
            <a:lvl1pPr marL="0" marR="0" indent="0" algn="l" defTabSz="914377" rtl="0" eaLnBrk="1" fontAlgn="auto" latinLnBrk="0" hangingPunct="1">
              <a:lnSpc>
                <a:spcPct val="95000"/>
              </a:lnSpc>
              <a:spcBef>
                <a:spcPct val="0"/>
              </a:spcBef>
              <a:spcAft>
                <a:spcPts val="0"/>
              </a:spcAft>
              <a:buClrTx/>
              <a:buSzTx/>
              <a:buFontTx/>
              <a:buNone/>
              <a:tabLst/>
              <a:defRPr/>
            </a:lvl1pPr>
          </a:lstStyle>
          <a:p>
            <a:r>
              <a:rPr lang="en-GB"/>
              <a:t>Click to add hidden slide title for accessibility</a:t>
            </a:r>
          </a:p>
        </p:txBody>
      </p:sp>
    </p:spTree>
    <p:extLst>
      <p:ext uri="{BB962C8B-B14F-4D97-AF65-F5344CB8AC3E}">
        <p14:creationId xmlns:p14="http://schemas.microsoft.com/office/powerpoint/2010/main" val="417609763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oleObject" Target="../embeddings/oleObject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3.xml"/><Relationship Id="rId30" Type="http://schemas.openxmlformats.org/officeDocument/2006/relationships/image" Target="../media/image2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slideLayout" Target="../slideLayouts/slideLayout116.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image" Target="../media/image36.png"/><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theme" Target="../theme/theme5.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F26BD5-A2B4-B809-F89E-EF683E0846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B9583E6-6C73-819D-4232-99979D45C7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0585B7-BA52-5A80-4F52-4293E60A00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F75E7B-13D7-4622-8664-DDAED784DC53}" type="datetimeFigureOut">
              <a:rPr lang="en-US" smtClean="0"/>
              <a:t>4/7/2025</a:t>
            </a:fld>
            <a:endParaRPr lang="en-US"/>
          </a:p>
        </p:txBody>
      </p:sp>
      <p:sp>
        <p:nvSpPr>
          <p:cNvPr id="5" name="Footer Placeholder 4">
            <a:extLst>
              <a:ext uri="{FF2B5EF4-FFF2-40B4-BE49-F238E27FC236}">
                <a16:creationId xmlns:a16="http://schemas.microsoft.com/office/drawing/2014/main" id="{3CE4E6C5-9F93-139F-9B42-741A89B4311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076E48C-6E4F-C0CC-AC64-AC5827549B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A6AF82-6B75-4596-941D-0DB3790BA3C8}" type="slidenum">
              <a:rPr lang="en-US" smtClean="0"/>
              <a:t>‹#›</a:t>
            </a:fld>
            <a:endParaRPr lang="en-US"/>
          </a:p>
        </p:txBody>
      </p:sp>
      <p:sp>
        <p:nvSpPr>
          <p:cNvPr id="8" name="TextBox 7">
            <a:extLst>
              <a:ext uri="{FF2B5EF4-FFF2-40B4-BE49-F238E27FC236}">
                <a16:creationId xmlns:a16="http://schemas.microsoft.com/office/drawing/2014/main" id="{10D83F6C-5279-3210-E9D4-6E6D3749C1DD}"/>
              </a:ext>
            </a:extLst>
          </p:cNvPr>
          <p:cNvSpPr txBox="1"/>
          <p:nvPr userDrawn="1">
            <p:extLst>
              <p:ext uri="{1162E1C5-73C7-4A58-AE30-91384D911F3F}">
                <p184:classification xmlns:p184="http://schemas.microsoft.com/office/powerpoint/2018/4/main" val="hdr"/>
              </p:ext>
            </p:extLst>
          </p:nvPr>
        </p:nvSpPr>
        <p:spPr>
          <a:xfrm>
            <a:off x="5844350" y="63500"/>
            <a:ext cx="531812" cy="121920"/>
          </a:xfrm>
          <a:prstGeom prst="rect">
            <a:avLst/>
          </a:prstGeom>
        </p:spPr>
        <p:txBody>
          <a:bodyPr horzOverflow="overflow" lIns="0" tIns="0" rIns="0" bIns="0">
            <a:spAutoFit/>
          </a:bodyPr>
          <a:lstStyle/>
          <a:p>
            <a:pPr algn="l"/>
            <a:r>
              <a:rPr lang="es-ES" sz="800">
                <a:solidFill>
                  <a:srgbClr val="000000"/>
                </a:solidFill>
                <a:latin typeface="Arial" panose="020B0604020202020204" pitchFamily="34" charset="0"/>
                <a:cs typeface="Arial" panose="020B0604020202020204" pitchFamily="34" charset="0"/>
              </a:rPr>
              <a:t>INTERNAL</a:t>
            </a:r>
          </a:p>
        </p:txBody>
      </p:sp>
      <p:sp>
        <p:nvSpPr>
          <p:cNvPr id="9" name="textruta 8">
            <a:extLst>
              <a:ext uri="{FF2B5EF4-FFF2-40B4-BE49-F238E27FC236}">
                <a16:creationId xmlns:a16="http://schemas.microsoft.com/office/drawing/2014/main" id="{24DFF291-933C-6A90-FFE8-FBBFA98439E9}"/>
              </a:ext>
            </a:extLst>
          </p:cNvPr>
          <p:cNvSpPr txBox="1"/>
          <p:nvPr>
            <p:extLst>
              <p:ext uri="{1162E1C5-73C7-4A58-AE30-91384D911F3F}">
                <p184:classification xmlns:p184="http://schemas.microsoft.com/office/powerpoint/2018/4/main" val="ftr"/>
              </p:ext>
            </p:extLst>
          </p:nvPr>
        </p:nvSpPr>
        <p:spPr>
          <a:xfrm>
            <a:off x="190500" y="6576060"/>
            <a:ext cx="965200" cy="91440"/>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9028027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4"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D0F625-1C98-7929-049A-8CAFF7C67509}"/>
              </a:ext>
            </a:extLst>
          </p:cNvPr>
          <p:cNvSpPr txBox="1"/>
          <p:nvPr userDrawn="1">
            <p:extLst>
              <p:ext uri="{1162E1C5-73C7-4A58-AE30-91384D911F3F}">
                <p184:classification xmlns:p184="http://schemas.microsoft.com/office/powerpoint/2018/4/main" val="hdr"/>
              </p:ext>
            </p:extLst>
          </p:nvPr>
        </p:nvSpPr>
        <p:spPr>
          <a:xfrm>
            <a:off x="5844350" y="63500"/>
            <a:ext cx="531812" cy="121920"/>
          </a:xfrm>
          <a:prstGeom prst="rect">
            <a:avLst/>
          </a:prstGeom>
        </p:spPr>
        <p:txBody>
          <a:bodyPr horzOverflow="overflow" lIns="0" tIns="0" rIns="0" bIns="0">
            <a:spAutoFit/>
          </a:bodyPr>
          <a:lstStyle/>
          <a:p>
            <a:pPr algn="l"/>
            <a:r>
              <a:rPr lang="es-ES" sz="800">
                <a:solidFill>
                  <a:srgbClr val="000000"/>
                </a:solidFill>
                <a:latin typeface="Arial" panose="020B0604020202020204" pitchFamily="34" charset="0"/>
                <a:cs typeface="Arial" panose="020B0604020202020204" pitchFamily="34" charset="0"/>
              </a:rPr>
              <a:t>INTERNAL</a:t>
            </a:r>
          </a:p>
        </p:txBody>
      </p:sp>
      <p:sp>
        <p:nvSpPr>
          <p:cNvPr id="4" name="textruta 3">
            <a:extLst>
              <a:ext uri="{FF2B5EF4-FFF2-40B4-BE49-F238E27FC236}">
                <a16:creationId xmlns:a16="http://schemas.microsoft.com/office/drawing/2014/main" id="{D8DEC925-3E67-82FC-CAA4-2CACECF893C7}"/>
              </a:ext>
            </a:extLst>
          </p:cNvPr>
          <p:cNvSpPr txBox="1"/>
          <p:nvPr>
            <p:extLst>
              <p:ext uri="{1162E1C5-73C7-4A58-AE30-91384D911F3F}">
                <p184:classification xmlns:p184="http://schemas.microsoft.com/office/powerpoint/2018/4/main" val="ftr"/>
              </p:ext>
            </p:extLst>
          </p:nvPr>
        </p:nvSpPr>
        <p:spPr>
          <a:xfrm>
            <a:off x="190500" y="6576060"/>
            <a:ext cx="965200" cy="91440"/>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07218368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C47C6AA-4BBC-4747-8F19-53EDDB988490}"/>
              </a:ext>
            </a:extLst>
          </p:cNvPr>
          <p:cNvGraphicFramePr>
            <a:graphicFrameLocks noChangeAspect="1"/>
          </p:cNvGraphicFramePr>
          <p:nvPr userDrawn="1">
            <p:custDataLst>
              <p:tags r:id="rId2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9" imgW="592" imgH="595" progId="TCLayout.ActiveDocument.1">
                  <p:embed/>
                </p:oleObj>
              </mc:Choice>
              <mc:Fallback>
                <p:oleObj name="think-cell Slide" r:id="rId29" imgW="592" imgH="595" progId="TCLayout.ActiveDocument.1">
                  <p:embed/>
                  <p:pic>
                    <p:nvPicPr>
                      <p:cNvPr id="6" name="Objekt 5" hidden="1">
                        <a:extLst>
                          <a:ext uri="{FF2B5EF4-FFF2-40B4-BE49-F238E27FC236}">
                            <a16:creationId xmlns:a16="http://schemas.microsoft.com/office/drawing/2014/main" id="{8C47C6AA-4BBC-4747-8F19-53EDDB988490}"/>
                          </a:ext>
                        </a:extLst>
                      </p:cNvPr>
                      <p:cNvPicPr/>
                      <p:nvPr/>
                    </p:nvPicPr>
                    <p:blipFill>
                      <a:blip r:embed="rId30"/>
                      <a:stretch>
                        <a:fillRect/>
                      </a:stretch>
                    </p:blipFill>
                    <p:spPr>
                      <a:xfrm>
                        <a:off x="2118" y="2118"/>
                        <a:ext cx="2117" cy="2117"/>
                      </a:xfrm>
                      <a:prstGeom prst="rect">
                        <a:avLst/>
                      </a:prstGeom>
                    </p:spPr>
                  </p:pic>
                </p:oleObj>
              </mc:Fallback>
            </mc:AlternateContent>
          </a:graphicData>
        </a:graphic>
      </p:graphicFrame>
      <p:sp>
        <p:nvSpPr>
          <p:cNvPr id="21" name="Frame">
            <a:extLst>
              <a:ext uri="{FF2B5EF4-FFF2-40B4-BE49-F238E27FC236}">
                <a16:creationId xmlns:a16="http://schemas.microsoft.com/office/drawing/2014/main" id="{CD4B332F-8E6A-4544-856F-C9543E014148}"/>
              </a:ext>
            </a:extLst>
          </p:cNvPr>
          <p:cNvSpPr/>
          <p:nvPr userDrawn="1"/>
        </p:nvSpPr>
        <p:spPr>
          <a:xfrm rot="5400000">
            <a:off x="2667000" y="-2667000"/>
            <a:ext cx="6858000" cy="12192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400" noProof="0"/>
          </a:p>
        </p:txBody>
      </p:sp>
      <p:grpSp>
        <p:nvGrpSpPr>
          <p:cNvPr id="37" name="Logo">
            <a:extLst>
              <a:ext uri="{FF2B5EF4-FFF2-40B4-BE49-F238E27FC236}">
                <a16:creationId xmlns:a16="http://schemas.microsoft.com/office/drawing/2014/main" id="{9FB574A9-A763-714E-AC65-2F90EB646F51}"/>
              </a:ext>
            </a:extLst>
          </p:cNvPr>
          <p:cNvGrpSpPr/>
          <p:nvPr userDrawn="1"/>
        </p:nvGrpSpPr>
        <p:grpSpPr>
          <a:xfrm>
            <a:off x="5447532" y="6556183"/>
            <a:ext cx="1296936" cy="198328"/>
            <a:chOff x="4085649" y="4917137"/>
            <a:chExt cx="972702" cy="148746"/>
          </a:xfrm>
        </p:grpSpPr>
        <p:sp>
          <p:nvSpPr>
            <p:cNvPr id="38" name="Frihandsfigur 37">
              <a:extLst>
                <a:ext uri="{FF2B5EF4-FFF2-40B4-BE49-F238E27FC236}">
                  <a16:creationId xmlns:a16="http://schemas.microsoft.com/office/drawing/2014/main" id="{65D872E4-7FD8-304A-A33E-A4979619DC23}"/>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sz="2400" noProof="0"/>
            </a:p>
          </p:txBody>
        </p:sp>
        <p:sp>
          <p:nvSpPr>
            <p:cNvPr id="39" name="Frihandsfigur 38">
              <a:extLst>
                <a:ext uri="{FF2B5EF4-FFF2-40B4-BE49-F238E27FC236}">
                  <a16:creationId xmlns:a16="http://schemas.microsoft.com/office/drawing/2014/main" id="{9EA5AED1-B3FC-7148-ADAE-32AE773DA5EC}"/>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sz="2400" noProof="0"/>
            </a:p>
          </p:txBody>
        </p:sp>
        <p:sp>
          <p:nvSpPr>
            <p:cNvPr id="40" name="Frihandsfigur 39">
              <a:extLst>
                <a:ext uri="{FF2B5EF4-FFF2-40B4-BE49-F238E27FC236}">
                  <a16:creationId xmlns:a16="http://schemas.microsoft.com/office/drawing/2014/main" id="{FFE26B1C-3AA7-6C4A-94D9-E473B98DD1BF}"/>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sz="2400" noProof="0"/>
            </a:p>
          </p:txBody>
        </p:sp>
      </p:grpSp>
      <p:sp>
        <p:nvSpPr>
          <p:cNvPr id="2" name="Title Placeholder 1"/>
          <p:cNvSpPr>
            <a:spLocks noGrp="1"/>
          </p:cNvSpPr>
          <p:nvPr>
            <p:ph type="title"/>
          </p:nvPr>
        </p:nvSpPr>
        <p:spPr>
          <a:xfrm>
            <a:off x="431800" y="727100"/>
            <a:ext cx="11328400" cy="551056"/>
          </a:xfrm>
          <a:prstGeom prst="rect">
            <a:avLst/>
          </a:prstGeom>
        </p:spPr>
        <p:txBody>
          <a:bodyPr vert="horz" lIns="91440" tIns="45720" rIns="144000" bIns="45720" rtlCol="0" anchor="t">
            <a:noAutofit/>
          </a:bodyPr>
          <a:lstStyle/>
          <a:p>
            <a:r>
              <a:rPr lang="en-GB" noProof="0"/>
              <a:t>Click to edit Master title slide</a:t>
            </a:r>
          </a:p>
        </p:txBody>
      </p:sp>
      <p:sp>
        <p:nvSpPr>
          <p:cNvPr id="3" name="Text Placeholder 2"/>
          <p:cNvSpPr>
            <a:spLocks noGrp="1"/>
          </p:cNvSpPr>
          <p:nvPr>
            <p:ph type="body" idx="1"/>
          </p:nvPr>
        </p:nvSpPr>
        <p:spPr>
          <a:xfrm>
            <a:off x="431800" y="1797052"/>
            <a:ext cx="11328400" cy="4464049"/>
          </a:xfrm>
          <a:prstGeom prst="rect">
            <a:avLst/>
          </a:prstGeom>
        </p:spPr>
        <p:txBody>
          <a:bodyPr vert="horz" lIns="90000" tIns="45720" rIns="144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Date Placeholder 3"/>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8925DA63-8B5D-4B27-9BE4-27571BA41198}" type="datetime1">
              <a:rPr lang="sv-SE" noProof="0" smtClean="0"/>
              <a:t>2025-04-07</a:t>
            </a:fld>
            <a:endParaRPr lang="en-GB" noProof="0"/>
          </a:p>
        </p:txBody>
      </p:sp>
      <p:sp>
        <p:nvSpPr>
          <p:cNvPr id="23" name="Slide Number Placeholder 5">
            <a:extLst>
              <a:ext uri="{FF2B5EF4-FFF2-40B4-BE49-F238E27FC236}">
                <a16:creationId xmlns:a16="http://schemas.microsoft.com/office/drawing/2014/main" id="{AD23396C-F419-E04B-8B2D-18295DF77462}"/>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22" name="Platshållare för sidfot 6">
            <a:extLst>
              <a:ext uri="{FF2B5EF4-FFF2-40B4-BE49-F238E27FC236}">
                <a16:creationId xmlns:a16="http://schemas.microsoft.com/office/drawing/2014/main" id="{16E4C672-CF50-B14D-8CAC-37BB2A05635B}"/>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a:p>
            <a:endParaRPr lang="en-GB" noProof="0"/>
          </a:p>
        </p:txBody>
      </p:sp>
      <p:sp>
        <p:nvSpPr>
          <p:cNvPr id="5" name="textruta 4">
            <a:extLst>
              <a:ext uri="{FF2B5EF4-FFF2-40B4-BE49-F238E27FC236}">
                <a16:creationId xmlns:a16="http://schemas.microsoft.com/office/drawing/2014/main" id="{E2EC90FE-C11D-45E4-929D-10961494A6D3}"/>
              </a:ext>
            </a:extLst>
          </p:cNvPr>
          <p:cNvSpPr txBox="1"/>
          <p:nvPr>
            <p:extLst>
              <p:ext uri="{1162E1C5-73C7-4A58-AE30-91384D911F3F}">
                <p184:classification xmlns:p184="http://schemas.microsoft.com/office/powerpoint/2018/4/main" val="ftr"/>
              </p:ext>
            </p:extLst>
          </p:nvPr>
        </p:nvSpPr>
        <p:spPr>
          <a:xfrm>
            <a:off x="190500" y="6576060"/>
            <a:ext cx="965200" cy="91440"/>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360056426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Lst>
  <p:hf hdr="0" ftr="0" dt="0"/>
  <p:txStyles>
    <p:titleStyle>
      <a:lvl1pPr algn="l" defTabSz="914377" rtl="0" eaLnBrk="1" latinLnBrk="0" hangingPunct="1">
        <a:lnSpc>
          <a:spcPct val="95000"/>
        </a:lnSpc>
        <a:spcBef>
          <a:spcPct val="0"/>
        </a:spcBef>
        <a:buNone/>
        <a:defRPr sz="3200" b="1" kern="1200" spc="-93" baseline="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478355" indent="-239178"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2pPr>
      <a:lvl3pPr marL="713300" indent="-234945"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952476" indent="-239178"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185304" indent="-232828"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p15:clr>
            <a:srgbClr val="F26B43"/>
          </p15:clr>
        </p15:guide>
        <p15:guide id="4" pos="5647">
          <p15:clr>
            <a:srgbClr val="F26B43"/>
          </p15:clr>
        </p15:guide>
        <p15:guide id="5" orient="horz" pos="100">
          <p15:clr>
            <a:srgbClr val="F26B43"/>
          </p15:clr>
        </p15:guide>
        <p15:guide id="6" orient="horz" pos="3049">
          <p15:clr>
            <a:srgbClr val="F26B43"/>
          </p15:clr>
        </p15:guide>
        <p15:guide id="7" pos="2925">
          <p15:clr>
            <a:srgbClr val="547EBF"/>
          </p15:clr>
        </p15:guide>
        <p15:guide id="8" pos="2835">
          <p15:clr>
            <a:srgbClr val="547EBF"/>
          </p15:clr>
        </p15:guide>
        <p15:guide id="9" pos="204">
          <p15:clr>
            <a:srgbClr val="547EBF"/>
          </p15:clr>
        </p15:guide>
        <p15:guide id="10" pos="5556">
          <p15:clr>
            <a:srgbClr val="547EBF"/>
          </p15:clr>
        </p15:guide>
        <p15:guide id="11" orient="horz" pos="169">
          <p15:clr>
            <a:srgbClr val="547EBF"/>
          </p15:clr>
        </p15:guide>
        <p15:guide id="12" orient="horz" pos="2958">
          <p15:clr>
            <a:srgbClr val="547EBF"/>
          </p15:clr>
        </p15:guide>
        <p15:guide id="16" pos="1111">
          <p15:clr>
            <a:srgbClr val="547EBF"/>
          </p15:clr>
        </p15:guide>
        <p15:guide id="17" pos="1927">
          <p15:clr>
            <a:srgbClr val="547EBF"/>
          </p15:clr>
        </p15:guide>
        <p15:guide id="18" pos="2018">
          <p15:clr>
            <a:srgbClr val="547EBF"/>
          </p15:clr>
        </p15:guide>
        <p15:guide id="19" pos="3742">
          <p15:clr>
            <a:srgbClr val="547EBF"/>
          </p15:clr>
        </p15:guide>
        <p15:guide id="20" pos="3833">
          <p15:clr>
            <a:srgbClr val="547EBF"/>
          </p15:clr>
        </p15:guide>
        <p15:guide id="21" pos="4649">
          <p15:clr>
            <a:srgbClr val="547EBF"/>
          </p15:clr>
        </p15:guide>
        <p15:guide id="22" pos="4740">
          <p15:clr>
            <a:srgbClr val="547EBF"/>
          </p15:clr>
        </p15:guide>
        <p15:guide id="24" pos="1020">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31800" y="700800"/>
            <a:ext cx="11328400" cy="2081296"/>
          </a:xfrm>
          <a:prstGeom prst="rect">
            <a:avLst/>
          </a:prstGeom>
        </p:spPr>
        <p:txBody>
          <a:bodyPr vert="horz" lIns="91440" tIns="45720" rIns="91440" bIns="45720" rtlCol="0" anchor="t">
            <a:noAutofit/>
          </a:bodyPr>
          <a:lstStyle/>
          <a:p>
            <a:r>
              <a:rPr lang="en-GB" noProof="0"/>
              <a:t>Click to edit Master title slide</a:t>
            </a:r>
          </a:p>
        </p:txBody>
      </p:sp>
      <p:sp>
        <p:nvSpPr>
          <p:cNvPr id="3" name="Text"/>
          <p:cNvSpPr>
            <a:spLocks noGrp="1"/>
          </p:cNvSpPr>
          <p:nvPr>
            <p:ph type="body" idx="1"/>
          </p:nvPr>
        </p:nvSpPr>
        <p:spPr>
          <a:xfrm>
            <a:off x="431800" y="2804584"/>
            <a:ext cx="11328400" cy="3484907"/>
          </a:xfrm>
          <a:prstGeom prst="rect">
            <a:avLst/>
          </a:prstGeom>
        </p:spPr>
        <p:txBody>
          <a:bodyPr vert="horz" lIns="90000" tIns="45720" rIns="90000" bIns="45720" rtlCol="0">
            <a:noAutofit/>
          </a:bodyPr>
          <a:lstStyle/>
          <a:p>
            <a:pPr lvl="0"/>
            <a:r>
              <a:rPr lang="en-GB" noProof="0"/>
              <a:t>Click to edit Master text slid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Frihandsfigur 38">
            <a:extLst>
              <a:ext uri="{FF2B5EF4-FFF2-40B4-BE49-F238E27FC236}">
                <a16:creationId xmlns:a16="http://schemas.microsoft.com/office/drawing/2014/main" id="{E1BCAB34-53D3-7A48-9E69-B9D2FB9E2C35}"/>
              </a:ext>
            </a:extLst>
          </p:cNvPr>
          <p:cNvSpPr/>
          <p:nvPr/>
        </p:nvSpPr>
        <p:spPr>
          <a:xfrm rot="5400000">
            <a:off x="2667000" y="-2667000"/>
            <a:ext cx="6858000" cy="12192000"/>
          </a:xfrm>
          <a:custGeom>
            <a:avLst/>
            <a:gdLst>
              <a:gd name="connsiteX0" fmla="*/ 158750 w 5143500"/>
              <a:gd name="connsiteY0" fmla="*/ 8964612 h 9144000"/>
              <a:gd name="connsiteX1" fmla="*/ 4840289 w 5143500"/>
              <a:gd name="connsiteY1" fmla="*/ 8964612 h 9144000"/>
              <a:gd name="connsiteX2" fmla="*/ 4840289 w 5143500"/>
              <a:gd name="connsiteY2" fmla="*/ 179389 h 9144000"/>
              <a:gd name="connsiteX3" fmla="*/ 158750 w 5143500"/>
              <a:gd name="connsiteY3" fmla="*/ 179389 h 9144000"/>
              <a:gd name="connsiteX4" fmla="*/ 0 w 5143500"/>
              <a:gd name="connsiteY4" fmla="*/ 179389 h 9144000"/>
              <a:gd name="connsiteX5" fmla="*/ 0 w 5143500"/>
              <a:gd name="connsiteY5" fmla="*/ 0 h 9144000"/>
              <a:gd name="connsiteX6" fmla="*/ 5143500 w 5143500"/>
              <a:gd name="connsiteY6" fmla="*/ 0 h 9144000"/>
              <a:gd name="connsiteX7" fmla="*/ 5143500 w 5143500"/>
              <a:gd name="connsiteY7" fmla="*/ 25398 h 9144000"/>
              <a:gd name="connsiteX8" fmla="*/ 5143500 w 5143500"/>
              <a:gd name="connsiteY8" fmla="*/ 25398 h 9144000"/>
              <a:gd name="connsiteX9" fmla="*/ 5143500 w 5143500"/>
              <a:gd name="connsiteY9" fmla="*/ 9033715 h 9144000"/>
              <a:gd name="connsiteX10" fmla="*/ 5143499 w 5143500"/>
              <a:gd name="connsiteY10" fmla="*/ 9033715 h 9144000"/>
              <a:gd name="connsiteX11" fmla="*/ 5143499 w 5143500"/>
              <a:gd name="connsiteY11" fmla="*/ 9144000 h 9144000"/>
              <a:gd name="connsiteX12" fmla="*/ 0 w 5143500"/>
              <a:gd name="connsiteY12" fmla="*/ 9144000 h 9144000"/>
              <a:gd name="connsiteX13" fmla="*/ 0 w 5143500"/>
              <a:gd name="connsiteY13" fmla="*/ 9033714 h 9144000"/>
              <a:gd name="connsiteX14" fmla="*/ 0 w 5143500"/>
              <a:gd name="connsiteY14" fmla="*/ 9033714 h 9144000"/>
              <a:gd name="connsiteX15" fmla="*/ 0 w 5143500"/>
              <a:gd name="connsiteY15" fmla="*/ 179389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43500" h="9144000">
                <a:moveTo>
                  <a:pt x="158750" y="8964612"/>
                </a:moveTo>
                <a:lnTo>
                  <a:pt x="4840289" y="8964612"/>
                </a:lnTo>
                <a:lnTo>
                  <a:pt x="4840289" y="179389"/>
                </a:lnTo>
                <a:lnTo>
                  <a:pt x="158750" y="179389"/>
                </a:lnTo>
                <a:close/>
                <a:moveTo>
                  <a:pt x="0" y="179389"/>
                </a:moveTo>
                <a:lnTo>
                  <a:pt x="0" y="0"/>
                </a:lnTo>
                <a:lnTo>
                  <a:pt x="5143500" y="0"/>
                </a:lnTo>
                <a:lnTo>
                  <a:pt x="5143500" y="25398"/>
                </a:lnTo>
                <a:lnTo>
                  <a:pt x="5143500" y="25398"/>
                </a:lnTo>
                <a:lnTo>
                  <a:pt x="5143500" y="9033715"/>
                </a:lnTo>
                <a:lnTo>
                  <a:pt x="5143499" y="9033715"/>
                </a:lnTo>
                <a:lnTo>
                  <a:pt x="5143499" y="9144000"/>
                </a:lnTo>
                <a:lnTo>
                  <a:pt x="0" y="9144000"/>
                </a:lnTo>
                <a:lnTo>
                  <a:pt x="0" y="9033714"/>
                </a:lnTo>
                <a:lnTo>
                  <a:pt x="0" y="9033714"/>
                </a:lnTo>
                <a:lnTo>
                  <a:pt x="0" y="17938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2400"/>
          </a:p>
        </p:txBody>
      </p:sp>
      <p:grpSp>
        <p:nvGrpSpPr>
          <p:cNvPr id="5" name="Logo" descr="Vattenfall logotype">
            <a:extLst>
              <a:ext uri="{FF2B5EF4-FFF2-40B4-BE49-F238E27FC236}">
                <a16:creationId xmlns:a16="http://schemas.microsoft.com/office/drawing/2014/main" id="{133EFDB0-08D2-CA41-9A6F-D93000386FD2}"/>
              </a:ext>
            </a:extLst>
          </p:cNvPr>
          <p:cNvGrpSpPr>
            <a:grpSpLocks noChangeAspect="1"/>
          </p:cNvGrpSpPr>
          <p:nvPr/>
        </p:nvGrpSpPr>
        <p:grpSpPr>
          <a:xfrm>
            <a:off x="5447532" y="6556183"/>
            <a:ext cx="1296936" cy="198328"/>
            <a:chOff x="4085649" y="4917137"/>
            <a:chExt cx="972702" cy="148746"/>
          </a:xfrm>
        </p:grpSpPr>
        <p:sp>
          <p:nvSpPr>
            <p:cNvPr id="25" name="Frihandsfigur 24">
              <a:extLst>
                <a:ext uri="{FF2B5EF4-FFF2-40B4-BE49-F238E27FC236}">
                  <a16:creationId xmlns:a16="http://schemas.microsoft.com/office/drawing/2014/main" id="{D0B20966-557B-FD4C-AEFD-237DB58109CE}"/>
                </a:ext>
              </a:extLst>
            </p:cNvPr>
            <p:cNvSpPr/>
            <p:nvPr/>
          </p:nvSpPr>
          <p:spPr>
            <a:xfrm>
              <a:off x="4909411" y="4917137"/>
              <a:ext cx="148940" cy="74384"/>
            </a:xfrm>
            <a:custGeom>
              <a:avLst/>
              <a:gdLst>
                <a:gd name="connsiteX0" fmla="*/ 108621 w 217242"/>
                <a:gd name="connsiteY0" fmla="*/ 0 h 108497"/>
                <a:gd name="connsiteX1" fmla="*/ 0 w 217242"/>
                <a:gd name="connsiteY1" fmla="*/ 108498 h 108497"/>
                <a:gd name="connsiteX2" fmla="*/ 217243 w 217242"/>
                <a:gd name="connsiteY2" fmla="*/ 108498 h 108497"/>
                <a:gd name="connsiteX3" fmla="*/ 108650 w 217242"/>
                <a:gd name="connsiteY3" fmla="*/ 0 h 108497"/>
                <a:gd name="connsiteX4" fmla="*/ 108621 w 217242"/>
                <a:gd name="connsiteY4" fmla="*/ 0 h 10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97">
                  <a:moveTo>
                    <a:pt x="108621" y="0"/>
                  </a:moveTo>
                  <a:cubicBezTo>
                    <a:pt x="48632" y="0"/>
                    <a:pt x="0" y="48576"/>
                    <a:pt x="0" y="108498"/>
                  </a:cubicBezTo>
                  <a:lnTo>
                    <a:pt x="217243" y="108498"/>
                  </a:lnTo>
                  <a:cubicBezTo>
                    <a:pt x="217257" y="48584"/>
                    <a:pt x="168632" y="8"/>
                    <a:pt x="108650" y="0"/>
                  </a:cubicBezTo>
                  <a:cubicBezTo>
                    <a:pt x="108640" y="0"/>
                    <a:pt x="108631" y="0"/>
                    <a:pt x="108621" y="0"/>
                  </a:cubicBezTo>
                  <a:close/>
                </a:path>
              </a:pathLst>
            </a:custGeom>
            <a:solidFill>
              <a:srgbClr val="FFDA00"/>
            </a:solidFill>
            <a:ln w="1400" cap="flat">
              <a:noFill/>
              <a:prstDash val="solid"/>
              <a:miter/>
            </a:ln>
          </p:spPr>
          <p:txBody>
            <a:bodyPr rtlCol="0" anchor="ctr"/>
            <a:lstStyle/>
            <a:p>
              <a:endParaRPr lang="en-GB" sz="2400" noProof="0"/>
            </a:p>
          </p:txBody>
        </p:sp>
        <p:sp>
          <p:nvSpPr>
            <p:cNvPr id="26" name="Frihandsfigur 25">
              <a:extLst>
                <a:ext uri="{FF2B5EF4-FFF2-40B4-BE49-F238E27FC236}">
                  <a16:creationId xmlns:a16="http://schemas.microsoft.com/office/drawing/2014/main" id="{971B17A3-E306-2242-BA24-C3FEA7450426}"/>
                </a:ext>
              </a:extLst>
            </p:cNvPr>
            <p:cNvSpPr/>
            <p:nvPr/>
          </p:nvSpPr>
          <p:spPr>
            <a:xfrm>
              <a:off x="4909411" y="4991508"/>
              <a:ext cx="148940" cy="74375"/>
            </a:xfrm>
            <a:custGeom>
              <a:avLst/>
              <a:gdLst>
                <a:gd name="connsiteX0" fmla="*/ 108621 w 217242"/>
                <a:gd name="connsiteY0" fmla="*/ 108484 h 108483"/>
                <a:gd name="connsiteX1" fmla="*/ 0 w 217242"/>
                <a:gd name="connsiteY1" fmla="*/ 0 h 108483"/>
                <a:gd name="connsiteX2" fmla="*/ 217243 w 217242"/>
                <a:gd name="connsiteY2" fmla="*/ 0 h 108483"/>
                <a:gd name="connsiteX3" fmla="*/ 108636 w 217242"/>
                <a:gd name="connsiteY3" fmla="*/ 108484 h 108483"/>
                <a:gd name="connsiteX4" fmla="*/ 108621 w 217242"/>
                <a:gd name="connsiteY4" fmla="*/ 108484 h 108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42" h="108483">
                  <a:moveTo>
                    <a:pt x="108621" y="108484"/>
                  </a:moveTo>
                  <a:cubicBezTo>
                    <a:pt x="48637" y="108484"/>
                    <a:pt x="7" y="59916"/>
                    <a:pt x="0" y="0"/>
                  </a:cubicBezTo>
                  <a:lnTo>
                    <a:pt x="217243" y="0"/>
                  </a:lnTo>
                  <a:cubicBezTo>
                    <a:pt x="217243" y="59914"/>
                    <a:pt x="168618" y="108484"/>
                    <a:pt x="108636" y="108484"/>
                  </a:cubicBezTo>
                  <a:cubicBezTo>
                    <a:pt x="108631" y="108484"/>
                    <a:pt x="108626" y="108484"/>
                    <a:pt x="108621" y="108484"/>
                  </a:cubicBezTo>
                  <a:close/>
                </a:path>
              </a:pathLst>
            </a:custGeom>
            <a:solidFill>
              <a:srgbClr val="2071B5"/>
            </a:solidFill>
            <a:ln w="1400" cap="flat">
              <a:noFill/>
              <a:prstDash val="solid"/>
              <a:miter/>
            </a:ln>
          </p:spPr>
          <p:txBody>
            <a:bodyPr rtlCol="0" anchor="ctr"/>
            <a:lstStyle/>
            <a:p>
              <a:endParaRPr lang="en-GB" sz="2400" noProof="0"/>
            </a:p>
          </p:txBody>
        </p:sp>
        <p:sp>
          <p:nvSpPr>
            <p:cNvPr id="22" name="Frihandsfigur 21">
              <a:extLst>
                <a:ext uri="{FF2B5EF4-FFF2-40B4-BE49-F238E27FC236}">
                  <a16:creationId xmlns:a16="http://schemas.microsoft.com/office/drawing/2014/main" id="{FEBDF823-A994-7046-B9A0-22F15D3F33C3}"/>
                </a:ext>
              </a:extLst>
            </p:cNvPr>
            <p:cNvSpPr/>
            <p:nvPr/>
          </p:nvSpPr>
          <p:spPr>
            <a:xfrm>
              <a:off x="4085649" y="4951310"/>
              <a:ext cx="781273" cy="84934"/>
            </a:xfrm>
            <a:custGeom>
              <a:avLst/>
              <a:gdLst>
                <a:gd name="connsiteX0" fmla="*/ 595123 w 781273"/>
                <a:gd name="connsiteY0" fmla="*/ 23454 h 84934"/>
                <a:gd name="connsiteX1" fmla="*/ 583493 w 781273"/>
                <a:gd name="connsiteY1" fmla="*/ 52452 h 84934"/>
                <a:gd name="connsiteX2" fmla="*/ 606935 w 781273"/>
                <a:gd name="connsiteY2" fmla="*/ 52442 h 84934"/>
                <a:gd name="connsiteX3" fmla="*/ 595267 w 781273"/>
                <a:gd name="connsiteY3" fmla="*/ 23454 h 84934"/>
                <a:gd name="connsiteX4" fmla="*/ 123589 w 781273"/>
                <a:gd name="connsiteY4" fmla="*/ 23454 h 84934"/>
                <a:gd name="connsiteX5" fmla="*/ 111959 w 781273"/>
                <a:gd name="connsiteY5" fmla="*/ 52452 h 84934"/>
                <a:gd name="connsiteX6" fmla="*/ 135363 w 781273"/>
                <a:gd name="connsiteY6" fmla="*/ 52442 h 84934"/>
                <a:gd name="connsiteX7" fmla="*/ 123734 w 781273"/>
                <a:gd name="connsiteY7" fmla="*/ 23454 h 84934"/>
                <a:gd name="connsiteX8" fmla="*/ 584293 w 781273"/>
                <a:gd name="connsiteY8" fmla="*/ 48 h 84934"/>
                <a:gd name="connsiteX9" fmla="*/ 606136 w 781273"/>
                <a:gd name="connsiteY9" fmla="*/ 48 h 84934"/>
                <a:gd name="connsiteX10" fmla="*/ 641516 w 781273"/>
                <a:gd name="connsiteY10" fmla="*/ 84886 h 84934"/>
                <a:gd name="connsiteX11" fmla="*/ 620001 w 781273"/>
                <a:gd name="connsiteY11" fmla="*/ 84886 h 84934"/>
                <a:gd name="connsiteX12" fmla="*/ 613892 w 781273"/>
                <a:gd name="connsiteY12" fmla="*/ 69775 h 84934"/>
                <a:gd name="connsiteX13" fmla="*/ 576488 w 781273"/>
                <a:gd name="connsiteY13" fmla="*/ 69775 h 84934"/>
                <a:gd name="connsiteX14" fmla="*/ 570389 w 781273"/>
                <a:gd name="connsiteY14" fmla="*/ 84934 h 84934"/>
                <a:gd name="connsiteX15" fmla="*/ 548864 w 781273"/>
                <a:gd name="connsiteY15" fmla="*/ 84934 h 84934"/>
                <a:gd name="connsiteX16" fmla="*/ 112712 w 781273"/>
                <a:gd name="connsiteY16" fmla="*/ 48 h 84934"/>
                <a:gd name="connsiteX17" fmla="*/ 134515 w 781273"/>
                <a:gd name="connsiteY17" fmla="*/ 48 h 84934"/>
                <a:gd name="connsiteX18" fmla="*/ 169992 w 781273"/>
                <a:gd name="connsiteY18" fmla="*/ 84886 h 84934"/>
                <a:gd name="connsiteX19" fmla="*/ 148467 w 781273"/>
                <a:gd name="connsiteY19" fmla="*/ 84886 h 84934"/>
                <a:gd name="connsiteX20" fmla="*/ 142320 w 781273"/>
                <a:gd name="connsiteY20" fmla="*/ 69775 h 84934"/>
                <a:gd name="connsiteX21" fmla="*/ 104917 w 781273"/>
                <a:gd name="connsiteY21" fmla="*/ 69775 h 84934"/>
                <a:gd name="connsiteX22" fmla="*/ 98808 w 781273"/>
                <a:gd name="connsiteY22" fmla="*/ 84934 h 84934"/>
                <a:gd name="connsiteX23" fmla="*/ 77293 w 781273"/>
                <a:gd name="connsiteY23" fmla="*/ 84934 h 84934"/>
                <a:gd name="connsiteX24" fmla="*/ 719820 w 781273"/>
                <a:gd name="connsiteY24" fmla="*/ 0 h 84934"/>
                <a:gd name="connsiteX25" fmla="*/ 742077 w 781273"/>
                <a:gd name="connsiteY25" fmla="*/ 0 h 84934"/>
                <a:gd name="connsiteX26" fmla="*/ 742077 w 781273"/>
                <a:gd name="connsiteY26" fmla="*/ 66042 h 84934"/>
                <a:gd name="connsiteX27" fmla="*/ 781273 w 781273"/>
                <a:gd name="connsiteY27" fmla="*/ 66042 h 84934"/>
                <a:gd name="connsiteX28" fmla="*/ 781273 w 781273"/>
                <a:gd name="connsiteY28" fmla="*/ 84886 h 84934"/>
                <a:gd name="connsiteX29" fmla="*/ 719820 w 781273"/>
                <a:gd name="connsiteY29" fmla="*/ 84886 h 84934"/>
                <a:gd name="connsiteX30" fmla="*/ 648751 w 781273"/>
                <a:gd name="connsiteY30" fmla="*/ 0 h 84934"/>
                <a:gd name="connsiteX31" fmla="*/ 671018 w 781273"/>
                <a:gd name="connsiteY31" fmla="*/ 0 h 84934"/>
                <a:gd name="connsiteX32" fmla="*/ 671018 w 781273"/>
                <a:gd name="connsiteY32" fmla="*/ 66042 h 84934"/>
                <a:gd name="connsiteX33" fmla="*/ 710214 w 781273"/>
                <a:gd name="connsiteY33" fmla="*/ 66042 h 84934"/>
                <a:gd name="connsiteX34" fmla="*/ 710214 w 781273"/>
                <a:gd name="connsiteY34" fmla="*/ 84886 h 84934"/>
                <a:gd name="connsiteX35" fmla="*/ 648751 w 781273"/>
                <a:gd name="connsiteY35" fmla="*/ 84886 h 84934"/>
                <a:gd name="connsiteX36" fmla="*/ 491429 w 781273"/>
                <a:gd name="connsiteY36" fmla="*/ 0 h 84934"/>
                <a:gd name="connsiteX37" fmla="*/ 556293 w 781273"/>
                <a:gd name="connsiteY37" fmla="*/ 0 h 84934"/>
                <a:gd name="connsiteX38" fmla="*/ 556293 w 781273"/>
                <a:gd name="connsiteY38" fmla="*/ 18190 h 84934"/>
                <a:gd name="connsiteX39" fmla="*/ 513686 w 781273"/>
                <a:gd name="connsiteY39" fmla="*/ 18190 h 84934"/>
                <a:gd name="connsiteX40" fmla="*/ 513686 w 781273"/>
                <a:gd name="connsiteY40" fmla="*/ 32338 h 84934"/>
                <a:gd name="connsiteX41" fmla="*/ 549616 w 781273"/>
                <a:gd name="connsiteY41" fmla="*/ 32338 h 84934"/>
                <a:gd name="connsiteX42" fmla="*/ 549616 w 781273"/>
                <a:gd name="connsiteY42" fmla="*/ 50527 h 84934"/>
                <a:gd name="connsiteX43" fmla="*/ 513686 w 781273"/>
                <a:gd name="connsiteY43" fmla="*/ 50527 h 84934"/>
                <a:gd name="connsiteX44" fmla="*/ 513686 w 781273"/>
                <a:gd name="connsiteY44" fmla="*/ 84886 h 84934"/>
                <a:gd name="connsiteX45" fmla="*/ 491429 w 781273"/>
                <a:gd name="connsiteY45" fmla="*/ 84886 h 84934"/>
                <a:gd name="connsiteX46" fmla="*/ 394124 w 781273"/>
                <a:gd name="connsiteY46" fmla="*/ 0 h 84934"/>
                <a:gd name="connsiteX47" fmla="*/ 415380 w 781273"/>
                <a:gd name="connsiteY47" fmla="*/ 0 h 84934"/>
                <a:gd name="connsiteX48" fmla="*/ 453246 w 781273"/>
                <a:gd name="connsiteY48" fmla="*/ 50797 h 84934"/>
                <a:gd name="connsiteX49" fmla="*/ 453246 w 781273"/>
                <a:gd name="connsiteY49" fmla="*/ 0 h 84934"/>
                <a:gd name="connsiteX50" fmla="*/ 474500 w 781273"/>
                <a:gd name="connsiteY50" fmla="*/ 0 h 84934"/>
                <a:gd name="connsiteX51" fmla="*/ 474500 w 781273"/>
                <a:gd name="connsiteY51" fmla="*/ 84886 h 84934"/>
                <a:gd name="connsiteX52" fmla="*/ 453246 w 781273"/>
                <a:gd name="connsiteY52" fmla="*/ 84886 h 84934"/>
                <a:gd name="connsiteX53" fmla="*/ 415380 w 781273"/>
                <a:gd name="connsiteY53" fmla="*/ 34705 h 84934"/>
                <a:gd name="connsiteX54" fmla="*/ 415380 w 781273"/>
                <a:gd name="connsiteY54" fmla="*/ 84886 h 84934"/>
                <a:gd name="connsiteX55" fmla="*/ 394124 w 781273"/>
                <a:gd name="connsiteY55" fmla="*/ 84886 h 84934"/>
                <a:gd name="connsiteX56" fmla="*/ 315887 w 781273"/>
                <a:gd name="connsiteY56" fmla="*/ 0 h 84934"/>
                <a:gd name="connsiteX57" fmla="*/ 378728 w 781273"/>
                <a:gd name="connsiteY57" fmla="*/ 0 h 84934"/>
                <a:gd name="connsiteX58" fmla="*/ 378728 w 781273"/>
                <a:gd name="connsiteY58" fmla="*/ 18190 h 84934"/>
                <a:gd name="connsiteX59" fmla="*/ 338144 w 781273"/>
                <a:gd name="connsiteY59" fmla="*/ 18190 h 84934"/>
                <a:gd name="connsiteX60" fmla="*/ 338144 w 781273"/>
                <a:gd name="connsiteY60" fmla="*/ 31799 h 84934"/>
                <a:gd name="connsiteX61" fmla="*/ 372542 w 781273"/>
                <a:gd name="connsiteY61" fmla="*/ 31799 h 84934"/>
                <a:gd name="connsiteX62" fmla="*/ 372542 w 781273"/>
                <a:gd name="connsiteY62" fmla="*/ 49988 h 84934"/>
                <a:gd name="connsiteX63" fmla="*/ 338144 w 781273"/>
                <a:gd name="connsiteY63" fmla="*/ 49988 h 84934"/>
                <a:gd name="connsiteX64" fmla="*/ 338144 w 781273"/>
                <a:gd name="connsiteY64" fmla="*/ 66696 h 84934"/>
                <a:gd name="connsiteX65" fmla="*/ 378728 w 781273"/>
                <a:gd name="connsiteY65" fmla="*/ 66696 h 84934"/>
                <a:gd name="connsiteX66" fmla="*/ 378728 w 781273"/>
                <a:gd name="connsiteY66" fmla="*/ 84886 h 84934"/>
                <a:gd name="connsiteX67" fmla="*/ 338144 w 781273"/>
                <a:gd name="connsiteY67" fmla="*/ 84886 h 84934"/>
                <a:gd name="connsiteX68" fmla="*/ 315887 w 781273"/>
                <a:gd name="connsiteY68" fmla="*/ 84886 h 84934"/>
                <a:gd name="connsiteX69" fmla="*/ 235954 w 781273"/>
                <a:gd name="connsiteY69" fmla="*/ 0 h 84934"/>
                <a:gd name="connsiteX70" fmla="*/ 305096 w 781273"/>
                <a:gd name="connsiteY70" fmla="*/ 0 h 84934"/>
                <a:gd name="connsiteX71" fmla="*/ 305096 w 781273"/>
                <a:gd name="connsiteY71" fmla="*/ 18190 h 84934"/>
                <a:gd name="connsiteX72" fmla="*/ 280468 w 781273"/>
                <a:gd name="connsiteY72" fmla="*/ 18190 h 84934"/>
                <a:gd name="connsiteX73" fmla="*/ 280468 w 781273"/>
                <a:gd name="connsiteY73" fmla="*/ 84886 h 84934"/>
                <a:gd name="connsiteX74" fmla="*/ 258211 w 781273"/>
                <a:gd name="connsiteY74" fmla="*/ 84886 h 84934"/>
                <a:gd name="connsiteX75" fmla="*/ 258211 w 781273"/>
                <a:gd name="connsiteY75" fmla="*/ 18190 h 84934"/>
                <a:gd name="connsiteX76" fmla="*/ 235954 w 781273"/>
                <a:gd name="connsiteY76" fmla="*/ 18190 h 84934"/>
                <a:gd name="connsiteX77" fmla="*/ 159066 w 781273"/>
                <a:gd name="connsiteY77" fmla="*/ 0 h 84934"/>
                <a:gd name="connsiteX78" fmla="*/ 228198 w 781273"/>
                <a:gd name="connsiteY78" fmla="*/ 0 h 84934"/>
                <a:gd name="connsiteX79" fmla="*/ 228198 w 781273"/>
                <a:gd name="connsiteY79" fmla="*/ 18190 h 84934"/>
                <a:gd name="connsiteX80" fmla="*/ 205941 w 781273"/>
                <a:gd name="connsiteY80" fmla="*/ 18190 h 84934"/>
                <a:gd name="connsiteX81" fmla="*/ 205941 w 781273"/>
                <a:gd name="connsiteY81" fmla="*/ 84886 h 84934"/>
                <a:gd name="connsiteX82" fmla="*/ 183684 w 781273"/>
                <a:gd name="connsiteY82" fmla="*/ 84886 h 84934"/>
                <a:gd name="connsiteX83" fmla="*/ 183684 w 781273"/>
                <a:gd name="connsiteY83" fmla="*/ 18190 h 84934"/>
                <a:gd name="connsiteX84" fmla="*/ 159066 w 781273"/>
                <a:gd name="connsiteY84" fmla="*/ 18190 h 84934"/>
                <a:gd name="connsiteX85" fmla="*/ 0 w 781273"/>
                <a:gd name="connsiteY85" fmla="*/ 0 h 84934"/>
                <a:gd name="connsiteX86" fmla="*/ 21525 w 781273"/>
                <a:gd name="connsiteY86" fmla="*/ 0 h 84934"/>
                <a:gd name="connsiteX87" fmla="*/ 45728 w 781273"/>
                <a:gd name="connsiteY87" fmla="*/ 59680 h 84934"/>
                <a:gd name="connsiteX88" fmla="*/ 45911 w 781273"/>
                <a:gd name="connsiteY88" fmla="*/ 59680 h 84934"/>
                <a:gd name="connsiteX89" fmla="*/ 70124 w 781273"/>
                <a:gd name="connsiteY89" fmla="*/ 0 h 84934"/>
                <a:gd name="connsiteX90" fmla="*/ 91639 w 781273"/>
                <a:gd name="connsiteY90" fmla="*/ 0 h 84934"/>
                <a:gd name="connsiteX91" fmla="*/ 56780 w 781273"/>
                <a:gd name="connsiteY91" fmla="*/ 84886 h 84934"/>
                <a:gd name="connsiteX92" fmla="*/ 34859 w 781273"/>
                <a:gd name="connsiteY92" fmla="*/ 84886 h 8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81273" h="84934">
                  <a:moveTo>
                    <a:pt x="595123" y="23454"/>
                  </a:moveTo>
                  <a:lnTo>
                    <a:pt x="583493" y="52452"/>
                  </a:lnTo>
                  <a:lnTo>
                    <a:pt x="606935" y="52442"/>
                  </a:lnTo>
                  <a:lnTo>
                    <a:pt x="595267" y="23454"/>
                  </a:lnTo>
                  <a:close/>
                  <a:moveTo>
                    <a:pt x="123589" y="23454"/>
                  </a:moveTo>
                  <a:lnTo>
                    <a:pt x="111959" y="52452"/>
                  </a:lnTo>
                  <a:lnTo>
                    <a:pt x="135363" y="52442"/>
                  </a:lnTo>
                  <a:lnTo>
                    <a:pt x="123734" y="23454"/>
                  </a:lnTo>
                  <a:close/>
                  <a:moveTo>
                    <a:pt x="584293" y="48"/>
                  </a:moveTo>
                  <a:lnTo>
                    <a:pt x="606136" y="48"/>
                  </a:lnTo>
                  <a:lnTo>
                    <a:pt x="641516" y="84886"/>
                  </a:lnTo>
                  <a:lnTo>
                    <a:pt x="620001" y="84886"/>
                  </a:lnTo>
                  <a:lnTo>
                    <a:pt x="613892" y="69775"/>
                  </a:lnTo>
                  <a:lnTo>
                    <a:pt x="576488" y="69775"/>
                  </a:lnTo>
                  <a:lnTo>
                    <a:pt x="570389" y="84934"/>
                  </a:lnTo>
                  <a:lnTo>
                    <a:pt x="548864" y="84934"/>
                  </a:lnTo>
                  <a:close/>
                  <a:moveTo>
                    <a:pt x="112712" y="48"/>
                  </a:moveTo>
                  <a:lnTo>
                    <a:pt x="134515" y="48"/>
                  </a:lnTo>
                  <a:lnTo>
                    <a:pt x="169992" y="84886"/>
                  </a:lnTo>
                  <a:lnTo>
                    <a:pt x="148467" y="84886"/>
                  </a:lnTo>
                  <a:lnTo>
                    <a:pt x="142320" y="69775"/>
                  </a:lnTo>
                  <a:lnTo>
                    <a:pt x="104917" y="69775"/>
                  </a:lnTo>
                  <a:lnTo>
                    <a:pt x="98808" y="84934"/>
                  </a:lnTo>
                  <a:lnTo>
                    <a:pt x="77293" y="84934"/>
                  </a:lnTo>
                  <a:close/>
                  <a:moveTo>
                    <a:pt x="719820" y="0"/>
                  </a:moveTo>
                  <a:lnTo>
                    <a:pt x="742077" y="0"/>
                  </a:lnTo>
                  <a:lnTo>
                    <a:pt x="742077" y="66042"/>
                  </a:lnTo>
                  <a:lnTo>
                    <a:pt x="781273" y="66042"/>
                  </a:lnTo>
                  <a:lnTo>
                    <a:pt x="781273" y="84886"/>
                  </a:lnTo>
                  <a:lnTo>
                    <a:pt x="719820" y="84886"/>
                  </a:lnTo>
                  <a:close/>
                  <a:moveTo>
                    <a:pt x="648751" y="0"/>
                  </a:moveTo>
                  <a:lnTo>
                    <a:pt x="671018" y="0"/>
                  </a:lnTo>
                  <a:lnTo>
                    <a:pt x="671018" y="66042"/>
                  </a:lnTo>
                  <a:lnTo>
                    <a:pt x="710214" y="66042"/>
                  </a:lnTo>
                  <a:lnTo>
                    <a:pt x="710214" y="84886"/>
                  </a:lnTo>
                  <a:lnTo>
                    <a:pt x="648751" y="84886"/>
                  </a:lnTo>
                  <a:close/>
                  <a:moveTo>
                    <a:pt x="491429" y="0"/>
                  </a:moveTo>
                  <a:lnTo>
                    <a:pt x="556293" y="0"/>
                  </a:lnTo>
                  <a:lnTo>
                    <a:pt x="556293" y="18190"/>
                  </a:lnTo>
                  <a:lnTo>
                    <a:pt x="513686" y="18190"/>
                  </a:lnTo>
                  <a:lnTo>
                    <a:pt x="513686" y="32338"/>
                  </a:lnTo>
                  <a:lnTo>
                    <a:pt x="549616" y="32338"/>
                  </a:lnTo>
                  <a:lnTo>
                    <a:pt x="549616" y="50527"/>
                  </a:lnTo>
                  <a:lnTo>
                    <a:pt x="513686" y="50527"/>
                  </a:lnTo>
                  <a:lnTo>
                    <a:pt x="513686" y="84886"/>
                  </a:lnTo>
                  <a:lnTo>
                    <a:pt x="491429" y="84886"/>
                  </a:lnTo>
                  <a:close/>
                  <a:moveTo>
                    <a:pt x="394124" y="0"/>
                  </a:moveTo>
                  <a:lnTo>
                    <a:pt x="415380" y="0"/>
                  </a:lnTo>
                  <a:lnTo>
                    <a:pt x="453246" y="50797"/>
                  </a:lnTo>
                  <a:lnTo>
                    <a:pt x="453246" y="0"/>
                  </a:lnTo>
                  <a:lnTo>
                    <a:pt x="474500" y="0"/>
                  </a:lnTo>
                  <a:lnTo>
                    <a:pt x="474500" y="84886"/>
                  </a:lnTo>
                  <a:lnTo>
                    <a:pt x="453246" y="84886"/>
                  </a:lnTo>
                  <a:lnTo>
                    <a:pt x="415380" y="34705"/>
                  </a:lnTo>
                  <a:lnTo>
                    <a:pt x="415380" y="84886"/>
                  </a:lnTo>
                  <a:lnTo>
                    <a:pt x="394124" y="84886"/>
                  </a:lnTo>
                  <a:close/>
                  <a:moveTo>
                    <a:pt x="315887" y="0"/>
                  </a:moveTo>
                  <a:lnTo>
                    <a:pt x="378728" y="0"/>
                  </a:lnTo>
                  <a:lnTo>
                    <a:pt x="378728" y="18190"/>
                  </a:lnTo>
                  <a:lnTo>
                    <a:pt x="338144" y="18190"/>
                  </a:lnTo>
                  <a:lnTo>
                    <a:pt x="338144" y="31799"/>
                  </a:lnTo>
                  <a:lnTo>
                    <a:pt x="372542" y="31799"/>
                  </a:lnTo>
                  <a:lnTo>
                    <a:pt x="372542" y="49988"/>
                  </a:lnTo>
                  <a:lnTo>
                    <a:pt x="338144" y="49988"/>
                  </a:lnTo>
                  <a:lnTo>
                    <a:pt x="338144" y="66696"/>
                  </a:lnTo>
                  <a:lnTo>
                    <a:pt x="378728" y="66696"/>
                  </a:lnTo>
                  <a:lnTo>
                    <a:pt x="378728" y="84886"/>
                  </a:lnTo>
                  <a:lnTo>
                    <a:pt x="338144" y="84886"/>
                  </a:lnTo>
                  <a:lnTo>
                    <a:pt x="315887" y="84886"/>
                  </a:lnTo>
                  <a:close/>
                  <a:moveTo>
                    <a:pt x="235954" y="0"/>
                  </a:moveTo>
                  <a:lnTo>
                    <a:pt x="305096" y="0"/>
                  </a:lnTo>
                  <a:lnTo>
                    <a:pt x="305096" y="18190"/>
                  </a:lnTo>
                  <a:lnTo>
                    <a:pt x="280468" y="18190"/>
                  </a:lnTo>
                  <a:lnTo>
                    <a:pt x="280468" y="84886"/>
                  </a:lnTo>
                  <a:lnTo>
                    <a:pt x="258211" y="84886"/>
                  </a:lnTo>
                  <a:lnTo>
                    <a:pt x="258211" y="18190"/>
                  </a:lnTo>
                  <a:lnTo>
                    <a:pt x="235954" y="18190"/>
                  </a:lnTo>
                  <a:close/>
                  <a:moveTo>
                    <a:pt x="159066" y="0"/>
                  </a:moveTo>
                  <a:lnTo>
                    <a:pt x="228198" y="0"/>
                  </a:lnTo>
                  <a:lnTo>
                    <a:pt x="228198" y="18190"/>
                  </a:lnTo>
                  <a:lnTo>
                    <a:pt x="205941" y="18190"/>
                  </a:lnTo>
                  <a:lnTo>
                    <a:pt x="205941" y="84886"/>
                  </a:lnTo>
                  <a:lnTo>
                    <a:pt x="183684" y="84886"/>
                  </a:lnTo>
                  <a:lnTo>
                    <a:pt x="183684" y="18190"/>
                  </a:lnTo>
                  <a:lnTo>
                    <a:pt x="159066" y="18190"/>
                  </a:lnTo>
                  <a:close/>
                  <a:moveTo>
                    <a:pt x="0" y="0"/>
                  </a:moveTo>
                  <a:lnTo>
                    <a:pt x="21525" y="0"/>
                  </a:lnTo>
                  <a:lnTo>
                    <a:pt x="45728" y="59680"/>
                  </a:lnTo>
                  <a:lnTo>
                    <a:pt x="45911" y="59680"/>
                  </a:lnTo>
                  <a:lnTo>
                    <a:pt x="70124" y="0"/>
                  </a:lnTo>
                  <a:lnTo>
                    <a:pt x="91639" y="0"/>
                  </a:lnTo>
                  <a:lnTo>
                    <a:pt x="56780" y="84886"/>
                  </a:lnTo>
                  <a:lnTo>
                    <a:pt x="34859" y="84886"/>
                  </a:lnTo>
                  <a:close/>
                </a:path>
              </a:pathLst>
            </a:custGeom>
            <a:solidFill>
              <a:srgbClr val="4E4B48"/>
            </a:solidFill>
            <a:ln w="1400" cap="flat">
              <a:noFill/>
              <a:prstDash val="solid"/>
              <a:miter/>
            </a:ln>
          </p:spPr>
          <p:txBody>
            <a:bodyPr wrap="square" rtlCol="0" anchor="ctr">
              <a:noAutofit/>
            </a:bodyPr>
            <a:lstStyle/>
            <a:p>
              <a:endParaRPr lang="en-GB" sz="2400" noProof="0"/>
            </a:p>
          </p:txBody>
        </p:sp>
      </p:grpSp>
      <p:sp>
        <p:nvSpPr>
          <p:cNvPr id="4" name="Date"/>
          <p:cNvSpPr>
            <a:spLocks noGrp="1"/>
          </p:cNvSpPr>
          <p:nvPr>
            <p:ph type="dt" sz="half" idx="2"/>
          </p:nvPr>
        </p:nvSpPr>
        <p:spPr>
          <a:xfrm>
            <a:off x="147049" y="6535061"/>
            <a:ext cx="3931768" cy="153600"/>
          </a:xfrm>
          <a:prstGeom prst="rect">
            <a:avLst/>
          </a:prstGeom>
        </p:spPr>
        <p:txBody>
          <a:bodyPr vert="horz" lIns="0" tIns="0" rIns="0" bIns="0" rtlCol="0" anchor="t"/>
          <a:lstStyle>
            <a:lvl1pPr algn="l">
              <a:defRPr sz="800" b="0">
                <a:solidFill>
                  <a:srgbClr val="737373"/>
                </a:solidFill>
              </a:defRPr>
            </a:lvl1pPr>
          </a:lstStyle>
          <a:p>
            <a:fld id="{3EB102C7-8073-0A47-90FC-D66052C8C612}" type="datetime1">
              <a:rPr lang="sv-SE" noProof="0" smtClean="0"/>
              <a:t>2025-04-07</a:t>
            </a:fld>
            <a:endParaRPr lang="en-GB" noProof="0"/>
          </a:p>
        </p:txBody>
      </p:sp>
      <p:sp>
        <p:nvSpPr>
          <p:cNvPr id="23" name="Number">
            <a:extLst>
              <a:ext uri="{FF2B5EF4-FFF2-40B4-BE49-F238E27FC236}">
                <a16:creationId xmlns:a16="http://schemas.microsoft.com/office/drawing/2014/main" id="{AD23396C-F419-E04B-8B2D-18295DF77462}"/>
              </a:ext>
            </a:extLst>
          </p:cNvPr>
          <p:cNvSpPr>
            <a:spLocks noGrp="1"/>
          </p:cNvSpPr>
          <p:nvPr>
            <p:ph type="sldNum" sz="quarter" idx="4"/>
          </p:nvPr>
        </p:nvSpPr>
        <p:spPr>
          <a:xfrm>
            <a:off x="11520557" y="6671299"/>
            <a:ext cx="432392" cy="109941"/>
          </a:xfrm>
          <a:prstGeom prst="rect">
            <a:avLst/>
          </a:prstGeom>
        </p:spPr>
        <p:txBody>
          <a:bodyPr vert="horz" lIns="0" tIns="0" rIns="0" bIns="0" rtlCol="0" anchor="t"/>
          <a:lstStyle>
            <a:lvl1pPr algn="r">
              <a:defRPr sz="800" b="0">
                <a:solidFill>
                  <a:srgbClr val="737373"/>
                </a:solidFill>
              </a:defRPr>
            </a:lvl1pPr>
          </a:lstStyle>
          <a:p>
            <a:fld id="{17CD396C-6A52-4D5A-BAE3-92A1CC3BBDE0}" type="slidenum">
              <a:rPr lang="en-GB" noProof="0" smtClean="0"/>
              <a:pPr/>
              <a:t>‹#›</a:t>
            </a:fld>
            <a:endParaRPr lang="en-GB" noProof="0"/>
          </a:p>
        </p:txBody>
      </p:sp>
      <p:sp>
        <p:nvSpPr>
          <p:cNvPr id="7" name="Footer">
            <a:extLst>
              <a:ext uri="{FF2B5EF4-FFF2-40B4-BE49-F238E27FC236}">
                <a16:creationId xmlns:a16="http://schemas.microsoft.com/office/drawing/2014/main" id="{8793D5AD-B13B-5B45-8FD0-9E8A3F8D760D}"/>
              </a:ext>
            </a:extLst>
          </p:cNvPr>
          <p:cNvSpPr>
            <a:spLocks noGrp="1"/>
          </p:cNvSpPr>
          <p:nvPr>
            <p:ph type="ftr" sz="quarter" idx="3"/>
          </p:nvPr>
        </p:nvSpPr>
        <p:spPr>
          <a:xfrm>
            <a:off x="8113183" y="6535061"/>
            <a:ext cx="3839764" cy="153600"/>
          </a:xfrm>
          <a:prstGeom prst="rect">
            <a:avLst/>
          </a:prstGeom>
        </p:spPr>
        <p:txBody>
          <a:bodyPr vert="horz" lIns="0" tIns="0" rIns="0" bIns="0" rtlCol="0" anchor="t"/>
          <a:lstStyle>
            <a:lvl1pPr algn="r">
              <a:defRPr sz="800">
                <a:solidFill>
                  <a:srgbClr val="737373"/>
                </a:solidFill>
              </a:defRPr>
            </a:lvl1pPr>
          </a:lstStyle>
          <a:p>
            <a:r>
              <a:rPr lang="en-GB" noProof="0"/>
              <a:t>Go to header/footer to change text  </a:t>
            </a:r>
          </a:p>
        </p:txBody>
      </p:sp>
      <p:sp>
        <p:nvSpPr>
          <p:cNvPr id="8" name="textruta 7">
            <a:extLst>
              <a:ext uri="{FF2B5EF4-FFF2-40B4-BE49-F238E27FC236}">
                <a16:creationId xmlns:a16="http://schemas.microsoft.com/office/drawing/2014/main" id="{2542AC90-F010-5A2A-117A-CC48E4A1DC06}"/>
              </a:ext>
            </a:extLst>
          </p:cNvPr>
          <p:cNvSpPr txBox="1"/>
          <p:nvPr>
            <p:extLst>
              <p:ext uri="{1162E1C5-73C7-4A58-AE30-91384D911F3F}">
                <p184:classification xmlns:p184="http://schemas.microsoft.com/office/powerpoint/2018/4/main" val="ftr"/>
              </p:ext>
            </p:extLst>
          </p:nvPr>
        </p:nvSpPr>
        <p:spPr>
          <a:xfrm>
            <a:off x="190500" y="6576060"/>
            <a:ext cx="965200" cy="91440"/>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141317441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Lst>
  <p:hf sldNum="0" hdr="0" ftr="0" dt="0"/>
  <p:txStyles>
    <p:titleStyle>
      <a:lvl1pPr algn="l" defTabSz="914377" rtl="0" eaLnBrk="1" latinLnBrk="0" hangingPunct="1">
        <a:lnSpc>
          <a:spcPct val="95000"/>
        </a:lnSpc>
        <a:spcBef>
          <a:spcPct val="0"/>
        </a:spcBef>
        <a:buNone/>
        <a:defRPr sz="4000" b="1" kern="1200" spc="-67" baseline="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67" kern="1200">
          <a:solidFill>
            <a:schemeClr val="tx1"/>
          </a:solidFill>
          <a:latin typeface="+mn-lt"/>
          <a:ea typeface="+mn-ea"/>
          <a:cs typeface="+mn-cs"/>
        </a:defRPr>
      </a:lvl1pPr>
      <a:lvl2pPr marL="478355" indent="-239178" algn="l" defTabSz="914377"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2pPr>
      <a:lvl3pPr marL="713300" indent="-234945" algn="l" defTabSz="914377"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952476" indent="-239178" algn="l" defTabSz="914377"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185304" indent="-232828" algn="l" defTabSz="914377" rtl="0" eaLnBrk="1" latinLnBrk="0" hangingPunct="1">
        <a:lnSpc>
          <a:spcPct val="10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13">
          <p15:clr>
            <a:srgbClr val="F26B43"/>
          </p15:clr>
        </p15:guide>
        <p15:guide id="4" pos="5647">
          <p15:clr>
            <a:srgbClr val="F26B43"/>
          </p15:clr>
        </p15:guide>
        <p15:guide id="5" orient="horz" pos="100">
          <p15:clr>
            <a:srgbClr val="F26B43"/>
          </p15:clr>
        </p15:guide>
        <p15:guide id="6" orient="horz" pos="3049">
          <p15:clr>
            <a:srgbClr val="F26B43"/>
          </p15:clr>
        </p15:guide>
        <p15:guide id="7" pos="2925">
          <p15:clr>
            <a:srgbClr val="547EBF"/>
          </p15:clr>
        </p15:guide>
        <p15:guide id="8" pos="2835">
          <p15:clr>
            <a:srgbClr val="547EBF"/>
          </p15:clr>
        </p15:guide>
        <p15:guide id="9" pos="204">
          <p15:clr>
            <a:srgbClr val="547EBF"/>
          </p15:clr>
        </p15:guide>
        <p15:guide id="10" pos="5556">
          <p15:clr>
            <a:srgbClr val="547EBF"/>
          </p15:clr>
        </p15:guide>
        <p15:guide id="11" orient="horz" pos="169">
          <p15:clr>
            <a:srgbClr val="547EBF"/>
          </p15:clr>
        </p15:guide>
        <p15:guide id="12" orient="horz" pos="2958">
          <p15:clr>
            <a:srgbClr val="547EBF"/>
          </p15:clr>
        </p15:guide>
        <p15:guide id="16" pos="1111">
          <p15:clr>
            <a:srgbClr val="547EBF"/>
          </p15:clr>
        </p15:guide>
        <p15:guide id="17" pos="1927">
          <p15:clr>
            <a:srgbClr val="547EBF"/>
          </p15:clr>
        </p15:guide>
        <p15:guide id="18" pos="2018">
          <p15:clr>
            <a:srgbClr val="547EBF"/>
          </p15:clr>
        </p15:guide>
        <p15:guide id="19" pos="3742">
          <p15:clr>
            <a:srgbClr val="547EBF"/>
          </p15:clr>
        </p15:guide>
        <p15:guide id="20" pos="3833">
          <p15:clr>
            <a:srgbClr val="547EBF"/>
          </p15:clr>
        </p15:guide>
        <p15:guide id="21" pos="4649">
          <p15:clr>
            <a:srgbClr val="547EBF"/>
          </p15:clr>
        </p15:guide>
        <p15:guide id="22" pos="4740">
          <p15:clr>
            <a:srgbClr val="547EBF"/>
          </p15:clr>
        </p15:guide>
        <p15:guide id="24" pos="1020">
          <p15:clr>
            <a:srgbClr val="547EBF"/>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0" y="6353175"/>
            <a:ext cx="12192000" cy="504825"/>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027" name="Title Placeholder 1"/>
          <p:cNvSpPr>
            <a:spLocks noGrp="1"/>
          </p:cNvSpPr>
          <p:nvPr>
            <p:ph type="title"/>
          </p:nvPr>
        </p:nvSpPr>
        <p:spPr bwMode="auto">
          <a:xfrm>
            <a:off x="695325" y="540000"/>
            <a:ext cx="867727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sv-SE" noProof="0"/>
              <a:t>Klicka här för att ändra text</a:t>
            </a:r>
            <a:endParaRPr lang="sv-SE" altLang="sv-SE"/>
          </a:p>
        </p:txBody>
      </p:sp>
      <p:sp>
        <p:nvSpPr>
          <p:cNvPr id="1028" name="Text Placeholder 2"/>
          <p:cNvSpPr>
            <a:spLocks noGrp="1"/>
          </p:cNvSpPr>
          <p:nvPr>
            <p:ph type="body" idx="1"/>
          </p:nvPr>
        </p:nvSpPr>
        <p:spPr bwMode="auto">
          <a:xfrm>
            <a:off x="695325" y="1728000"/>
            <a:ext cx="8677275" cy="436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sv-SE" altLang="sv-SE"/>
              <a:t>Klicka här för att ändra text</a:t>
            </a:r>
          </a:p>
          <a:p>
            <a:pPr lvl="1"/>
            <a:r>
              <a:rPr lang="sv-SE" altLang="sv-SE"/>
              <a:t>Andra nivå</a:t>
            </a:r>
          </a:p>
        </p:txBody>
      </p:sp>
      <p:sp>
        <p:nvSpPr>
          <p:cNvPr id="4" name="Date Placeholder 3"/>
          <p:cNvSpPr>
            <a:spLocks noGrp="1"/>
          </p:cNvSpPr>
          <p:nvPr>
            <p:ph type="dt" sz="half" idx="2"/>
          </p:nvPr>
        </p:nvSpPr>
        <p:spPr>
          <a:xfrm>
            <a:off x="10620375" y="6516000"/>
            <a:ext cx="679450" cy="177800"/>
          </a:xfrm>
          <a:prstGeom prst="rect">
            <a:avLst/>
          </a:prstGeom>
        </p:spPr>
        <p:txBody>
          <a:bodyPr vert="horz" lIns="0" tIns="0" rIns="0" bIns="0" rtlCol="0" anchor="t" anchorCtr="0"/>
          <a:lstStyle>
            <a:lvl1pPr algn="l" eaLnBrk="1" fontAlgn="auto" hangingPunct="1">
              <a:spcBef>
                <a:spcPts val="0"/>
              </a:spcBef>
              <a:spcAft>
                <a:spcPts val="0"/>
              </a:spcAft>
              <a:defRPr sz="1000">
                <a:solidFill>
                  <a:schemeClr val="tx1">
                    <a:lumMod val="50000"/>
                    <a:lumOff val="50000"/>
                  </a:schemeClr>
                </a:solidFill>
                <a:latin typeface="+mn-lt"/>
              </a:defRPr>
            </a:lvl1pPr>
          </a:lstStyle>
          <a:p>
            <a:pPr>
              <a:defRPr/>
            </a:pPr>
            <a:fld id="{1133CEB9-1A02-46A5-938A-C50509ED9724}" type="datetime1">
              <a:rPr lang="sv-SE" smtClean="0"/>
              <a:t>2025-04-07</a:t>
            </a:fld>
            <a:endParaRPr lang="sv-SE"/>
          </a:p>
        </p:txBody>
      </p:sp>
      <p:sp>
        <p:nvSpPr>
          <p:cNvPr id="5" name="Footer Placeholder 4"/>
          <p:cNvSpPr>
            <a:spLocks noGrp="1"/>
          </p:cNvSpPr>
          <p:nvPr>
            <p:ph type="ftr" sz="quarter" idx="3"/>
          </p:nvPr>
        </p:nvSpPr>
        <p:spPr>
          <a:xfrm>
            <a:off x="2016000" y="6516000"/>
            <a:ext cx="8100000" cy="177800"/>
          </a:xfrm>
          <a:prstGeom prst="rect">
            <a:avLst/>
          </a:prstGeom>
        </p:spPr>
        <p:txBody>
          <a:bodyPr vert="horz" lIns="0" tIns="0" rIns="0" bIns="0" rtlCol="0" anchor="t" anchorCtr="0"/>
          <a:lstStyle>
            <a:lvl1pPr algn="r" eaLnBrk="1" fontAlgn="auto" hangingPunct="1">
              <a:spcBef>
                <a:spcPts val="0"/>
              </a:spcBef>
              <a:spcAft>
                <a:spcPts val="0"/>
              </a:spcAft>
              <a:defRPr sz="1000">
                <a:solidFill>
                  <a:schemeClr val="tx1">
                    <a:lumMod val="50000"/>
                    <a:lumOff val="50000"/>
                  </a:schemeClr>
                </a:solidFill>
                <a:latin typeface="+mn-lt"/>
              </a:defRPr>
            </a:lvl1pPr>
          </a:lstStyle>
          <a:p>
            <a:pPr>
              <a:defRPr/>
            </a:pPr>
            <a:r>
              <a:rPr lang="sv-SE"/>
              <a:t>Presentation</a:t>
            </a:r>
          </a:p>
        </p:txBody>
      </p:sp>
      <p:sp>
        <p:nvSpPr>
          <p:cNvPr id="6" name="Slide Number Placeholder 5"/>
          <p:cNvSpPr>
            <a:spLocks noGrp="1"/>
          </p:cNvSpPr>
          <p:nvPr>
            <p:ph type="sldNum" sz="quarter" idx="4"/>
          </p:nvPr>
        </p:nvSpPr>
        <p:spPr>
          <a:xfrm>
            <a:off x="11472863" y="6516000"/>
            <a:ext cx="358775" cy="179388"/>
          </a:xfrm>
          <a:prstGeom prst="rect">
            <a:avLst/>
          </a:prstGeom>
        </p:spPr>
        <p:txBody>
          <a:bodyPr vert="horz" lIns="0" tIns="0" rIns="0" bIns="0" rtlCol="0" anchor="t" anchorCtr="0"/>
          <a:lstStyle>
            <a:lvl1pPr algn="r" eaLnBrk="1" fontAlgn="auto" hangingPunct="1">
              <a:spcBef>
                <a:spcPts val="0"/>
              </a:spcBef>
              <a:spcAft>
                <a:spcPts val="0"/>
              </a:spcAft>
              <a:defRPr sz="1000">
                <a:solidFill>
                  <a:schemeClr val="tx1">
                    <a:lumMod val="50000"/>
                    <a:lumOff val="50000"/>
                  </a:schemeClr>
                </a:solidFill>
                <a:latin typeface="+mn-lt"/>
              </a:defRPr>
            </a:lvl1pPr>
          </a:lstStyle>
          <a:p>
            <a:pPr>
              <a:defRPr/>
            </a:pPr>
            <a:fld id="{E2D3467A-03F1-294A-B946-CB7CA69FE6EC}" type="slidenum">
              <a:rPr lang="sv-SE"/>
              <a:pPr>
                <a:defRPr/>
              </a:pPr>
              <a:t>‹#›</a:t>
            </a:fld>
            <a:endParaRPr lang="sv-SE"/>
          </a:p>
        </p:txBody>
      </p:sp>
      <p:pic>
        <p:nvPicPr>
          <p:cNvPr id="10" name="Bildobjekt 7"/>
          <p:cNvPicPr>
            <a:picLocks noChangeAspect="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360363" y="6426000"/>
            <a:ext cx="900000" cy="32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7C028003-92A2-F754-6B45-0778A3681D28}"/>
              </a:ext>
            </a:extLst>
          </p:cNvPr>
          <p:cNvSpPr txBox="1"/>
          <p:nvPr>
            <p:extLst>
              <p:ext uri="{1162E1C5-73C7-4A58-AE30-91384D911F3F}">
                <p184:classification xmlns:p184="http://schemas.microsoft.com/office/powerpoint/2018/4/main" val="ftr"/>
              </p:ext>
            </p:extLst>
          </p:nvPr>
        </p:nvSpPr>
        <p:spPr>
          <a:xfrm>
            <a:off x="190500" y="6576060"/>
            <a:ext cx="965200" cy="91440"/>
          </a:xfrm>
          <a:prstGeom prst="rect">
            <a:avLst/>
          </a:prstGeom>
        </p:spPr>
        <p:txBody>
          <a:bodyPr horzOverflow="overflow" lIns="0" tIns="0" rIns="0" bIns="0">
            <a:spAutoFit/>
          </a:bodyPr>
          <a:lstStyle/>
          <a:p>
            <a:pPr algn="l"/>
            <a:r>
              <a:rPr lang="sv-SE" sz="600">
                <a:solidFill>
                  <a:srgbClr val="737373"/>
                </a:solidFill>
                <a:latin typeface="Arial" panose="020B0604020202020204" pitchFamily="34" charset="0"/>
                <a:cs typeface="Arial" panose="020B0604020202020204" pitchFamily="34" charset="0"/>
              </a:rPr>
              <a:t>Confidentiality: C2 - Internal</a:t>
            </a:r>
          </a:p>
        </p:txBody>
      </p:sp>
    </p:spTree>
    <p:extLst>
      <p:ext uri="{BB962C8B-B14F-4D97-AF65-F5344CB8AC3E}">
        <p14:creationId xmlns:p14="http://schemas.microsoft.com/office/powerpoint/2010/main" val="21907518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Lst>
  <p:transition spd="med">
    <p:fade/>
  </p:transition>
  <p:hf hdr="0"/>
  <p:txStyles>
    <p:titleStyle>
      <a:lvl1pPr algn="l" rtl="0" eaLnBrk="0" fontAlgn="base" hangingPunct="0">
        <a:lnSpc>
          <a:spcPct val="85000"/>
        </a:lnSpc>
        <a:spcBef>
          <a:spcPct val="0"/>
        </a:spcBef>
        <a:spcAft>
          <a:spcPct val="0"/>
        </a:spcAft>
        <a:defRPr sz="3600" kern="1200">
          <a:solidFill>
            <a:schemeClr val="tx1"/>
          </a:solidFill>
          <a:latin typeface="+mj-lt"/>
          <a:ea typeface="+mj-ea"/>
          <a:cs typeface="+mj-cs"/>
        </a:defRPr>
      </a:lvl1pPr>
      <a:lvl2pPr algn="l" rtl="0" eaLnBrk="0" fontAlgn="base" hangingPunct="0">
        <a:lnSpc>
          <a:spcPct val="85000"/>
        </a:lnSpc>
        <a:spcBef>
          <a:spcPct val="0"/>
        </a:spcBef>
        <a:spcAft>
          <a:spcPct val="0"/>
        </a:spcAft>
        <a:defRPr sz="3600">
          <a:solidFill>
            <a:schemeClr val="tx2"/>
          </a:solidFill>
          <a:latin typeface="Calibri" charset="0"/>
        </a:defRPr>
      </a:lvl2pPr>
      <a:lvl3pPr algn="l" rtl="0" eaLnBrk="0" fontAlgn="base" hangingPunct="0">
        <a:lnSpc>
          <a:spcPct val="85000"/>
        </a:lnSpc>
        <a:spcBef>
          <a:spcPct val="0"/>
        </a:spcBef>
        <a:spcAft>
          <a:spcPct val="0"/>
        </a:spcAft>
        <a:defRPr sz="3600">
          <a:solidFill>
            <a:schemeClr val="tx2"/>
          </a:solidFill>
          <a:latin typeface="Calibri" charset="0"/>
        </a:defRPr>
      </a:lvl3pPr>
      <a:lvl4pPr algn="l" rtl="0" eaLnBrk="0" fontAlgn="base" hangingPunct="0">
        <a:lnSpc>
          <a:spcPct val="85000"/>
        </a:lnSpc>
        <a:spcBef>
          <a:spcPct val="0"/>
        </a:spcBef>
        <a:spcAft>
          <a:spcPct val="0"/>
        </a:spcAft>
        <a:defRPr sz="3600">
          <a:solidFill>
            <a:schemeClr val="tx2"/>
          </a:solidFill>
          <a:latin typeface="Calibri" charset="0"/>
        </a:defRPr>
      </a:lvl4pPr>
      <a:lvl5pPr algn="l" rtl="0" eaLnBrk="0" fontAlgn="base" hangingPunct="0">
        <a:lnSpc>
          <a:spcPct val="85000"/>
        </a:lnSpc>
        <a:spcBef>
          <a:spcPct val="0"/>
        </a:spcBef>
        <a:spcAft>
          <a:spcPct val="0"/>
        </a:spcAft>
        <a:defRPr sz="3600">
          <a:solidFill>
            <a:schemeClr val="tx2"/>
          </a:solidFill>
          <a:latin typeface="Calibri" charset="0"/>
        </a:defRPr>
      </a:lvl5pPr>
      <a:lvl6pPr marL="457200" algn="l" rtl="0" fontAlgn="base">
        <a:lnSpc>
          <a:spcPct val="85000"/>
        </a:lnSpc>
        <a:spcBef>
          <a:spcPct val="0"/>
        </a:spcBef>
        <a:spcAft>
          <a:spcPct val="0"/>
        </a:spcAft>
        <a:defRPr sz="3600">
          <a:solidFill>
            <a:schemeClr val="tx2"/>
          </a:solidFill>
          <a:latin typeface="Calibri" charset="0"/>
        </a:defRPr>
      </a:lvl6pPr>
      <a:lvl7pPr marL="914400" algn="l" rtl="0" fontAlgn="base">
        <a:lnSpc>
          <a:spcPct val="85000"/>
        </a:lnSpc>
        <a:spcBef>
          <a:spcPct val="0"/>
        </a:spcBef>
        <a:spcAft>
          <a:spcPct val="0"/>
        </a:spcAft>
        <a:defRPr sz="3600">
          <a:solidFill>
            <a:schemeClr val="tx2"/>
          </a:solidFill>
          <a:latin typeface="Calibri" charset="0"/>
        </a:defRPr>
      </a:lvl7pPr>
      <a:lvl8pPr marL="1371600" algn="l" rtl="0" fontAlgn="base">
        <a:lnSpc>
          <a:spcPct val="85000"/>
        </a:lnSpc>
        <a:spcBef>
          <a:spcPct val="0"/>
        </a:spcBef>
        <a:spcAft>
          <a:spcPct val="0"/>
        </a:spcAft>
        <a:defRPr sz="3600">
          <a:solidFill>
            <a:schemeClr val="tx2"/>
          </a:solidFill>
          <a:latin typeface="Calibri" charset="0"/>
        </a:defRPr>
      </a:lvl8pPr>
      <a:lvl9pPr marL="1828800" algn="l" rtl="0" fontAlgn="base">
        <a:lnSpc>
          <a:spcPct val="85000"/>
        </a:lnSpc>
        <a:spcBef>
          <a:spcPct val="0"/>
        </a:spcBef>
        <a:spcAft>
          <a:spcPct val="0"/>
        </a:spcAft>
        <a:defRPr sz="3600">
          <a:solidFill>
            <a:schemeClr val="tx2"/>
          </a:solidFill>
          <a:latin typeface="Calibri" charset="0"/>
        </a:defRPr>
      </a:lvl9pPr>
    </p:titleStyle>
    <p:bodyStyle>
      <a:lvl1pPr marL="266700" indent="-266700" algn="l" rtl="0" eaLnBrk="0" fontAlgn="base" hangingPunct="0">
        <a:lnSpc>
          <a:spcPct val="97000"/>
        </a:lnSpc>
        <a:spcBef>
          <a:spcPts val="1200"/>
        </a:spcBef>
        <a:spcAft>
          <a:spcPct val="0"/>
        </a:spcAft>
        <a:buClr>
          <a:schemeClr val="accent1"/>
        </a:buClr>
        <a:buFont typeface="Arial" charset="0"/>
        <a:buChar char="•"/>
        <a:defRPr sz="2400" kern="1200">
          <a:solidFill>
            <a:schemeClr val="tx1"/>
          </a:solidFill>
          <a:latin typeface="+mn-lt"/>
          <a:ea typeface="+mn-ea"/>
          <a:cs typeface="+mn-cs"/>
        </a:defRPr>
      </a:lvl1pPr>
      <a:lvl2pPr marL="542925" indent="-276225" algn="l" rtl="0" eaLnBrk="0" fontAlgn="base" hangingPunct="0">
        <a:lnSpc>
          <a:spcPct val="97000"/>
        </a:lnSpc>
        <a:spcBef>
          <a:spcPts val="1200"/>
        </a:spcBef>
        <a:spcAft>
          <a:spcPct val="0"/>
        </a:spcAft>
        <a:buClr>
          <a:schemeClr val="accent1"/>
        </a:buClr>
        <a:buFont typeface="Arial" charset="0"/>
        <a:buChar char="–"/>
        <a:defRPr kern="1200">
          <a:solidFill>
            <a:schemeClr val="tx1"/>
          </a:solidFill>
          <a:latin typeface="+mn-lt"/>
          <a:ea typeface="+mn-ea"/>
          <a:cs typeface="+mn-cs"/>
        </a:defRPr>
      </a:lvl2pPr>
      <a:lvl3pPr marL="1143000" indent="-228600" algn="l" rtl="0" eaLnBrk="0" fontAlgn="base" hangingPunct="0">
        <a:lnSpc>
          <a:spcPct val="90000"/>
        </a:lnSpc>
        <a:spcBef>
          <a:spcPts val="600"/>
        </a:spcBef>
        <a:spcAft>
          <a:spcPct val="0"/>
        </a:spcAft>
        <a:buClr>
          <a:schemeClr val="accent1"/>
        </a:buClr>
        <a:buFont typeface="Arial" charset="0"/>
        <a:buChar char="•"/>
        <a:defRPr sz="1800" kern="1200">
          <a:solidFill>
            <a:schemeClr val="tx1"/>
          </a:solidFill>
          <a:latin typeface="+mn-lt"/>
          <a:ea typeface="+mn-ea"/>
          <a:cs typeface="+mn-cs"/>
        </a:defRPr>
      </a:lvl3pPr>
      <a:lvl4pPr marL="1600200" indent="-228600" algn="l" rtl="0" eaLnBrk="0" fontAlgn="base" hangingPunct="0">
        <a:lnSpc>
          <a:spcPct val="90000"/>
        </a:lnSpc>
        <a:spcBef>
          <a:spcPts val="600"/>
        </a:spcBef>
        <a:spcAft>
          <a:spcPct val="0"/>
        </a:spcAft>
        <a:buClr>
          <a:schemeClr val="accent1"/>
        </a:buClr>
        <a:buFont typeface="Arial" charset="0"/>
        <a:buChar char="–"/>
        <a:defRPr sz="1800" kern="1200">
          <a:solidFill>
            <a:schemeClr val="tx1"/>
          </a:solidFill>
          <a:latin typeface="+mn-lt"/>
          <a:ea typeface="+mn-ea"/>
          <a:cs typeface="+mn-cs"/>
        </a:defRPr>
      </a:lvl4pPr>
      <a:lvl5pPr marL="2057400" indent="-228600" algn="l" rtl="0" eaLnBrk="0" fontAlgn="base" hangingPunct="0">
        <a:lnSpc>
          <a:spcPct val="90000"/>
        </a:lnSpc>
        <a:spcBef>
          <a:spcPts val="600"/>
        </a:spcBef>
        <a:spcAft>
          <a:spcPct val="0"/>
        </a:spcAft>
        <a:buClr>
          <a:schemeClr val="accent1"/>
        </a:buClr>
        <a:buFont typeface="Arial"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70">
          <p15:clr>
            <a:srgbClr val="F26B43"/>
          </p15:clr>
        </p15:guide>
        <p15:guide id="2" pos="438">
          <p15:clr>
            <a:srgbClr val="F26B43"/>
          </p15:clr>
        </p15:guide>
        <p15:guide id="3" pos="3840">
          <p15:clr>
            <a:srgbClr val="F26B43"/>
          </p15:clr>
        </p15:guide>
        <p15:guide id="4" pos="6652">
          <p15:clr>
            <a:srgbClr val="F26B43"/>
          </p15:clr>
        </p15:guide>
        <p15:guide id="5" orient="horz" pos="1084">
          <p15:clr>
            <a:srgbClr val="F26B43"/>
          </p15:clr>
        </p15:guide>
        <p15:guide id="6" orient="horz" pos="3838">
          <p15:clr>
            <a:srgbClr val="F26B43"/>
          </p15:clr>
        </p15:guide>
        <p15:guide id="7" pos="1028">
          <p15:clr>
            <a:srgbClr val="F26B43"/>
          </p15:clr>
        </p15:guide>
        <p15:guide id="8" orient="horz" pos="4002">
          <p15:clr>
            <a:srgbClr val="F26B43"/>
          </p15:clr>
        </p15:guide>
        <p15:guide id="9"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5.xml"/></Relationships>
</file>

<file path=ppt/slides/_rels/slide7.xml.rels><?xml version="1.0" encoding="UTF-8" standalone="yes"?>
<Relationships xmlns="http://schemas.openxmlformats.org/package/2006/relationships"><Relationship Id="rId8" Type="http://schemas.openxmlformats.org/officeDocument/2006/relationships/hyperlink" Target="https://digital-strategy.ec.europa.eu/en/policies/internet-things-policy" TargetMode="External"/><Relationship Id="rId13" Type="http://schemas.openxmlformats.org/officeDocument/2006/relationships/hyperlink" Target="https://ec.europa.eu/info/funding-tenders/opportunities/portal/screen/opportunities/topic-details/horizon-cl5-2021-d3-01-01" TargetMode="External"/><Relationship Id="rId3" Type="http://schemas.openxmlformats.org/officeDocument/2006/relationships/notesSlide" Target="../notesSlides/notesSlide5.xml"/><Relationship Id="rId7" Type="http://schemas.openxmlformats.org/officeDocument/2006/relationships/hyperlink" Target="https://eur-lex.europa.eu/legal-content/EN/TXT/PDF/?uri=CELEX:32023R1162" TargetMode="External"/><Relationship Id="rId12" Type="http://schemas.openxmlformats.org/officeDocument/2006/relationships/hyperlink" Target="https://digital-strategy.ec.europa.eu/en/policies/europes-digital-decade" TargetMode="External"/><Relationship Id="rId2" Type="http://schemas.openxmlformats.org/officeDocument/2006/relationships/slideLayout" Target="../slideLayouts/slideLayout116.xml"/><Relationship Id="rId1" Type="http://schemas.openxmlformats.org/officeDocument/2006/relationships/tags" Target="../tags/tag2.xml"/><Relationship Id="rId6" Type="http://schemas.openxmlformats.org/officeDocument/2006/relationships/image" Target="../media/image52.png"/><Relationship Id="rId11" Type="http://schemas.openxmlformats.org/officeDocument/2006/relationships/hyperlink" Target="https://eur-lex.europa.eu/legal-content/EN/TXT/?uri=COM%3A2022%3A108%3AFIN" TargetMode="External"/><Relationship Id="rId5" Type="http://schemas.openxmlformats.org/officeDocument/2006/relationships/image" Target="../media/image26.emf"/><Relationship Id="rId10" Type="http://schemas.openxmlformats.org/officeDocument/2006/relationships/hyperlink" Target="https://ec.europa.eu/info/strategy/priorities-2019-2024/european-green-deal_en" TargetMode="External"/><Relationship Id="rId4" Type="http://schemas.openxmlformats.org/officeDocument/2006/relationships/oleObject" Target="../embeddings/oleObject2.bin"/><Relationship Id="rId9" Type="http://schemas.openxmlformats.org/officeDocument/2006/relationships/hyperlink" Target="https://digital-strategy.ec.europa.eu/en/policies/digitalisation-energy"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openxmlformats.org/officeDocument/2006/relationships/hyperlink" Target="https://ei.se/download/18.279d9024190a21524db165a0/1724221572833/V%C3%A4gledning-fr%C3%A5n-EU-kommissionen-om-medlemsstaternas-rapportering-av-nationell-praxis-enligt-genomf%C3%B6randef%C3%B6rordningen-m%C3%A4tv%C3%A4rden-engelska.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2542BFE-0398-C359-053A-0B9BFBBB003E}"/>
              </a:ext>
            </a:extLst>
          </p:cNvPr>
          <p:cNvSpPr>
            <a:spLocks noGrp="1"/>
          </p:cNvSpPr>
          <p:nvPr>
            <p:ph type="title"/>
          </p:nvPr>
        </p:nvSpPr>
        <p:spPr/>
        <p:txBody>
          <a:bodyPr/>
          <a:lstStyle/>
          <a:p>
            <a:r>
              <a:rPr lang="sv-SE" dirty="0" err="1"/>
              <a:t>Implementing</a:t>
            </a:r>
            <a:r>
              <a:rPr lang="sv-SE" dirty="0"/>
              <a:t> Regulation</a:t>
            </a:r>
            <a:br>
              <a:rPr lang="sv-SE" dirty="0"/>
            </a:br>
            <a:r>
              <a:rPr lang="sv-SE" dirty="0"/>
              <a:t>Demand Response</a:t>
            </a:r>
            <a:br>
              <a:rPr lang="sv-SE" dirty="0"/>
            </a:br>
            <a:r>
              <a:rPr lang="sv-SE" dirty="0"/>
              <a:t>Del 1</a:t>
            </a:r>
          </a:p>
        </p:txBody>
      </p:sp>
      <p:sp>
        <p:nvSpPr>
          <p:cNvPr id="3" name="Underrubrik 2">
            <a:extLst>
              <a:ext uri="{FF2B5EF4-FFF2-40B4-BE49-F238E27FC236}">
                <a16:creationId xmlns:a16="http://schemas.microsoft.com/office/drawing/2014/main" id="{1050964B-7BFF-7494-7683-2C2DE36902BC}"/>
              </a:ext>
            </a:extLst>
          </p:cNvPr>
          <p:cNvSpPr>
            <a:spLocks noGrp="1"/>
          </p:cNvSpPr>
          <p:nvPr>
            <p:ph type="subTitle" idx="4294967295"/>
          </p:nvPr>
        </p:nvSpPr>
        <p:spPr>
          <a:xfrm>
            <a:off x="878303" y="3156463"/>
            <a:ext cx="8928100" cy="744538"/>
          </a:xfrm>
        </p:spPr>
        <p:txBody>
          <a:bodyPr/>
          <a:lstStyle/>
          <a:p>
            <a:pPr marL="0" indent="0">
              <a:buNone/>
            </a:pPr>
            <a:r>
              <a:rPr lang="sv-SE" dirty="0">
                <a:solidFill>
                  <a:schemeClr val="bg1"/>
                </a:solidFill>
              </a:rPr>
              <a:t>Yvonne Ruwaida</a:t>
            </a:r>
          </a:p>
        </p:txBody>
      </p:sp>
    </p:spTree>
    <p:extLst>
      <p:ext uri="{BB962C8B-B14F-4D97-AF65-F5344CB8AC3E}">
        <p14:creationId xmlns:p14="http://schemas.microsoft.com/office/powerpoint/2010/main" val="258402884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7602D-E4A8-D8A8-581A-5EEA373AA128}"/>
            </a:ext>
          </a:extLst>
        </p:cNvPr>
        <p:cNvGrpSpPr/>
        <p:nvPr/>
      </p:nvGrpSpPr>
      <p:grpSpPr>
        <a:xfrm>
          <a:off x="0" y="0"/>
          <a:ext cx="0" cy="0"/>
          <a:chOff x="0" y="0"/>
          <a:chExt cx="0" cy="0"/>
        </a:xfrm>
      </p:grpSpPr>
      <p:graphicFrame>
        <p:nvGraphicFramePr>
          <p:cNvPr id="8" name="Table 9">
            <a:extLst>
              <a:ext uri="{FF2B5EF4-FFF2-40B4-BE49-F238E27FC236}">
                <a16:creationId xmlns:a16="http://schemas.microsoft.com/office/drawing/2014/main" id="{C5891A80-3A87-FDE1-C19E-83B7991F9A69}"/>
              </a:ext>
            </a:extLst>
          </p:cNvPr>
          <p:cNvGraphicFramePr>
            <a:graphicFrameLocks noGrp="1"/>
          </p:cNvGraphicFramePr>
          <p:nvPr/>
        </p:nvGraphicFramePr>
        <p:xfrm>
          <a:off x="284748" y="1122664"/>
          <a:ext cx="11622503" cy="5025887"/>
        </p:xfrm>
        <a:graphic>
          <a:graphicData uri="http://schemas.openxmlformats.org/drawingml/2006/table">
            <a:tbl>
              <a:tblPr firstRow="1" bandRow="1">
                <a:tableStyleId>{5C22544A-7EE6-4342-B048-85BDC9FD1C3A}</a:tableStyleId>
              </a:tblPr>
              <a:tblGrid>
                <a:gridCol w="1588167">
                  <a:extLst>
                    <a:ext uri="{9D8B030D-6E8A-4147-A177-3AD203B41FA5}">
                      <a16:colId xmlns:a16="http://schemas.microsoft.com/office/drawing/2014/main" val="1792453091"/>
                    </a:ext>
                  </a:extLst>
                </a:gridCol>
                <a:gridCol w="1832811">
                  <a:extLst>
                    <a:ext uri="{9D8B030D-6E8A-4147-A177-3AD203B41FA5}">
                      <a16:colId xmlns:a16="http://schemas.microsoft.com/office/drawing/2014/main" val="529101093"/>
                    </a:ext>
                  </a:extLst>
                </a:gridCol>
                <a:gridCol w="1618749">
                  <a:extLst>
                    <a:ext uri="{9D8B030D-6E8A-4147-A177-3AD203B41FA5}">
                      <a16:colId xmlns:a16="http://schemas.microsoft.com/office/drawing/2014/main" val="3258239908"/>
                    </a:ext>
                  </a:extLst>
                </a:gridCol>
                <a:gridCol w="1577640">
                  <a:extLst>
                    <a:ext uri="{9D8B030D-6E8A-4147-A177-3AD203B41FA5}">
                      <a16:colId xmlns:a16="http://schemas.microsoft.com/office/drawing/2014/main" val="1620720467"/>
                    </a:ext>
                  </a:extLst>
                </a:gridCol>
                <a:gridCol w="1588169">
                  <a:extLst>
                    <a:ext uri="{9D8B030D-6E8A-4147-A177-3AD203B41FA5}">
                      <a16:colId xmlns:a16="http://schemas.microsoft.com/office/drawing/2014/main" val="4055362262"/>
                    </a:ext>
                  </a:extLst>
                </a:gridCol>
                <a:gridCol w="1528010">
                  <a:extLst>
                    <a:ext uri="{9D8B030D-6E8A-4147-A177-3AD203B41FA5}">
                      <a16:colId xmlns:a16="http://schemas.microsoft.com/office/drawing/2014/main" val="770227062"/>
                    </a:ext>
                  </a:extLst>
                </a:gridCol>
                <a:gridCol w="1888957">
                  <a:extLst>
                    <a:ext uri="{9D8B030D-6E8A-4147-A177-3AD203B41FA5}">
                      <a16:colId xmlns:a16="http://schemas.microsoft.com/office/drawing/2014/main" val="2906169044"/>
                    </a:ext>
                  </a:extLst>
                </a:gridCol>
              </a:tblGrid>
              <a:tr h="1167154">
                <a:tc>
                  <a:txBody>
                    <a:bodyPr/>
                    <a:lstStyle/>
                    <a:p>
                      <a:pPr algn="ctr"/>
                      <a:r>
                        <a:rPr lang="en-US" sz="1400"/>
                        <a:t>Urval av uppgifter </a:t>
                      </a:r>
                    </a:p>
                    <a:p>
                      <a:pPr algn="ctr"/>
                      <a:r>
                        <a:rPr lang="en-US" sz="1400"/>
                        <a:t>(use cases)</a:t>
                      </a:r>
                    </a:p>
                  </a:txBody>
                  <a:tcPr/>
                </a:tc>
                <a:tc>
                  <a:txBody>
                    <a:bodyPr/>
                    <a:lstStyle/>
                    <a:p>
                      <a:pPr algn="ctr"/>
                      <a:r>
                        <a:rPr lang="en-US" sz="1400"/>
                        <a:t>Få information om arbetsutkast till EU:s referens-modell</a:t>
                      </a:r>
                    </a:p>
                  </a:txBody>
                  <a:tcPr/>
                </a:tc>
                <a:tc>
                  <a:txBody>
                    <a:bodyPr/>
                    <a:lstStyle/>
                    <a:p>
                      <a:pPr lvl="0" algn="ctr">
                        <a:buNone/>
                      </a:pPr>
                      <a:r>
                        <a:rPr lang="en-US" sz="1400"/>
                        <a:t>Ge input till EU:s </a:t>
                      </a:r>
                    </a:p>
                    <a:p>
                      <a:pPr lvl="0" algn="ctr">
                        <a:buNone/>
                      </a:pPr>
                      <a:r>
                        <a:rPr lang="en-US" sz="1400"/>
                        <a:t>referensmodell</a:t>
                      </a:r>
                    </a:p>
                  </a:txBody>
                  <a:tcPr/>
                </a:tc>
                <a:tc>
                  <a:txBody>
                    <a:bodyPr/>
                    <a:lstStyle/>
                    <a:p>
                      <a:pPr algn="ctr"/>
                      <a:r>
                        <a:rPr lang="en-US" sz="1400">
                          <a:solidFill>
                            <a:schemeClr val="tx1"/>
                          </a:solidFill>
                        </a:rPr>
                        <a:t>Få information om utkastet till EU:s referens-modell som Kommissionen fått</a:t>
                      </a:r>
                      <a:endParaRPr lang="en-US">
                        <a:solidFill>
                          <a:schemeClr val="tx1"/>
                        </a:solidFill>
                      </a:endParaRPr>
                    </a:p>
                  </a:txBody>
                  <a:tcPr>
                    <a:solidFill>
                      <a:schemeClr val="accent2"/>
                    </a:solidFill>
                  </a:tcPr>
                </a:tc>
                <a:tc>
                  <a:txBody>
                    <a:bodyPr/>
                    <a:lstStyle/>
                    <a:p>
                      <a:pPr algn="ctr"/>
                      <a:r>
                        <a:rPr lang="en-US" sz="1400">
                          <a:solidFill>
                            <a:schemeClr val="tx1"/>
                          </a:solidFill>
                        </a:rPr>
                        <a:t>Kommissionen publicerar EU:s referensmodell i genomförande-förordning</a:t>
                      </a:r>
                    </a:p>
                  </a:txBody>
                  <a:tcPr>
                    <a:solidFill>
                      <a:schemeClr val="accent2"/>
                    </a:solidFill>
                  </a:tcPr>
                </a:tc>
                <a:tc>
                  <a:txBody>
                    <a:bodyPr/>
                    <a:lstStyle/>
                    <a:p>
                      <a:pPr algn="ctr"/>
                      <a:r>
                        <a:rPr lang="en-US" sz="1400">
                          <a:solidFill>
                            <a:schemeClr val="tx1"/>
                          </a:solidFill>
                        </a:rPr>
                        <a:t>Genomförande-förordningen träder i kraft</a:t>
                      </a:r>
                    </a:p>
                  </a:txBody>
                  <a:tcPr>
                    <a:solidFill>
                      <a:schemeClr val="accent2"/>
                    </a:solidFill>
                  </a:tcPr>
                </a:tc>
                <a:tc>
                  <a:txBody>
                    <a:bodyPr/>
                    <a:lstStyle/>
                    <a:p>
                      <a:pPr algn="ctr"/>
                      <a:r>
                        <a:rPr lang="en-US" sz="1400"/>
                        <a:t>Ge input/få information i arbetet med att ta fram EU bransch-standard (INSIEME)</a:t>
                      </a:r>
                    </a:p>
                  </a:txBody>
                  <a:tcPr/>
                </a:tc>
                <a:extLst>
                  <a:ext uri="{0D108BD9-81ED-4DB2-BD59-A6C34878D82A}">
                    <a16:rowId xmlns:a16="http://schemas.microsoft.com/office/drawing/2014/main" val="2438785069"/>
                  </a:ext>
                </a:extLst>
              </a:tr>
              <a:tr h="318925">
                <a:tc>
                  <a:txBody>
                    <a:bodyPr/>
                    <a:lstStyle/>
                    <a:p>
                      <a:pPr algn="ctr"/>
                      <a:r>
                        <a:rPr lang="en-US" sz="1300" b="1">
                          <a:latin typeface="+mn-lt"/>
                        </a:rPr>
                        <a:t>Mätdatahantering</a:t>
                      </a:r>
                    </a:p>
                  </a:txBody>
                  <a:tcPr anchor="ctr"/>
                </a:tc>
                <a:tc>
                  <a:txBody>
                    <a:bodyPr/>
                    <a:lstStyle/>
                    <a:p>
                      <a:pPr algn="ctr"/>
                      <a:endParaRPr lang="en-US" sz="1300">
                        <a:latin typeface="+mn-lt"/>
                      </a:endParaRPr>
                    </a:p>
                  </a:txBody>
                  <a:tcPr anchor="ctr"/>
                </a:tc>
                <a:tc>
                  <a:txBody>
                    <a:bodyPr/>
                    <a:lstStyle/>
                    <a:p>
                      <a:pPr lvl="0" algn="ctr">
                        <a:buNone/>
                      </a:pPr>
                      <a:endParaRPr lang="en-US" sz="1300">
                        <a:latin typeface="+mn-lt"/>
                      </a:endParaRPr>
                    </a:p>
                  </a:txBody>
                  <a:tcPr anchor="ctr"/>
                </a:tc>
                <a:tc>
                  <a:txBody>
                    <a:bodyPr/>
                    <a:lstStyle/>
                    <a:p>
                      <a:pPr algn="ctr"/>
                      <a:r>
                        <a:rPr lang="en-US" sz="1300">
                          <a:latin typeface="+mn-lt"/>
                        </a:rPr>
                        <a:t>NA</a:t>
                      </a:r>
                    </a:p>
                  </a:txBody>
                  <a:tcPr anchor="ctr">
                    <a:solidFill>
                      <a:schemeClr val="accent2">
                        <a:lumMod val="40000"/>
                        <a:lumOff val="60000"/>
                      </a:schemeClr>
                    </a:solidFill>
                  </a:tcPr>
                </a:tc>
                <a:tc>
                  <a:txBody>
                    <a:bodyPr/>
                    <a:lstStyle/>
                    <a:p>
                      <a:pPr algn="ctr"/>
                      <a:r>
                        <a:rPr lang="en-US" sz="1300">
                          <a:latin typeface="+mn-lt"/>
                        </a:rPr>
                        <a:t>2023</a:t>
                      </a:r>
                    </a:p>
                  </a:txBody>
                  <a:tcPr anchor="ctr">
                    <a:solidFill>
                      <a:schemeClr val="accent2">
                        <a:lumMod val="40000"/>
                        <a:lumOff val="60000"/>
                      </a:schemeClr>
                    </a:solidFill>
                  </a:tcPr>
                </a:tc>
                <a:tc>
                  <a:txBody>
                    <a:bodyPr/>
                    <a:lstStyle/>
                    <a:p>
                      <a:pPr algn="ctr"/>
                      <a:r>
                        <a:rPr lang="en-US" sz="1300">
                          <a:latin typeface="+mn-lt"/>
                        </a:rPr>
                        <a:t>2025</a:t>
                      </a:r>
                    </a:p>
                  </a:txBody>
                  <a:tcPr anchor="ctr">
                    <a:solidFill>
                      <a:schemeClr val="accent2">
                        <a:lumMod val="40000"/>
                        <a:lumOff val="60000"/>
                      </a:schemeClr>
                    </a:solidFill>
                  </a:tcPr>
                </a:tc>
                <a:tc>
                  <a:txBody>
                    <a:bodyPr/>
                    <a:lstStyle/>
                    <a:p>
                      <a:pPr algn="ctr"/>
                      <a:r>
                        <a:rPr lang="en-US" sz="1300">
                          <a:latin typeface="+mn-lt"/>
                        </a:rPr>
                        <a:t>(?)</a:t>
                      </a:r>
                    </a:p>
                  </a:txBody>
                  <a:tcPr anchor="ctr"/>
                </a:tc>
                <a:extLst>
                  <a:ext uri="{0D108BD9-81ED-4DB2-BD59-A6C34878D82A}">
                    <a16:rowId xmlns:a16="http://schemas.microsoft.com/office/drawing/2014/main" val="2699894970"/>
                  </a:ext>
                </a:extLst>
              </a:tr>
              <a:tr h="376182">
                <a:tc>
                  <a:txBody>
                    <a:bodyPr/>
                    <a:lstStyle/>
                    <a:p>
                      <a:pPr algn="ctr"/>
                      <a:r>
                        <a:rPr lang="en-US" sz="1300" b="1">
                          <a:latin typeface="+mn-lt"/>
                        </a:rPr>
                        <a:t>Elhandlarbyte</a:t>
                      </a:r>
                    </a:p>
                  </a:txBody>
                  <a:tcPr anchor="ctr"/>
                </a:tc>
                <a:tc>
                  <a:txBody>
                    <a:bodyPr/>
                    <a:lstStyle/>
                    <a:p>
                      <a:pPr algn="ctr"/>
                      <a:endParaRPr lang="en-US" sz="1300">
                        <a:latin typeface="+mn-lt"/>
                      </a:endParaRPr>
                    </a:p>
                  </a:txBody>
                  <a:tcPr anchor="ctr"/>
                </a:tc>
                <a:tc>
                  <a:txBody>
                    <a:bodyPr/>
                    <a:lstStyle/>
                    <a:p>
                      <a:pPr lvl="0" algn="ctr">
                        <a:buNone/>
                      </a:pPr>
                      <a:endParaRPr lang="en-US" sz="1300">
                        <a:latin typeface="+mn-lt"/>
                      </a:endParaRPr>
                    </a:p>
                  </a:txBody>
                  <a:tcPr anchor="ctr"/>
                </a:tc>
                <a:tc>
                  <a:txBody>
                    <a:bodyPr/>
                    <a:lstStyle/>
                    <a:p>
                      <a:pPr algn="ctr"/>
                      <a:r>
                        <a:rPr lang="en-US" sz="1300">
                          <a:latin typeface="+mn-lt"/>
                        </a:rPr>
                        <a:t>Nu</a:t>
                      </a:r>
                    </a:p>
                  </a:txBody>
                  <a:tcPr anchor="ctr">
                    <a:solidFill>
                      <a:schemeClr val="accent2">
                        <a:lumMod val="20000"/>
                        <a:lumOff val="80000"/>
                      </a:schemeClr>
                    </a:solidFill>
                  </a:tcPr>
                </a:tc>
                <a:tc>
                  <a:txBody>
                    <a:bodyPr/>
                    <a:lstStyle/>
                    <a:p>
                      <a:pPr algn="ctr"/>
                      <a:r>
                        <a:rPr lang="en-US" sz="1300">
                          <a:latin typeface="+mn-lt"/>
                        </a:rPr>
                        <a:t>2025</a:t>
                      </a:r>
                    </a:p>
                  </a:txBody>
                  <a:tcPr anchor="ctr">
                    <a:solidFill>
                      <a:schemeClr val="accent2">
                        <a:lumMod val="20000"/>
                        <a:lumOff val="80000"/>
                      </a:schemeClr>
                    </a:solidFill>
                  </a:tcPr>
                </a:tc>
                <a:tc>
                  <a:txBody>
                    <a:bodyPr/>
                    <a:lstStyle/>
                    <a:p>
                      <a:pPr algn="ctr"/>
                      <a:r>
                        <a:rPr lang="en-US" sz="1300">
                          <a:latin typeface="+mn-lt"/>
                        </a:rPr>
                        <a:t>2026*</a:t>
                      </a:r>
                    </a:p>
                  </a:txBody>
                  <a:tcPr anchor="ctr">
                    <a:solidFill>
                      <a:schemeClr val="accent2">
                        <a:lumMod val="20000"/>
                        <a:lumOff val="80000"/>
                      </a:schemeClr>
                    </a:solidFill>
                  </a:tcPr>
                </a:tc>
                <a:tc>
                  <a:txBody>
                    <a:bodyPr/>
                    <a:lstStyle/>
                    <a:p>
                      <a:pPr algn="ctr"/>
                      <a:r>
                        <a:rPr lang="en-US" sz="1300">
                          <a:latin typeface="+mn-lt"/>
                        </a:rPr>
                        <a:t>(?)</a:t>
                      </a:r>
                    </a:p>
                  </a:txBody>
                  <a:tcPr anchor="ctr"/>
                </a:tc>
                <a:extLst>
                  <a:ext uri="{0D108BD9-81ED-4DB2-BD59-A6C34878D82A}">
                    <a16:rowId xmlns:a16="http://schemas.microsoft.com/office/drawing/2014/main" val="3444599648"/>
                  </a:ext>
                </a:extLst>
              </a:tr>
              <a:tr h="542172">
                <a:tc>
                  <a:txBody>
                    <a:bodyPr/>
                    <a:lstStyle/>
                    <a:p>
                      <a:pPr algn="ctr"/>
                      <a:r>
                        <a:rPr lang="en-US" sz="1300" b="1">
                          <a:latin typeface="+mn-lt"/>
                        </a:rPr>
                        <a:t>Demand Response</a:t>
                      </a:r>
                    </a:p>
                  </a:txBody>
                  <a:tcPr anchor="ctr"/>
                </a:tc>
                <a:tc>
                  <a:txBody>
                    <a:bodyPr/>
                    <a:lstStyle/>
                    <a:p>
                      <a:pPr algn="ctr"/>
                      <a:r>
                        <a:rPr lang="en-US" sz="1300">
                          <a:latin typeface="+mn-lt"/>
                        </a:rPr>
                        <a:t>Nu och under 2025</a:t>
                      </a:r>
                    </a:p>
                  </a:txBody>
                  <a:tcPr anchor="ctr"/>
                </a:tc>
                <a:tc>
                  <a:txBody>
                    <a:bodyPr/>
                    <a:lstStyle/>
                    <a:p>
                      <a:pPr lvl="0" algn="ctr">
                        <a:buNone/>
                      </a:pPr>
                      <a:r>
                        <a:rPr lang="en-US" sz="1300">
                          <a:latin typeface="+mn-lt"/>
                        </a:rPr>
                        <a:t>2025</a:t>
                      </a:r>
                    </a:p>
                  </a:txBody>
                  <a:tcPr anchor="ctr"/>
                </a:tc>
                <a:tc>
                  <a:txBody>
                    <a:bodyPr/>
                    <a:lstStyle/>
                    <a:p>
                      <a:pPr algn="ctr"/>
                      <a:r>
                        <a:rPr lang="en-US" sz="1300">
                          <a:latin typeface="+mn-lt"/>
                        </a:rPr>
                        <a:t>Juli 2025</a:t>
                      </a:r>
                    </a:p>
                    <a:p>
                      <a:pPr lvl="0" algn="ctr">
                        <a:buNone/>
                      </a:pPr>
                      <a:r>
                        <a:rPr lang="en-US" sz="1300">
                          <a:latin typeface="+mn-lt"/>
                        </a:rPr>
                        <a:t>Dec 2025</a:t>
                      </a:r>
                    </a:p>
                  </a:txBody>
                  <a:tcPr anchor="ctr">
                    <a:solidFill>
                      <a:schemeClr val="accent2">
                        <a:lumMod val="40000"/>
                        <a:lumOff val="60000"/>
                      </a:schemeClr>
                    </a:solidFill>
                  </a:tcPr>
                </a:tc>
                <a:tc>
                  <a:txBody>
                    <a:bodyPr/>
                    <a:lstStyle/>
                    <a:p>
                      <a:pPr algn="ctr"/>
                      <a:r>
                        <a:rPr lang="en-US" sz="1300">
                          <a:latin typeface="+mn-lt"/>
                        </a:rPr>
                        <a:t>2026</a:t>
                      </a:r>
                    </a:p>
                  </a:txBody>
                  <a:tcPr anchor="ctr">
                    <a:solidFill>
                      <a:schemeClr val="accent2">
                        <a:lumMod val="40000"/>
                        <a:lumOff val="60000"/>
                      </a:schemeClr>
                    </a:solidFill>
                  </a:tcPr>
                </a:tc>
                <a:tc>
                  <a:txBody>
                    <a:bodyPr/>
                    <a:lstStyle/>
                    <a:p>
                      <a:pPr algn="ctr"/>
                      <a:r>
                        <a:rPr lang="en-US" sz="1300">
                          <a:latin typeface="+mn-lt"/>
                        </a:rPr>
                        <a:t>2027*</a:t>
                      </a:r>
                    </a:p>
                  </a:txBody>
                  <a:tcPr anchor="ctr">
                    <a:solidFill>
                      <a:schemeClr val="accent2">
                        <a:lumMod val="40000"/>
                        <a:lumOff val="60000"/>
                      </a:schemeClr>
                    </a:solidFill>
                  </a:tcPr>
                </a:tc>
                <a:tc>
                  <a:txBody>
                    <a:bodyPr/>
                    <a:lstStyle/>
                    <a:p>
                      <a:pPr algn="ctr"/>
                      <a:r>
                        <a:rPr lang="en-US" sz="1300">
                          <a:latin typeface="+mn-lt"/>
                        </a:rPr>
                        <a:t>(?)</a:t>
                      </a:r>
                    </a:p>
                  </a:txBody>
                  <a:tcPr anchor="ctr"/>
                </a:tc>
                <a:extLst>
                  <a:ext uri="{0D108BD9-81ED-4DB2-BD59-A6C34878D82A}">
                    <a16:rowId xmlns:a16="http://schemas.microsoft.com/office/drawing/2014/main" val="4216424461"/>
                  </a:ext>
                </a:extLst>
              </a:tr>
              <a:tr h="542172">
                <a:tc>
                  <a:txBody>
                    <a:bodyPr/>
                    <a:lstStyle/>
                    <a:p>
                      <a:pPr algn="ctr"/>
                      <a:r>
                        <a:rPr lang="en-US" sz="1300" b="1">
                          <a:latin typeface="+mn-lt"/>
                        </a:rPr>
                        <a:t>Energidelning</a:t>
                      </a:r>
                    </a:p>
                    <a:p>
                      <a:pPr lvl="0" algn="ctr">
                        <a:buNone/>
                      </a:pPr>
                      <a:r>
                        <a:rPr lang="en-US" sz="1300" b="1">
                          <a:latin typeface="+mn-lt"/>
                        </a:rPr>
                        <a:t>(blir lag juli 2026)</a:t>
                      </a:r>
                    </a:p>
                  </a:txBody>
                  <a:tcPr anchor="ctr"/>
                </a:tc>
                <a:tc>
                  <a:txBody>
                    <a:bodyPr/>
                    <a:lstStyle/>
                    <a:p>
                      <a:pPr algn="ctr"/>
                      <a:r>
                        <a:rPr lang="en-US" sz="1300">
                          <a:latin typeface="+mn-lt"/>
                        </a:rPr>
                        <a:t>Nu </a:t>
                      </a:r>
                      <a:r>
                        <a:rPr lang="en-US" sz="1300" b="0" i="0" u="none" strike="noStrike" noProof="0">
                          <a:solidFill>
                            <a:srgbClr val="000000"/>
                          </a:solidFill>
                          <a:latin typeface="+mn-lt"/>
                        </a:rPr>
                        <a:t>och under 2025</a:t>
                      </a:r>
                      <a:endParaRPr lang="en-US" sz="1300">
                        <a:latin typeface="+mn-lt"/>
                      </a:endParaRPr>
                    </a:p>
                  </a:txBody>
                  <a:tcPr anchor="ctr"/>
                </a:tc>
                <a:tc>
                  <a:txBody>
                    <a:bodyPr/>
                    <a:lstStyle/>
                    <a:p>
                      <a:pPr lvl="0" algn="ctr">
                        <a:buNone/>
                      </a:pPr>
                      <a:r>
                        <a:rPr lang="en-US" sz="1300">
                          <a:latin typeface="+mn-lt"/>
                        </a:rPr>
                        <a:t>2025</a:t>
                      </a:r>
                    </a:p>
                  </a:txBody>
                  <a:tcPr anchor="ctr"/>
                </a:tc>
                <a:tc>
                  <a:txBody>
                    <a:bodyPr/>
                    <a:lstStyle/>
                    <a:p>
                      <a:pPr algn="ctr"/>
                      <a:endParaRPr lang="en-US" sz="1300">
                        <a:latin typeface="+mn-lt"/>
                      </a:endParaRPr>
                    </a:p>
                  </a:txBody>
                  <a:tcPr anchor="ctr">
                    <a:solidFill>
                      <a:schemeClr val="accent2">
                        <a:lumMod val="20000"/>
                        <a:lumOff val="80000"/>
                      </a:schemeClr>
                    </a:solidFill>
                  </a:tcPr>
                </a:tc>
                <a:tc>
                  <a:txBody>
                    <a:bodyPr/>
                    <a:lstStyle/>
                    <a:p>
                      <a:pPr algn="ctr"/>
                      <a:r>
                        <a:rPr lang="en-US" sz="1300">
                          <a:latin typeface="+mn-lt"/>
                        </a:rPr>
                        <a:t>2026(?)</a:t>
                      </a:r>
                    </a:p>
                  </a:txBody>
                  <a:tcPr anchor="ctr">
                    <a:solidFill>
                      <a:schemeClr val="accent2">
                        <a:lumMod val="20000"/>
                        <a:lumOff val="80000"/>
                      </a:schemeClr>
                    </a:solidFill>
                  </a:tcPr>
                </a:tc>
                <a:tc>
                  <a:txBody>
                    <a:bodyPr/>
                    <a:lstStyle/>
                    <a:p>
                      <a:pPr algn="ctr"/>
                      <a:r>
                        <a:rPr lang="en-US" sz="1300">
                          <a:latin typeface="+mn-lt"/>
                        </a:rPr>
                        <a:t>2026</a:t>
                      </a:r>
                    </a:p>
                  </a:txBody>
                  <a:tcPr anchor="ctr">
                    <a:solidFill>
                      <a:schemeClr val="accent2">
                        <a:lumMod val="20000"/>
                        <a:lumOff val="80000"/>
                      </a:schemeClr>
                    </a:solidFill>
                  </a:tcPr>
                </a:tc>
                <a:tc>
                  <a:txBody>
                    <a:bodyPr/>
                    <a:lstStyle/>
                    <a:p>
                      <a:pPr algn="ctr"/>
                      <a:r>
                        <a:rPr lang="en-US" sz="1300">
                          <a:latin typeface="+mn-lt"/>
                        </a:rPr>
                        <a:t>Q2 2025-?</a:t>
                      </a:r>
                    </a:p>
                  </a:txBody>
                  <a:tcPr anchor="ctr"/>
                </a:tc>
                <a:extLst>
                  <a:ext uri="{0D108BD9-81ED-4DB2-BD59-A6C34878D82A}">
                    <a16:rowId xmlns:a16="http://schemas.microsoft.com/office/drawing/2014/main" val="2961503558"/>
                  </a:ext>
                </a:extLst>
              </a:tr>
              <a:tr h="376182">
                <a:tc>
                  <a:txBody>
                    <a:bodyPr/>
                    <a:lstStyle/>
                    <a:p>
                      <a:pPr lvl="0" algn="ctr">
                        <a:buNone/>
                      </a:pPr>
                      <a:r>
                        <a:rPr lang="en-US" sz="1300" b="1">
                          <a:latin typeface="+mn-lt"/>
                        </a:rPr>
                        <a:t>Villkorade avtal</a:t>
                      </a:r>
                    </a:p>
                  </a:txBody>
                  <a:tcPr anchor="ctr"/>
                </a:tc>
                <a:tc>
                  <a:txBody>
                    <a:bodyPr/>
                    <a:lstStyle/>
                    <a:p>
                      <a:pPr lvl="0" algn="ctr">
                        <a:buNone/>
                      </a:pPr>
                      <a:r>
                        <a:rPr lang="en-US" sz="1300">
                          <a:latin typeface="+mn-lt"/>
                        </a:rPr>
                        <a:t>Nu </a:t>
                      </a:r>
                      <a:r>
                        <a:rPr lang="en-US" sz="1300" b="0" i="0" u="none" strike="noStrike" noProof="0">
                          <a:solidFill>
                            <a:srgbClr val="000000"/>
                          </a:solidFill>
                          <a:latin typeface="+mn-lt"/>
                        </a:rPr>
                        <a:t>och under 2025</a:t>
                      </a:r>
                      <a:endParaRPr lang="en-US" sz="1300">
                        <a:latin typeface="+mn-lt"/>
                      </a:endParaRPr>
                    </a:p>
                  </a:txBody>
                  <a:tcPr anchor="ctr"/>
                </a:tc>
                <a:tc>
                  <a:txBody>
                    <a:bodyPr/>
                    <a:lstStyle/>
                    <a:p>
                      <a:pPr lvl="0" algn="ctr">
                        <a:buNone/>
                      </a:pPr>
                      <a:r>
                        <a:rPr lang="en-US" sz="1300">
                          <a:latin typeface="+mn-lt"/>
                        </a:rPr>
                        <a:t>2025</a:t>
                      </a:r>
                    </a:p>
                  </a:txBody>
                  <a:tcPr anchor="ctr"/>
                </a:tc>
                <a:tc>
                  <a:txBody>
                    <a:bodyPr/>
                    <a:lstStyle/>
                    <a:p>
                      <a:pPr lvl="0" algn="ctr">
                        <a:buNone/>
                      </a:pPr>
                      <a:endParaRPr lang="en-US" sz="1300">
                        <a:latin typeface="+mn-lt"/>
                      </a:endParaRPr>
                    </a:p>
                  </a:txBody>
                  <a:tcPr anchor="ctr">
                    <a:solidFill>
                      <a:schemeClr val="accent2">
                        <a:lumMod val="40000"/>
                        <a:lumOff val="60000"/>
                      </a:schemeClr>
                    </a:solidFill>
                  </a:tcPr>
                </a:tc>
                <a:tc>
                  <a:txBody>
                    <a:bodyPr/>
                    <a:lstStyle/>
                    <a:p>
                      <a:pPr lvl="0" algn="ctr">
                        <a:buNone/>
                      </a:pPr>
                      <a:endParaRPr lang="en-US" sz="1300">
                        <a:latin typeface="+mn-lt"/>
                      </a:endParaRPr>
                    </a:p>
                  </a:txBody>
                  <a:tcPr anchor="ctr">
                    <a:solidFill>
                      <a:schemeClr val="accent2">
                        <a:lumMod val="40000"/>
                        <a:lumOff val="60000"/>
                      </a:schemeClr>
                    </a:solidFill>
                  </a:tcPr>
                </a:tc>
                <a:tc>
                  <a:txBody>
                    <a:bodyPr/>
                    <a:lstStyle/>
                    <a:p>
                      <a:pPr lvl="0" algn="ctr">
                        <a:buNone/>
                      </a:pPr>
                      <a:r>
                        <a:rPr lang="en-US" sz="1300">
                          <a:latin typeface="+mn-lt"/>
                        </a:rPr>
                        <a:t>2027*</a:t>
                      </a:r>
                    </a:p>
                  </a:txBody>
                  <a:tcPr anchor="ctr">
                    <a:solidFill>
                      <a:schemeClr val="accent2">
                        <a:lumMod val="40000"/>
                        <a:lumOff val="60000"/>
                      </a:schemeClr>
                    </a:solidFill>
                  </a:tcPr>
                </a:tc>
                <a:tc>
                  <a:txBody>
                    <a:bodyPr/>
                    <a:lstStyle/>
                    <a:p>
                      <a:pPr lvl="0" algn="ctr">
                        <a:buNone/>
                      </a:pPr>
                      <a:r>
                        <a:rPr lang="en-US" sz="1300">
                          <a:latin typeface="+mn-lt"/>
                        </a:rPr>
                        <a:t>Q2 2025-?</a:t>
                      </a:r>
                    </a:p>
                  </a:txBody>
                  <a:tcPr anchor="ctr"/>
                </a:tc>
                <a:extLst>
                  <a:ext uri="{0D108BD9-81ED-4DB2-BD59-A6C34878D82A}">
                    <a16:rowId xmlns:a16="http://schemas.microsoft.com/office/drawing/2014/main" val="2285121453"/>
                  </a:ext>
                </a:extLst>
              </a:tr>
              <a:tr h="988666">
                <a:tc>
                  <a:txBody>
                    <a:bodyPr/>
                    <a:lstStyle/>
                    <a:p>
                      <a:pPr lvl="0" algn="ctr">
                        <a:buNone/>
                      </a:pPr>
                      <a:r>
                        <a:rPr lang="en-US" sz="1300" b="1">
                          <a:latin typeface="+mn-lt"/>
                        </a:rPr>
                        <a:t>Prognoser för tung trafik (princip för lokalisering)</a:t>
                      </a:r>
                    </a:p>
                  </a:txBody>
                  <a:tcPr anchor="ctr"/>
                </a:tc>
                <a:tc>
                  <a:txBody>
                    <a:bodyPr/>
                    <a:lstStyle/>
                    <a:p>
                      <a:pPr lvl="0" algn="ctr">
                        <a:buNone/>
                      </a:pPr>
                      <a:r>
                        <a:rPr lang="en-US" sz="1300">
                          <a:latin typeface="+mn-lt"/>
                        </a:rPr>
                        <a:t>Under framtagande</a:t>
                      </a:r>
                    </a:p>
                  </a:txBody>
                  <a:tcPr anchor="ctr"/>
                </a:tc>
                <a:tc>
                  <a:txBody>
                    <a:bodyPr/>
                    <a:lstStyle/>
                    <a:p>
                      <a:pPr lvl="0" algn="ctr">
                        <a:buNone/>
                      </a:pPr>
                      <a:r>
                        <a:rPr lang="en-US" sz="1300">
                          <a:latin typeface="+mn-lt"/>
                        </a:rPr>
                        <a:t>2025</a:t>
                      </a:r>
                    </a:p>
                  </a:txBody>
                  <a:tcPr anchor="ctr"/>
                </a:tc>
                <a:tc>
                  <a:txBody>
                    <a:bodyPr/>
                    <a:lstStyle/>
                    <a:p>
                      <a:pPr lvl="0" algn="ctr">
                        <a:buNone/>
                      </a:pPr>
                      <a:endParaRPr lang="en-US" sz="1300">
                        <a:latin typeface="+mn-lt"/>
                      </a:endParaRPr>
                    </a:p>
                  </a:txBody>
                  <a:tcPr anchor="ctr">
                    <a:solidFill>
                      <a:schemeClr val="accent2">
                        <a:lumMod val="20000"/>
                        <a:lumOff val="80000"/>
                      </a:schemeClr>
                    </a:solidFill>
                  </a:tcPr>
                </a:tc>
                <a:tc>
                  <a:txBody>
                    <a:bodyPr/>
                    <a:lstStyle/>
                    <a:p>
                      <a:pPr lvl="0" algn="ctr">
                        <a:buNone/>
                      </a:pPr>
                      <a:endParaRPr lang="en-US" sz="1300">
                        <a:latin typeface="+mn-lt"/>
                      </a:endParaRPr>
                    </a:p>
                  </a:txBody>
                  <a:tcPr anchor="ctr">
                    <a:solidFill>
                      <a:schemeClr val="accent2">
                        <a:lumMod val="20000"/>
                        <a:lumOff val="80000"/>
                      </a:schemeClr>
                    </a:solidFill>
                  </a:tcPr>
                </a:tc>
                <a:tc>
                  <a:txBody>
                    <a:bodyPr/>
                    <a:lstStyle/>
                    <a:p>
                      <a:pPr lvl="0" algn="ctr">
                        <a:buNone/>
                      </a:pPr>
                      <a:endParaRPr lang="en-US" sz="1300">
                        <a:latin typeface="+mn-lt"/>
                      </a:endParaRPr>
                    </a:p>
                  </a:txBody>
                  <a:tcPr anchor="ctr">
                    <a:solidFill>
                      <a:schemeClr val="accent2">
                        <a:lumMod val="20000"/>
                        <a:lumOff val="80000"/>
                      </a:schemeClr>
                    </a:solidFill>
                  </a:tcPr>
                </a:tc>
                <a:tc>
                  <a:txBody>
                    <a:bodyPr/>
                    <a:lstStyle/>
                    <a:p>
                      <a:pPr lvl="0" algn="ctr">
                        <a:buNone/>
                      </a:pPr>
                      <a:r>
                        <a:rPr lang="en-US" sz="1300">
                          <a:latin typeface="+mn-lt"/>
                        </a:rPr>
                        <a:t>Q2 2025-?</a:t>
                      </a:r>
                    </a:p>
                  </a:txBody>
                  <a:tcPr anchor="ctr"/>
                </a:tc>
                <a:extLst>
                  <a:ext uri="{0D108BD9-81ED-4DB2-BD59-A6C34878D82A}">
                    <a16:rowId xmlns:a16="http://schemas.microsoft.com/office/drawing/2014/main" val="3131518823"/>
                  </a:ext>
                </a:extLst>
              </a:tr>
              <a:tr h="509988">
                <a:tc>
                  <a:txBody>
                    <a:bodyPr/>
                    <a:lstStyle/>
                    <a:p>
                      <a:pPr lvl="0" algn="ctr">
                        <a:buNone/>
                      </a:pPr>
                      <a:r>
                        <a:rPr lang="en-US" sz="1300" b="1">
                          <a:latin typeface="+mn-lt"/>
                        </a:rPr>
                        <a:t>Elnätstariff</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latin typeface="+mn-lt"/>
                        </a:rPr>
                        <a:t>Under framtagande</a:t>
                      </a:r>
                    </a:p>
                  </a:txBody>
                  <a:tcPr anchor="ctr"/>
                </a:tc>
                <a:tc>
                  <a:txBody>
                    <a:bodyPr/>
                    <a:lstStyle/>
                    <a:p>
                      <a:pPr lvl="0" algn="ctr">
                        <a:buNone/>
                      </a:pPr>
                      <a:r>
                        <a:rPr lang="en-US" sz="1300">
                          <a:latin typeface="+mn-lt"/>
                        </a:rPr>
                        <a:t>2025</a:t>
                      </a:r>
                    </a:p>
                  </a:txBody>
                  <a:tcPr anchor="ctr"/>
                </a:tc>
                <a:tc>
                  <a:txBody>
                    <a:bodyPr/>
                    <a:lstStyle/>
                    <a:p>
                      <a:pPr lvl="0" algn="ctr">
                        <a:buNone/>
                      </a:pPr>
                      <a:endParaRPr lang="en-US" sz="1300">
                        <a:latin typeface="+mn-lt"/>
                      </a:endParaRPr>
                    </a:p>
                  </a:txBody>
                  <a:tcPr anchor="ctr">
                    <a:solidFill>
                      <a:schemeClr val="accent2">
                        <a:lumMod val="40000"/>
                        <a:lumOff val="60000"/>
                      </a:schemeClr>
                    </a:solidFill>
                  </a:tcPr>
                </a:tc>
                <a:tc>
                  <a:txBody>
                    <a:bodyPr/>
                    <a:lstStyle/>
                    <a:p>
                      <a:pPr lvl="0" algn="ctr">
                        <a:buNone/>
                      </a:pPr>
                      <a:endParaRPr lang="en-US" sz="1300">
                        <a:latin typeface="+mn-lt"/>
                      </a:endParaRPr>
                    </a:p>
                  </a:txBody>
                  <a:tcPr anchor="ctr">
                    <a:solidFill>
                      <a:schemeClr val="accent2">
                        <a:lumMod val="40000"/>
                        <a:lumOff val="60000"/>
                      </a:schemeClr>
                    </a:solidFill>
                  </a:tcPr>
                </a:tc>
                <a:tc>
                  <a:txBody>
                    <a:bodyPr/>
                    <a:lstStyle/>
                    <a:p>
                      <a:pPr lvl="0" algn="ctr">
                        <a:buNone/>
                      </a:pPr>
                      <a:endParaRPr lang="en-US" sz="1300">
                        <a:latin typeface="+mn-lt"/>
                      </a:endParaRPr>
                    </a:p>
                  </a:txBody>
                  <a:tcPr anchor="ctr">
                    <a:solidFill>
                      <a:schemeClr val="accent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a:latin typeface="+mn-lt"/>
                        </a:rPr>
                        <a:t>Q2 2025-?</a:t>
                      </a:r>
                    </a:p>
                  </a:txBody>
                  <a:tcPr anchor="ctr"/>
                </a:tc>
                <a:extLst>
                  <a:ext uri="{0D108BD9-81ED-4DB2-BD59-A6C34878D82A}">
                    <a16:rowId xmlns:a16="http://schemas.microsoft.com/office/drawing/2014/main" val="359361439"/>
                  </a:ext>
                </a:extLst>
              </a:tr>
            </a:tbl>
          </a:graphicData>
        </a:graphic>
      </p:graphicFrame>
      <p:sp>
        <p:nvSpPr>
          <p:cNvPr id="3" name="Platshållare för text 2">
            <a:extLst>
              <a:ext uri="{FF2B5EF4-FFF2-40B4-BE49-F238E27FC236}">
                <a16:creationId xmlns:a16="http://schemas.microsoft.com/office/drawing/2014/main" id="{6371A435-EB47-5804-A541-2F1050523B7C}"/>
              </a:ext>
            </a:extLst>
          </p:cNvPr>
          <p:cNvSpPr>
            <a:spLocks noGrp="1"/>
          </p:cNvSpPr>
          <p:nvPr>
            <p:ph type="body" sz="quarter" idx="14"/>
          </p:nvPr>
        </p:nvSpPr>
        <p:spPr>
          <a:xfrm>
            <a:off x="431800" y="368302"/>
            <a:ext cx="7224000" cy="754362"/>
          </a:xfrm>
        </p:spPr>
        <p:txBody>
          <a:bodyPr/>
          <a:lstStyle/>
          <a:p>
            <a:pPr marL="3810" indent="-3810"/>
            <a:r>
              <a:rPr lang="sv-SE" sz="2000" dirty="0">
                <a:latin typeface="+mj-lt"/>
              </a:rPr>
              <a:t>Tidsplan för EU-arbetet med standardiserat informationsutbyte</a:t>
            </a:r>
          </a:p>
        </p:txBody>
      </p:sp>
      <p:sp>
        <p:nvSpPr>
          <p:cNvPr id="2" name="Rektangel 1">
            <a:extLst>
              <a:ext uri="{FF2B5EF4-FFF2-40B4-BE49-F238E27FC236}">
                <a16:creationId xmlns:a16="http://schemas.microsoft.com/office/drawing/2014/main" id="{0A3DE301-DC11-801A-4A44-1EE6607E6068}"/>
              </a:ext>
            </a:extLst>
          </p:cNvPr>
          <p:cNvSpPr/>
          <p:nvPr/>
        </p:nvSpPr>
        <p:spPr>
          <a:xfrm>
            <a:off x="8131629" y="371980"/>
            <a:ext cx="228600" cy="2304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ktangel 4">
            <a:extLst>
              <a:ext uri="{FF2B5EF4-FFF2-40B4-BE49-F238E27FC236}">
                <a16:creationId xmlns:a16="http://schemas.microsoft.com/office/drawing/2014/main" id="{2200B6C7-0092-6992-CBE7-3E76180D47EE}"/>
              </a:ext>
            </a:extLst>
          </p:cNvPr>
          <p:cNvSpPr/>
          <p:nvPr/>
        </p:nvSpPr>
        <p:spPr>
          <a:xfrm>
            <a:off x="8131629" y="683483"/>
            <a:ext cx="228600" cy="230412"/>
          </a:xfrm>
          <a:prstGeom prst="rect">
            <a:avLst/>
          </a:prstGeom>
          <a:solidFill>
            <a:srgbClr val="FF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ruta 5">
            <a:extLst>
              <a:ext uri="{FF2B5EF4-FFF2-40B4-BE49-F238E27FC236}">
                <a16:creationId xmlns:a16="http://schemas.microsoft.com/office/drawing/2014/main" id="{59228110-C6A5-2104-F7D8-FA7A4832F3C3}"/>
              </a:ext>
            </a:extLst>
          </p:cNvPr>
          <p:cNvSpPr txBox="1"/>
          <p:nvPr/>
        </p:nvSpPr>
        <p:spPr>
          <a:xfrm>
            <a:off x="8360759" y="384064"/>
            <a:ext cx="35464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EU standard samt EU-arbete inför EU-reglering</a:t>
            </a:r>
          </a:p>
        </p:txBody>
      </p:sp>
      <p:sp>
        <p:nvSpPr>
          <p:cNvPr id="7" name="textruta 6">
            <a:extLst>
              <a:ext uri="{FF2B5EF4-FFF2-40B4-BE49-F238E27FC236}">
                <a16:creationId xmlns:a16="http://schemas.microsoft.com/office/drawing/2014/main" id="{179CDF1E-2C8E-F7A0-5B10-72950D2788FF}"/>
              </a:ext>
            </a:extLst>
          </p:cNvPr>
          <p:cNvSpPr txBox="1"/>
          <p:nvPr/>
        </p:nvSpPr>
        <p:spPr>
          <a:xfrm>
            <a:off x="8360229" y="683483"/>
            <a:ext cx="178525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EU reglering</a:t>
            </a:r>
          </a:p>
        </p:txBody>
      </p:sp>
    </p:spTree>
    <p:extLst>
      <p:ext uri="{BB962C8B-B14F-4D97-AF65-F5344CB8AC3E}">
        <p14:creationId xmlns:p14="http://schemas.microsoft.com/office/powerpoint/2010/main" val="2585701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B84AF69-FDA4-0315-9A8A-6F3692FD5396}"/>
              </a:ext>
            </a:extLst>
          </p:cNvPr>
          <p:cNvSpPr>
            <a:spLocks noGrp="1"/>
          </p:cNvSpPr>
          <p:nvPr>
            <p:ph type="title"/>
          </p:nvPr>
        </p:nvSpPr>
        <p:spPr/>
        <p:txBody>
          <a:bodyPr/>
          <a:lstStyle/>
          <a:p>
            <a:r>
              <a:rPr lang="sv-SE" dirty="0"/>
              <a:t>Roller</a:t>
            </a:r>
          </a:p>
        </p:txBody>
      </p:sp>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4294967295"/>
          </p:nvPr>
        </p:nvSpPr>
        <p:spPr>
          <a:xfrm>
            <a:off x="0" y="1720850"/>
            <a:ext cx="8677275" cy="4371975"/>
          </a:xfrm>
        </p:spPr>
        <p:txBody>
          <a:bodyPr vert="horz" lIns="91440" tIns="45720" rIns="91440" bIns="45720" rtlCol="0" anchor="t">
            <a:normAutofit/>
          </a:bodyPr>
          <a:lstStyle/>
          <a:p>
            <a:endParaRPr lang="sv-SE" sz="1800" dirty="0"/>
          </a:p>
          <a:p>
            <a:endParaRPr lang="sv-SE" sz="1800" i="1" dirty="0"/>
          </a:p>
          <a:p>
            <a:pPr>
              <a:buFont typeface="Wingdings" panose="05000000000000000000" pitchFamily="2" charset="2"/>
              <a:buChar char="v"/>
            </a:pPr>
            <a:endParaRPr lang="sv-SE" sz="2200" dirty="0"/>
          </a:p>
          <a:p>
            <a:pPr lvl="1"/>
            <a:endParaRPr lang="sv-SE" sz="1800" dirty="0"/>
          </a:p>
          <a:p>
            <a:pPr marL="0" indent="0">
              <a:buNone/>
            </a:pPr>
            <a:endParaRPr lang="sv-SE" sz="2200" dirty="0"/>
          </a:p>
          <a:p>
            <a:pPr marL="457200" lvl="1" indent="0">
              <a:buNone/>
            </a:pPr>
            <a:endParaRPr lang="sv-SE" sz="1400" dirty="0"/>
          </a:p>
        </p:txBody>
      </p:sp>
    </p:spTree>
    <p:extLst>
      <p:ext uri="{BB962C8B-B14F-4D97-AF65-F5344CB8AC3E}">
        <p14:creationId xmlns:p14="http://schemas.microsoft.com/office/powerpoint/2010/main" val="104127862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15" name="Slide Number Placeholder 1">
            <a:extLst>
              <a:ext uri="{FF2B5EF4-FFF2-40B4-BE49-F238E27FC236}">
                <a16:creationId xmlns:a16="http://schemas.microsoft.com/office/drawing/2014/main" id="{A3407FF7-5E9F-4AF8-6CA7-C3C1B2A3371C}"/>
              </a:ext>
            </a:extLst>
          </p:cNvPr>
          <p:cNvSpPr>
            <a:spLocks noGrp="1"/>
          </p:cNvSpPr>
          <p:nvPr>
            <p:ph type="sldNum" sz="quarter" idx="11"/>
          </p:nvPr>
        </p:nvSpPr>
        <p:spPr>
          <a:xfrm>
            <a:off x="11520557" y="6671299"/>
            <a:ext cx="432392" cy="109941"/>
          </a:xfrm>
        </p:spPr>
        <p:txBody>
          <a:bodyPr/>
          <a:lstStyle/>
          <a:p>
            <a:pPr>
              <a:spcAft>
                <a:spcPts val="600"/>
              </a:spcAft>
            </a:pPr>
            <a:fld id="{17CD396C-6A52-4D5A-BAE3-92A1CC3BBDE0}" type="slidenum">
              <a:rPr lang="en-GB" noProof="0" smtClean="0"/>
              <a:pPr>
                <a:spcAft>
                  <a:spcPts val="600"/>
                </a:spcAft>
              </a:pPr>
              <a:t>12</a:t>
            </a:fld>
            <a:endParaRPr lang="en-GB" noProof="0"/>
          </a:p>
        </p:txBody>
      </p:sp>
      <p:sp>
        <p:nvSpPr>
          <p:cNvPr id="19" name="Text Placeholder 3">
            <a:extLst>
              <a:ext uri="{FF2B5EF4-FFF2-40B4-BE49-F238E27FC236}">
                <a16:creationId xmlns:a16="http://schemas.microsoft.com/office/drawing/2014/main" id="{BFAED922-D02C-667E-A878-A1D941B6C5F0}"/>
              </a:ext>
            </a:extLst>
          </p:cNvPr>
          <p:cNvSpPr>
            <a:spLocks noGrp="1"/>
          </p:cNvSpPr>
          <p:nvPr>
            <p:ph type="body" sz="quarter" idx="19"/>
          </p:nvPr>
        </p:nvSpPr>
        <p:spPr>
          <a:xfrm>
            <a:off x="431797" y="6148800"/>
            <a:ext cx="7219200" cy="190515"/>
          </a:xfrm>
        </p:spPr>
        <p:txBody>
          <a:bodyPr/>
          <a:lstStyle/>
          <a:p>
            <a:endParaRPr lang="en-US"/>
          </a:p>
        </p:txBody>
      </p:sp>
      <p:graphicFrame>
        <p:nvGraphicFramePr>
          <p:cNvPr id="10" name="Tabell 9">
            <a:extLst>
              <a:ext uri="{FF2B5EF4-FFF2-40B4-BE49-F238E27FC236}">
                <a16:creationId xmlns:a16="http://schemas.microsoft.com/office/drawing/2014/main" id="{1A46C81F-4F95-580C-82B1-62A6206E7E9D}"/>
              </a:ext>
            </a:extLst>
          </p:cNvPr>
          <p:cNvGraphicFramePr>
            <a:graphicFrameLocks noGrp="1"/>
          </p:cNvGraphicFramePr>
          <p:nvPr>
            <p:extLst>
              <p:ext uri="{D42A27DB-BD31-4B8C-83A1-F6EECF244321}">
                <p14:modId xmlns:p14="http://schemas.microsoft.com/office/powerpoint/2010/main" val="1573717025"/>
              </p:ext>
            </p:extLst>
          </p:nvPr>
        </p:nvGraphicFramePr>
        <p:xfrm>
          <a:off x="346364" y="76760"/>
          <a:ext cx="11413839" cy="6695301"/>
        </p:xfrm>
        <a:graphic>
          <a:graphicData uri="http://schemas.openxmlformats.org/drawingml/2006/table">
            <a:tbl>
              <a:tblPr firstRow="1" firstCol="1" bandRow="1">
                <a:tableStyleId>{5C22544A-7EE6-4342-B048-85BDC9FD1C3A}</a:tableStyleId>
              </a:tblPr>
              <a:tblGrid>
                <a:gridCol w="2413087">
                  <a:extLst>
                    <a:ext uri="{9D8B030D-6E8A-4147-A177-3AD203B41FA5}">
                      <a16:colId xmlns:a16="http://schemas.microsoft.com/office/drawing/2014/main" val="2657792635"/>
                    </a:ext>
                  </a:extLst>
                </a:gridCol>
                <a:gridCol w="9000752">
                  <a:extLst>
                    <a:ext uri="{9D8B030D-6E8A-4147-A177-3AD203B41FA5}">
                      <a16:colId xmlns:a16="http://schemas.microsoft.com/office/drawing/2014/main" val="3039988248"/>
                    </a:ext>
                  </a:extLst>
                </a:gridCol>
              </a:tblGrid>
              <a:tr h="231137">
                <a:tc>
                  <a:txBody>
                    <a:bodyPr/>
                    <a:lstStyle/>
                    <a:p>
                      <a:pPr marL="6350" marR="177800" indent="-6350" algn="l">
                        <a:lnSpc>
                          <a:spcPct val="107000"/>
                        </a:lnSpc>
                        <a:spcAft>
                          <a:spcPts val="800"/>
                        </a:spcAft>
                      </a:pP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tc>
                  <a:txBody>
                    <a:bodyPr/>
                    <a:lstStyle/>
                    <a:p>
                      <a:pPr marL="750570" marR="177800" indent="-6350" algn="l">
                        <a:lnSpc>
                          <a:spcPct val="107000"/>
                        </a:lnSpc>
                        <a:spcAft>
                          <a:spcPts val="825"/>
                        </a:spcAft>
                      </a:pPr>
                      <a:r>
                        <a:rPr lang="sv-SE" sz="1100" kern="100">
                          <a:effectLst/>
                        </a:rPr>
                        <a:t>Table II – Roles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2608779941"/>
                  </a:ext>
                </a:extLst>
              </a:tr>
              <a:tr h="168261">
                <a:tc>
                  <a:txBody>
                    <a:bodyPr/>
                    <a:lstStyle/>
                    <a:p>
                      <a:pPr marL="64770" marR="177800" indent="-6350" algn="l">
                        <a:lnSpc>
                          <a:spcPct val="107000"/>
                        </a:lnSpc>
                        <a:spcAft>
                          <a:spcPts val="825"/>
                        </a:spcAft>
                      </a:pPr>
                      <a:r>
                        <a:rPr lang="sv-SE" sz="1100" kern="100">
                          <a:effectLst/>
                          <a:latin typeface="+mn-lt"/>
                        </a:rPr>
                        <a:t>Role name </a:t>
                      </a:r>
                      <a:endParaRPr lang="sv-SE" sz="1100" kern="10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0" algn="l">
                        <a:lnSpc>
                          <a:spcPct val="107000"/>
                        </a:lnSpc>
                        <a:spcAft>
                          <a:spcPts val="825"/>
                        </a:spcAft>
                      </a:pPr>
                      <a:r>
                        <a:rPr lang="sv-SE" sz="1100" kern="100">
                          <a:effectLst/>
                        </a:rPr>
                        <a:t>Role description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901532045"/>
                  </a:ext>
                </a:extLst>
              </a:tr>
              <a:tr h="592751">
                <a:tc>
                  <a:txBody>
                    <a:bodyPr/>
                    <a:lstStyle/>
                    <a:p>
                      <a:pPr marL="64770" marR="177800" indent="-6350" algn="l">
                        <a:lnSpc>
                          <a:spcPct val="107000"/>
                        </a:lnSpc>
                        <a:spcAft>
                          <a:spcPts val="825"/>
                        </a:spcAft>
                      </a:pPr>
                      <a:r>
                        <a:rPr lang="sv-SE" sz="1100" kern="100" dirty="0">
                          <a:effectLst/>
                          <a:latin typeface="+mn-lt"/>
                        </a:rPr>
                        <a:t>Final </a:t>
                      </a:r>
                      <a:r>
                        <a:rPr lang="sv-SE" sz="1100" kern="100" dirty="0" err="1">
                          <a:effectLst/>
                          <a:latin typeface="+mn-lt"/>
                        </a:rPr>
                        <a:t>customer</a:t>
                      </a:r>
                      <a:r>
                        <a:rPr lang="sv-SE" sz="1100" kern="100" dirty="0">
                          <a:effectLst/>
                          <a:latin typeface="+mn-lt"/>
                        </a:rPr>
                        <a:t>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0" algn="l">
                        <a:lnSpc>
                          <a:spcPct val="107000"/>
                        </a:lnSpc>
                        <a:spcAft>
                          <a:spcPts val="65"/>
                        </a:spcAft>
                      </a:pPr>
                      <a:r>
                        <a:rPr lang="en-US" sz="1100" kern="100">
                          <a:effectLst/>
                          <a:highlight>
                            <a:srgbClr val="FFFF00"/>
                          </a:highlight>
                        </a:rPr>
                        <a:t>As defined in Article 2(3) of Directive (EU) 2019/944. </a:t>
                      </a:r>
                      <a:endParaRPr lang="sv-SE" sz="1100" kern="100">
                        <a:effectLst/>
                      </a:endParaRPr>
                    </a:p>
                    <a:p>
                      <a:pPr marL="64770" marR="177800" indent="-6350" algn="l">
                        <a:lnSpc>
                          <a:spcPct val="107000"/>
                        </a:lnSpc>
                        <a:spcAft>
                          <a:spcPts val="40"/>
                        </a:spcAft>
                      </a:pPr>
                      <a:r>
                        <a:rPr lang="en-US" sz="1100" kern="100">
                          <a:effectLst/>
                          <a:highlight>
                            <a:srgbClr val="FFFF00"/>
                          </a:highlight>
                        </a:rPr>
                        <a:t>This refers to a party connected to the grid that purchases electricity for its own use. </a:t>
                      </a:r>
                      <a:endParaRPr lang="sv-SE" sz="1100" kern="100">
                        <a:effectLst/>
                      </a:endParaRPr>
                    </a:p>
                    <a:p>
                      <a:pPr marL="64770" marR="177800" indent="-6350" algn="just">
                        <a:lnSpc>
                          <a:spcPct val="107000"/>
                        </a:lnSpc>
                        <a:spcAft>
                          <a:spcPts val="825"/>
                        </a:spcAft>
                      </a:pPr>
                      <a:r>
                        <a:rPr lang="en-US" sz="1100" kern="100">
                          <a:effectLst/>
                          <a:highlight>
                            <a:srgbClr val="FFFF00"/>
                          </a:highlight>
                        </a:rPr>
                        <a:t>Note: this also includes the case of active customer and participants of renewable energy communities or citizen energy communities</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1069904557"/>
                  </a:ext>
                </a:extLst>
              </a:tr>
              <a:tr h="168261">
                <a:tc>
                  <a:txBody>
                    <a:bodyPr/>
                    <a:lstStyle/>
                    <a:p>
                      <a:pPr marL="64770" marR="177800" indent="-6350" algn="l">
                        <a:lnSpc>
                          <a:spcPct val="107000"/>
                        </a:lnSpc>
                        <a:spcAft>
                          <a:spcPts val="825"/>
                        </a:spcAft>
                      </a:pPr>
                      <a:r>
                        <a:rPr lang="sv-SE" sz="1100" kern="100">
                          <a:effectLst/>
                          <a:latin typeface="+mn-lt"/>
                        </a:rPr>
                        <a:t>Service provider </a:t>
                      </a:r>
                      <a:endParaRPr lang="sv-SE" sz="1100" kern="10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825"/>
                        </a:spcAft>
                      </a:pPr>
                      <a:r>
                        <a:rPr lang="en-US" sz="1100" kern="100">
                          <a:effectLst/>
                          <a:highlight>
                            <a:srgbClr val="FFFF00"/>
                          </a:highlight>
                        </a:rPr>
                        <a:t>As referred to in Article 2(23) in the Network Code in Demand Response.</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1631220765"/>
                  </a:ext>
                </a:extLst>
              </a:tr>
              <a:tr h="411766">
                <a:tc>
                  <a:txBody>
                    <a:bodyPr/>
                    <a:lstStyle/>
                    <a:p>
                      <a:pPr marL="64770" marR="177800" indent="-6350" algn="l">
                        <a:lnSpc>
                          <a:spcPct val="107000"/>
                        </a:lnSpc>
                        <a:spcAft>
                          <a:spcPts val="50"/>
                        </a:spcAft>
                      </a:pPr>
                      <a:r>
                        <a:rPr lang="sv-SE" sz="1100" kern="100" dirty="0">
                          <a:effectLst/>
                          <a:highlight>
                            <a:srgbClr val="FF00FF"/>
                          </a:highlight>
                          <a:latin typeface="+mn-lt"/>
                        </a:rPr>
                        <a:t>CU </a:t>
                      </a:r>
                      <a:r>
                        <a:rPr lang="sv-SE" sz="1100" kern="100" dirty="0" err="1">
                          <a:effectLst/>
                          <a:highlight>
                            <a:srgbClr val="FF00FF"/>
                          </a:highlight>
                          <a:latin typeface="+mn-lt"/>
                        </a:rPr>
                        <a:t>module</a:t>
                      </a:r>
                      <a:r>
                        <a:rPr lang="sv-SE" sz="1100" kern="100" dirty="0">
                          <a:effectLst/>
                          <a:highlight>
                            <a:srgbClr val="FF00FF"/>
                          </a:highlight>
                          <a:latin typeface="+mn-lt"/>
                        </a:rPr>
                        <a:t> operator</a:t>
                      </a:r>
                      <a:r>
                        <a:rPr lang="sv-SE" sz="1100" kern="100" dirty="0">
                          <a:effectLst/>
                          <a:latin typeface="+mn-lt"/>
                        </a:rPr>
                        <a:t>  NYTT</a:t>
                      </a:r>
                    </a:p>
                    <a:p>
                      <a:pPr marL="64770" marR="177800" indent="-6350" algn="l">
                        <a:lnSpc>
                          <a:spcPct val="107000"/>
                        </a:lnSpc>
                        <a:spcAft>
                          <a:spcPts val="825"/>
                        </a:spcAft>
                      </a:pPr>
                      <a:r>
                        <a:rPr lang="sv-SE" sz="1100" kern="100" dirty="0">
                          <a:effectLst/>
                          <a:latin typeface="+mn-lt"/>
                        </a:rPr>
                        <a:t>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14000"/>
                        </a:lnSpc>
                        <a:spcAft>
                          <a:spcPts val="825"/>
                        </a:spcAft>
                      </a:pPr>
                      <a:r>
                        <a:rPr lang="en-US" sz="1100" kern="100" dirty="0">
                          <a:effectLst/>
                          <a:highlight>
                            <a:srgbClr val="00FFFF"/>
                          </a:highlight>
                        </a:rPr>
                        <a:t>A party responsible for a functional platform of a ‘flexibility information system’ that contains, manages, and makes available data about controllable units. </a:t>
                      </a:r>
                      <a:r>
                        <a:rPr lang="sv-SE" sz="1100" kern="100" dirty="0">
                          <a:effectLst/>
                          <a:highlight>
                            <a:srgbClr val="00FFFF"/>
                          </a:highlight>
                        </a:rPr>
                        <a:t>(</a:t>
                      </a:r>
                      <a:r>
                        <a:rPr lang="sv-SE" sz="1100" kern="100" dirty="0" err="1">
                          <a:effectLst/>
                          <a:highlight>
                            <a:srgbClr val="00FFFF"/>
                          </a:highlight>
                        </a:rPr>
                        <a:t>See</a:t>
                      </a:r>
                      <a:r>
                        <a:rPr lang="sv-SE" sz="1100" kern="100" dirty="0">
                          <a:effectLst/>
                          <a:highlight>
                            <a:srgbClr val="00FFFF"/>
                          </a:highlight>
                        </a:rPr>
                        <a:t> </a:t>
                      </a:r>
                      <a:r>
                        <a:rPr lang="sv-SE" sz="1100" kern="100" dirty="0" err="1">
                          <a:effectLst/>
                          <a:highlight>
                            <a:srgbClr val="00FFFF"/>
                          </a:highlight>
                        </a:rPr>
                        <a:t>also</a:t>
                      </a:r>
                      <a:r>
                        <a:rPr lang="sv-SE" sz="1100" kern="100" dirty="0">
                          <a:effectLst/>
                          <a:highlight>
                            <a:srgbClr val="00FFFF"/>
                          </a:highlight>
                        </a:rPr>
                        <a:t> NC DR </a:t>
                      </a:r>
                      <a:r>
                        <a:rPr lang="sv-SE" sz="1100" kern="100" dirty="0" err="1">
                          <a:effectLst/>
                          <a:highlight>
                            <a:srgbClr val="00FFFF"/>
                          </a:highlight>
                        </a:rPr>
                        <a:t>article</a:t>
                      </a:r>
                      <a:r>
                        <a:rPr lang="sv-SE" sz="1100" kern="100" dirty="0">
                          <a:effectLst/>
                          <a:highlight>
                            <a:srgbClr val="00FFFF"/>
                          </a:highlight>
                        </a:rPr>
                        <a:t> 2 </a:t>
                      </a:r>
                      <a:r>
                        <a:rPr lang="sv-SE" sz="1100" kern="100" dirty="0" err="1">
                          <a:effectLst/>
                          <a:highlight>
                            <a:srgbClr val="00FFFF"/>
                          </a:highlight>
                        </a:rPr>
                        <a:t>paragraph</a:t>
                      </a:r>
                      <a:r>
                        <a:rPr lang="sv-SE" sz="1100" kern="100" dirty="0">
                          <a:effectLst/>
                          <a:highlight>
                            <a:srgbClr val="00FFFF"/>
                          </a:highlight>
                        </a:rPr>
                        <a:t> 19)</a:t>
                      </a:r>
                      <a:r>
                        <a:rPr lang="sv-SE"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445083682"/>
                  </a:ext>
                </a:extLst>
              </a:tr>
              <a:tr h="303266">
                <a:tc>
                  <a:txBody>
                    <a:bodyPr/>
                    <a:lstStyle/>
                    <a:p>
                      <a:pPr marL="64770" marR="177800" indent="-6350" algn="l">
                        <a:lnSpc>
                          <a:spcPct val="107000"/>
                        </a:lnSpc>
                        <a:spcAft>
                          <a:spcPts val="825"/>
                        </a:spcAft>
                      </a:pPr>
                      <a:r>
                        <a:rPr lang="sv-SE" sz="1100" kern="100" dirty="0">
                          <a:effectLst/>
                          <a:latin typeface="+mn-lt"/>
                        </a:rPr>
                        <a:t>SP </a:t>
                      </a:r>
                      <a:r>
                        <a:rPr lang="sv-SE" sz="1100" kern="100" dirty="0" err="1">
                          <a:effectLst/>
                          <a:latin typeface="+mn-lt"/>
                        </a:rPr>
                        <a:t>module</a:t>
                      </a:r>
                      <a:r>
                        <a:rPr lang="sv-SE" sz="1100" kern="100" dirty="0">
                          <a:effectLst/>
                          <a:latin typeface="+mn-lt"/>
                        </a:rPr>
                        <a:t> operator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0" algn="just">
                        <a:lnSpc>
                          <a:spcPct val="107000"/>
                        </a:lnSpc>
                        <a:spcAft>
                          <a:spcPts val="825"/>
                        </a:spcAft>
                      </a:pPr>
                      <a:r>
                        <a:rPr lang="en-US" sz="1100" kern="100" dirty="0">
                          <a:effectLst/>
                          <a:highlight>
                            <a:srgbClr val="00FFFF"/>
                          </a:highlight>
                        </a:rPr>
                        <a:t>A party responsible for a functional platform of a flexibility information system that contains, manages, and makes available data about service providers</a:t>
                      </a:r>
                      <a:r>
                        <a:rPr lang="en-US"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11538662"/>
                  </a:ext>
                </a:extLst>
              </a:tr>
              <a:tr h="313781">
                <a:tc>
                  <a:txBody>
                    <a:bodyPr/>
                    <a:lstStyle/>
                    <a:p>
                      <a:pPr marL="64770" marR="177800" indent="-6350" algn="l">
                        <a:lnSpc>
                          <a:spcPct val="107000"/>
                        </a:lnSpc>
                        <a:spcAft>
                          <a:spcPts val="825"/>
                        </a:spcAft>
                      </a:pPr>
                      <a:r>
                        <a:rPr lang="sv-SE" sz="1100" kern="100">
                          <a:effectLst/>
                          <a:latin typeface="+mn-lt"/>
                        </a:rPr>
                        <a:t>Eligible party </a:t>
                      </a:r>
                      <a:endParaRPr lang="sv-SE" sz="1100" kern="10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0" algn="l">
                        <a:lnSpc>
                          <a:spcPct val="107000"/>
                        </a:lnSpc>
                        <a:spcAft>
                          <a:spcPts val="50"/>
                        </a:spcAft>
                      </a:pPr>
                      <a:r>
                        <a:rPr lang="en-US" sz="1100" kern="100">
                          <a:effectLst/>
                          <a:highlight>
                            <a:srgbClr val="00FF00"/>
                          </a:highlight>
                        </a:rPr>
                        <a:t>As defined in the “Implementing Regulation for access to metering and consumption data” / (EU) </a:t>
                      </a:r>
                      <a:endParaRPr lang="sv-SE" sz="1100" kern="100">
                        <a:effectLst/>
                      </a:endParaRPr>
                    </a:p>
                    <a:p>
                      <a:pPr marL="64770" marR="177800" indent="-6350" algn="l">
                        <a:lnSpc>
                          <a:spcPct val="107000"/>
                        </a:lnSpc>
                        <a:spcAft>
                          <a:spcPts val="825"/>
                        </a:spcAft>
                      </a:pPr>
                      <a:r>
                        <a:rPr lang="sv-SE" sz="1100" kern="100">
                          <a:effectLst/>
                          <a:highlight>
                            <a:srgbClr val="00FF00"/>
                          </a:highlight>
                        </a:rPr>
                        <a:t>2023/1162</a:t>
                      </a:r>
                      <a:r>
                        <a:rPr lang="sv-SE"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627694265"/>
                  </a:ext>
                </a:extLst>
              </a:tr>
              <a:tr h="168261">
                <a:tc>
                  <a:txBody>
                    <a:bodyPr/>
                    <a:lstStyle/>
                    <a:p>
                      <a:pPr marL="64770" marR="177800" indent="-6350" algn="l">
                        <a:lnSpc>
                          <a:spcPct val="107000"/>
                        </a:lnSpc>
                        <a:spcAft>
                          <a:spcPts val="825"/>
                        </a:spcAft>
                      </a:pPr>
                      <a:r>
                        <a:rPr lang="sv-SE" sz="1100" kern="100" dirty="0" err="1">
                          <a:effectLst/>
                          <a:highlight>
                            <a:srgbClr val="FF00FF"/>
                          </a:highlight>
                          <a:latin typeface="+mn-lt"/>
                        </a:rPr>
                        <a:t>Baseline</a:t>
                      </a:r>
                      <a:r>
                        <a:rPr lang="sv-SE" sz="1100" kern="100" dirty="0">
                          <a:effectLst/>
                          <a:highlight>
                            <a:srgbClr val="FF00FF"/>
                          </a:highlight>
                          <a:latin typeface="+mn-lt"/>
                        </a:rPr>
                        <a:t> </a:t>
                      </a:r>
                      <a:r>
                        <a:rPr lang="sv-SE" sz="1100" kern="100" dirty="0" err="1">
                          <a:effectLst/>
                          <a:highlight>
                            <a:srgbClr val="FF00FF"/>
                          </a:highlight>
                          <a:latin typeface="+mn-lt"/>
                        </a:rPr>
                        <a:t>calculator</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825"/>
                        </a:spcAft>
                      </a:pPr>
                      <a:r>
                        <a:rPr lang="en-US" sz="1100" kern="100">
                          <a:effectLst/>
                          <a:highlight>
                            <a:srgbClr val="00FFFF"/>
                          </a:highlight>
                        </a:rPr>
                        <a:t>A party responsible to calculate the baseline of a resource according to the NC DR Title II.</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2384499778"/>
                  </a:ext>
                </a:extLst>
              </a:tr>
              <a:tr h="168261">
                <a:tc>
                  <a:txBody>
                    <a:bodyPr/>
                    <a:lstStyle/>
                    <a:p>
                      <a:pPr marL="64770" marR="177800" indent="-6350" algn="l">
                        <a:lnSpc>
                          <a:spcPct val="107000"/>
                        </a:lnSpc>
                        <a:spcAft>
                          <a:spcPts val="825"/>
                        </a:spcAft>
                      </a:pPr>
                      <a:r>
                        <a:rPr lang="sv-SE" sz="1100" kern="100" dirty="0" err="1">
                          <a:effectLst/>
                          <a:highlight>
                            <a:srgbClr val="FF00FF"/>
                          </a:highlight>
                          <a:latin typeface="+mn-lt"/>
                        </a:rPr>
                        <a:t>Baseline</a:t>
                      </a:r>
                      <a:r>
                        <a:rPr lang="sv-SE" sz="1100" kern="100" dirty="0">
                          <a:effectLst/>
                          <a:highlight>
                            <a:srgbClr val="FF00FF"/>
                          </a:highlight>
                          <a:latin typeface="+mn-lt"/>
                        </a:rPr>
                        <a:t> </a:t>
                      </a:r>
                      <a:r>
                        <a:rPr lang="sv-SE" sz="1100" kern="100" dirty="0" err="1">
                          <a:effectLst/>
                          <a:highlight>
                            <a:srgbClr val="FF00FF"/>
                          </a:highlight>
                          <a:latin typeface="+mn-lt"/>
                        </a:rPr>
                        <a:t>provider</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07000"/>
                        </a:lnSpc>
                        <a:spcAft>
                          <a:spcPts val="825"/>
                        </a:spcAft>
                      </a:pPr>
                      <a:r>
                        <a:rPr lang="en-US" sz="1100" kern="100" dirty="0">
                          <a:effectLst/>
                          <a:highlight>
                            <a:srgbClr val="00FFFF"/>
                          </a:highlight>
                        </a:rPr>
                        <a:t> NYA nationally assigned party responsible to provide the calculated or validated baseline, making it available to eligible parties.</a:t>
                      </a:r>
                      <a:r>
                        <a:rPr lang="en-US"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45295599"/>
                  </a:ext>
                </a:extLst>
              </a:tr>
              <a:tr h="313781">
                <a:tc>
                  <a:txBody>
                    <a:bodyPr/>
                    <a:lstStyle/>
                    <a:p>
                      <a:pPr marL="64770" marR="177800" indent="-6350" algn="l">
                        <a:lnSpc>
                          <a:spcPct val="107000"/>
                        </a:lnSpc>
                        <a:spcAft>
                          <a:spcPts val="50"/>
                        </a:spcAft>
                      </a:pPr>
                      <a:r>
                        <a:rPr lang="sv-SE" sz="1100" kern="100" dirty="0" err="1">
                          <a:effectLst/>
                          <a:highlight>
                            <a:srgbClr val="00FFFF"/>
                          </a:highlight>
                          <a:latin typeface="+mn-lt"/>
                        </a:rPr>
                        <a:t>Metered</a:t>
                      </a:r>
                      <a:r>
                        <a:rPr lang="sv-SE" sz="1100" kern="100" dirty="0">
                          <a:effectLst/>
                          <a:highlight>
                            <a:srgbClr val="00FFFF"/>
                          </a:highlight>
                          <a:latin typeface="+mn-lt"/>
                        </a:rPr>
                        <a:t> data Administrator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825"/>
                        </a:spcAft>
                      </a:pPr>
                      <a:r>
                        <a:rPr lang="en-US" sz="1100" kern="100">
                          <a:effectLst/>
                          <a:highlight>
                            <a:srgbClr val="00FF00"/>
                          </a:highlight>
                        </a:rPr>
                        <a:t>As defined in Commission Implementing regulation (EU) 2023/1162 of 6 June 2023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740945910"/>
                  </a:ext>
                </a:extLst>
              </a:tr>
              <a:tr h="288344">
                <a:tc>
                  <a:txBody>
                    <a:bodyPr/>
                    <a:lstStyle/>
                    <a:p>
                      <a:pPr marL="64770" marR="177800" indent="-6350" algn="l">
                        <a:lnSpc>
                          <a:spcPct val="107000"/>
                        </a:lnSpc>
                        <a:spcAft>
                          <a:spcPts val="825"/>
                        </a:spcAft>
                      </a:pPr>
                      <a:r>
                        <a:rPr lang="sv-SE" sz="1100" kern="100" dirty="0" err="1">
                          <a:effectLst/>
                          <a:highlight>
                            <a:srgbClr val="00FFFF"/>
                          </a:highlight>
                          <a:latin typeface="+mn-lt"/>
                        </a:rPr>
                        <a:t>Connecting</a:t>
                      </a:r>
                      <a:r>
                        <a:rPr lang="sv-SE" sz="1100" kern="100" dirty="0">
                          <a:effectLst/>
                          <a:highlight>
                            <a:srgbClr val="00FFFF"/>
                          </a:highlight>
                          <a:latin typeface="+mn-lt"/>
                        </a:rPr>
                        <a:t> system operator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07000"/>
                        </a:lnSpc>
                        <a:spcAft>
                          <a:spcPts val="825"/>
                        </a:spcAft>
                      </a:pPr>
                      <a:r>
                        <a:rPr lang="en-US" sz="1100" kern="100">
                          <a:effectLst/>
                          <a:highlight>
                            <a:srgbClr val="00FFFF"/>
                          </a:highlight>
                        </a:rPr>
                        <a:t>means, for the purposes of this Regulation, the DSO or TSO requesting data or actions to solve physical congestion or voltage issues;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62829014"/>
                  </a:ext>
                </a:extLst>
              </a:tr>
              <a:tr h="303266">
                <a:tc>
                  <a:txBody>
                    <a:bodyPr/>
                    <a:lstStyle/>
                    <a:p>
                      <a:pPr marL="64770" marR="177800" indent="-6350" algn="l">
                        <a:lnSpc>
                          <a:spcPct val="107000"/>
                        </a:lnSpc>
                        <a:spcAft>
                          <a:spcPts val="825"/>
                        </a:spcAft>
                      </a:pPr>
                      <a:r>
                        <a:rPr lang="sv-SE" sz="1100" kern="100" dirty="0" err="1">
                          <a:effectLst/>
                          <a:highlight>
                            <a:srgbClr val="00FFFF"/>
                          </a:highlight>
                          <a:latin typeface="+mn-lt"/>
                        </a:rPr>
                        <a:t>Procuring</a:t>
                      </a:r>
                      <a:r>
                        <a:rPr lang="sv-SE" sz="1100" kern="100" dirty="0">
                          <a:effectLst/>
                          <a:highlight>
                            <a:srgbClr val="00FFFF"/>
                          </a:highlight>
                          <a:latin typeface="+mn-lt"/>
                        </a:rPr>
                        <a:t> system operator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40"/>
                        </a:spcAft>
                      </a:pPr>
                      <a:r>
                        <a:rPr lang="en-US" sz="1100" kern="100">
                          <a:effectLst/>
                          <a:highlight>
                            <a:srgbClr val="00FFFF"/>
                          </a:highlight>
                        </a:rPr>
                        <a:t>DSO or TSO procuring balancing or local services. (see NC DR Article 2 paragraph 16) </a:t>
                      </a:r>
                      <a:endParaRPr lang="sv-SE" sz="1100" kern="100">
                        <a:effectLst/>
                      </a:endParaRPr>
                    </a:p>
                    <a:p>
                      <a:pPr marL="64770" marR="177800" indent="-6350" algn="l">
                        <a:lnSpc>
                          <a:spcPct val="107000"/>
                        </a:lnSpc>
                        <a:spcAft>
                          <a:spcPts val="825"/>
                        </a:spcAft>
                      </a:pPr>
                      <a:r>
                        <a:rPr lang="en-US" sz="1100" kern="100">
                          <a:effectLst/>
                          <a:highlight>
                            <a:srgbClr val="00FFFF"/>
                          </a:highlight>
                        </a:rPr>
                        <a:t>Note: If only the systems operator is mentioned in the following text, then the procuring systems operator is mean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1578963742"/>
                  </a:ext>
                </a:extLst>
              </a:tr>
              <a:tr h="303266">
                <a:tc>
                  <a:txBody>
                    <a:bodyPr/>
                    <a:lstStyle/>
                    <a:p>
                      <a:pPr marL="64770" marR="177800" indent="-6350" algn="l">
                        <a:lnSpc>
                          <a:spcPct val="107000"/>
                        </a:lnSpc>
                        <a:spcAft>
                          <a:spcPts val="825"/>
                        </a:spcAft>
                      </a:pPr>
                      <a:r>
                        <a:rPr lang="sv-SE" sz="1100" kern="100" dirty="0" err="1">
                          <a:effectLst/>
                          <a:highlight>
                            <a:srgbClr val="FF00FF"/>
                          </a:highlight>
                          <a:latin typeface="+mn-lt"/>
                        </a:rPr>
                        <a:t>Quantification</a:t>
                      </a:r>
                      <a:r>
                        <a:rPr lang="sv-SE" sz="1100" kern="100" dirty="0">
                          <a:effectLst/>
                          <a:highlight>
                            <a:srgbClr val="FF00FF"/>
                          </a:highlight>
                          <a:latin typeface="+mn-lt"/>
                        </a:rPr>
                        <a:t> aggregator </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40"/>
                        </a:spcAft>
                      </a:pPr>
                      <a:r>
                        <a:rPr lang="en-US" sz="1100" kern="100">
                          <a:effectLst/>
                          <a:highlight>
                            <a:srgbClr val="00FFFF"/>
                          </a:highlight>
                        </a:rPr>
                        <a:t>A party responsible for the aggregation of metering, dedicated measurement or calculated data. </a:t>
                      </a:r>
                      <a:endParaRPr lang="sv-SE" sz="1100" kern="100">
                        <a:effectLst/>
                      </a:endParaRPr>
                    </a:p>
                    <a:p>
                      <a:pPr marL="64770" marR="177800" indent="-6350" algn="l">
                        <a:lnSpc>
                          <a:spcPct val="107000"/>
                        </a:lnSpc>
                        <a:spcAft>
                          <a:spcPts val="825"/>
                        </a:spcAft>
                      </a:pPr>
                      <a:r>
                        <a:rPr lang="en-US" sz="1100" kern="100">
                          <a:effectLst/>
                          <a:highlight>
                            <a:srgbClr val="00FFFF"/>
                          </a:highlight>
                        </a:rPr>
                        <a:t>This data is aggregated according to a defined set of market rules</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580347494"/>
                  </a:ext>
                </a:extLst>
              </a:tr>
              <a:tr h="303266">
                <a:tc>
                  <a:txBody>
                    <a:bodyPr/>
                    <a:lstStyle/>
                    <a:p>
                      <a:pPr marL="64770" marR="177800" indent="-6350" algn="l">
                        <a:lnSpc>
                          <a:spcPct val="107000"/>
                        </a:lnSpc>
                        <a:spcAft>
                          <a:spcPts val="825"/>
                        </a:spcAft>
                      </a:pPr>
                      <a:r>
                        <a:rPr lang="sv-SE" sz="1100" kern="100" dirty="0" err="1">
                          <a:effectLst/>
                          <a:highlight>
                            <a:srgbClr val="FF00FF"/>
                          </a:highlight>
                          <a:latin typeface="+mn-lt"/>
                        </a:rPr>
                        <a:t>Quantification</a:t>
                      </a:r>
                      <a:r>
                        <a:rPr lang="sv-SE" sz="1100" kern="100" dirty="0">
                          <a:effectLst/>
                          <a:highlight>
                            <a:srgbClr val="FF00FF"/>
                          </a:highlight>
                          <a:latin typeface="+mn-lt"/>
                        </a:rPr>
                        <a:t> </a:t>
                      </a:r>
                      <a:r>
                        <a:rPr lang="sv-SE" sz="1100" kern="100" dirty="0" err="1">
                          <a:effectLst/>
                          <a:highlight>
                            <a:srgbClr val="FF00FF"/>
                          </a:highlight>
                          <a:latin typeface="+mn-lt"/>
                        </a:rPr>
                        <a:t>responsible</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07000"/>
                        </a:lnSpc>
                        <a:spcAft>
                          <a:spcPts val="825"/>
                        </a:spcAft>
                      </a:pPr>
                      <a:r>
                        <a:rPr lang="en-US" sz="1100" kern="100">
                          <a:effectLst/>
                          <a:highlight>
                            <a:srgbClr val="00FFFF"/>
                          </a:highlight>
                        </a:rPr>
                        <a:t>A party responsible to calculate the difference between the baseline and the corresponding (aggregated) metering, measurement or calculated data for a specific timeframe.</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585004832"/>
                  </a:ext>
                </a:extLst>
              </a:tr>
              <a:tr h="168261">
                <a:tc>
                  <a:txBody>
                    <a:bodyPr/>
                    <a:lstStyle/>
                    <a:p>
                      <a:pPr marL="64770" marR="177800" indent="-6350" algn="l">
                        <a:lnSpc>
                          <a:spcPct val="107000"/>
                        </a:lnSpc>
                        <a:spcAft>
                          <a:spcPts val="825"/>
                        </a:spcAft>
                      </a:pPr>
                      <a:r>
                        <a:rPr lang="sv-SE" sz="1100" kern="100" dirty="0" err="1">
                          <a:effectLst/>
                          <a:highlight>
                            <a:srgbClr val="FF00FF"/>
                          </a:highlight>
                          <a:latin typeface="+mn-lt"/>
                        </a:rPr>
                        <a:t>Dedicated</a:t>
                      </a:r>
                      <a:r>
                        <a:rPr lang="sv-SE" sz="1100" kern="100" dirty="0">
                          <a:effectLst/>
                          <a:highlight>
                            <a:srgbClr val="FF00FF"/>
                          </a:highlight>
                          <a:latin typeface="+mn-lt"/>
                        </a:rPr>
                        <a:t> </a:t>
                      </a:r>
                      <a:r>
                        <a:rPr lang="sv-SE" sz="1100" kern="100" dirty="0" err="1">
                          <a:effectLst/>
                          <a:highlight>
                            <a:srgbClr val="FF00FF"/>
                          </a:highlight>
                          <a:latin typeface="+mn-lt"/>
                        </a:rPr>
                        <a:t>measurement</a:t>
                      </a:r>
                      <a:r>
                        <a:rPr lang="sv-SE" sz="1100" kern="100" dirty="0">
                          <a:effectLst/>
                          <a:highlight>
                            <a:srgbClr val="FF00FF"/>
                          </a:highlight>
                          <a:latin typeface="+mn-lt"/>
                        </a:rPr>
                        <a:t> administrator  </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07000"/>
                        </a:lnSpc>
                        <a:spcAft>
                          <a:spcPts val="825"/>
                        </a:spcAft>
                      </a:pPr>
                      <a:r>
                        <a:rPr lang="en-US" sz="1100" kern="100" dirty="0">
                          <a:effectLst/>
                          <a:highlight>
                            <a:srgbClr val="00FFFF"/>
                          </a:highlight>
                        </a:rPr>
                        <a:t>A party responsible for storing and distributing validated dedicated measurement data (from Dedicated measurement devices).</a:t>
                      </a:r>
                      <a:r>
                        <a:rPr lang="en-US"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1249320773"/>
                  </a:ext>
                </a:extLst>
              </a:tr>
              <a:tr h="168261">
                <a:tc>
                  <a:txBody>
                    <a:bodyPr/>
                    <a:lstStyle/>
                    <a:p>
                      <a:pPr marL="64770" marR="177800" indent="-6350" algn="l">
                        <a:lnSpc>
                          <a:spcPct val="107000"/>
                        </a:lnSpc>
                        <a:spcAft>
                          <a:spcPts val="825"/>
                        </a:spcAft>
                      </a:pPr>
                      <a:r>
                        <a:rPr lang="sv-SE" sz="1100" kern="100" dirty="0" err="1">
                          <a:effectLst/>
                          <a:highlight>
                            <a:srgbClr val="FF00FF"/>
                          </a:highlight>
                          <a:latin typeface="+mn-lt"/>
                        </a:rPr>
                        <a:t>Calculated</a:t>
                      </a:r>
                      <a:r>
                        <a:rPr lang="sv-SE" sz="1100" kern="100" dirty="0">
                          <a:effectLst/>
                          <a:highlight>
                            <a:srgbClr val="FF00FF"/>
                          </a:highlight>
                          <a:latin typeface="+mn-lt"/>
                        </a:rPr>
                        <a:t> </a:t>
                      </a:r>
                      <a:r>
                        <a:rPr lang="sv-SE" sz="1100" kern="100" dirty="0" err="1">
                          <a:effectLst/>
                          <a:highlight>
                            <a:srgbClr val="FF00FF"/>
                          </a:highlight>
                          <a:latin typeface="+mn-lt"/>
                        </a:rPr>
                        <a:t>measurement</a:t>
                      </a:r>
                      <a:r>
                        <a:rPr lang="sv-SE" sz="1100" kern="100" dirty="0">
                          <a:effectLst/>
                          <a:highlight>
                            <a:srgbClr val="FF00FF"/>
                          </a:highlight>
                          <a:latin typeface="+mn-lt"/>
                        </a:rPr>
                        <a:t> administrator  </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135" marR="177800" indent="-6350" algn="l">
                        <a:lnSpc>
                          <a:spcPct val="107000"/>
                        </a:lnSpc>
                        <a:spcAft>
                          <a:spcPts val="825"/>
                        </a:spcAft>
                      </a:pPr>
                      <a:r>
                        <a:rPr lang="en-US" sz="1100" kern="100">
                          <a:effectLst/>
                          <a:highlight>
                            <a:srgbClr val="00FFFF"/>
                          </a:highlight>
                        </a:rPr>
                        <a:t>A party responsible for storing and distributing validated calculated data.</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360445683"/>
                  </a:ext>
                </a:extLst>
              </a:tr>
              <a:tr h="447410">
                <a:tc>
                  <a:txBody>
                    <a:bodyPr/>
                    <a:lstStyle/>
                    <a:p>
                      <a:pPr marL="6350" marR="177800" indent="-6350" algn="l">
                        <a:lnSpc>
                          <a:spcPct val="107000"/>
                        </a:lnSpc>
                        <a:spcAft>
                          <a:spcPts val="85"/>
                        </a:spcAft>
                        <a:tabLst>
                          <a:tab pos="995680" algn="r"/>
                        </a:tabLst>
                      </a:pPr>
                      <a:r>
                        <a:rPr lang="sv-SE" sz="1100" kern="100" dirty="0">
                          <a:effectLst/>
                          <a:highlight>
                            <a:srgbClr val="FF00FF"/>
                          </a:highlight>
                          <a:latin typeface="+mn-lt"/>
                        </a:rPr>
                        <a:t>CU </a:t>
                      </a:r>
                      <a:r>
                        <a:rPr lang="sv-SE" sz="1100" kern="100" dirty="0" err="1">
                          <a:effectLst/>
                          <a:highlight>
                            <a:srgbClr val="FF00FF"/>
                          </a:highlight>
                          <a:latin typeface="+mn-lt"/>
                        </a:rPr>
                        <a:t>registration</a:t>
                      </a:r>
                      <a:r>
                        <a:rPr lang="sv-SE" sz="1100" kern="100" dirty="0">
                          <a:effectLst/>
                          <a:highlight>
                            <a:srgbClr val="FF00FF"/>
                          </a:highlight>
                          <a:latin typeface="+mn-lt"/>
                        </a:rPr>
                        <a:t> </a:t>
                      </a:r>
                      <a:r>
                        <a:rPr lang="sv-SE" sz="1100" kern="100" dirty="0" err="1">
                          <a:effectLst/>
                          <a:highlight>
                            <a:srgbClr val="FF00FF"/>
                          </a:highlight>
                          <a:latin typeface="+mn-lt"/>
                        </a:rPr>
                        <a:t>responsible</a:t>
                      </a:r>
                      <a:r>
                        <a:rPr lang="sv-SE" sz="1100" kern="100" dirty="0">
                          <a:effectLst/>
                          <a:latin typeface="+mn-lt"/>
                        </a:rPr>
                        <a:t>  NYTT</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177800" indent="-635" algn="just">
                        <a:lnSpc>
                          <a:spcPct val="115000"/>
                        </a:lnSpc>
                        <a:spcAft>
                          <a:spcPts val="825"/>
                        </a:spcAft>
                      </a:pPr>
                      <a:r>
                        <a:rPr lang="en-US" sz="1100" kern="100">
                          <a:effectLst/>
                          <a:highlight>
                            <a:srgbClr val="00FFFF"/>
                          </a:highlight>
                        </a:rPr>
                        <a:t>A party entitled to interact with the CU module to register, update and de-register information on CUs. </a:t>
                      </a:r>
                      <a:endParaRPr lang="sv-SE" sz="1100" kern="100">
                        <a:effectLst/>
                      </a:endParaRPr>
                    </a:p>
                    <a:p>
                      <a:pPr marL="64770" marR="177800" indent="-6350" algn="l">
                        <a:lnSpc>
                          <a:spcPct val="107000"/>
                        </a:lnSpc>
                        <a:spcAft>
                          <a:spcPts val="825"/>
                        </a:spcAft>
                      </a:pPr>
                      <a:r>
                        <a:rPr lang="en-US" sz="1100" kern="100">
                          <a:effectLst/>
                          <a:highlight>
                            <a:srgbClr val="00FFFF"/>
                          </a:highlight>
                        </a:rPr>
                        <a:t>[as of NC DR Article 35 (1) (f)]</a:t>
                      </a:r>
                      <a:r>
                        <a:rPr lang="en-US" sz="1100" kern="100">
                          <a:effectLst/>
                        </a:rPr>
                        <a:t> </a:t>
                      </a:r>
                      <a:endParaRPr lang="sv-SE" sz="1100" kern="10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834143510"/>
                  </a:ext>
                </a:extLst>
              </a:tr>
              <a:tr h="0">
                <a:tc>
                  <a:txBody>
                    <a:bodyPr/>
                    <a:lstStyle/>
                    <a:p>
                      <a:pPr marL="64770" marR="177800" indent="-6350" algn="l">
                        <a:lnSpc>
                          <a:spcPct val="107000"/>
                        </a:lnSpc>
                        <a:spcAft>
                          <a:spcPts val="825"/>
                        </a:spcAft>
                      </a:pPr>
                      <a:r>
                        <a:rPr lang="sv-SE" sz="1100" kern="100" dirty="0" err="1">
                          <a:effectLst/>
                          <a:highlight>
                            <a:srgbClr val="00FFFF"/>
                          </a:highlight>
                          <a:latin typeface="+mn-lt"/>
                        </a:rPr>
                        <a:t>Entitled</a:t>
                      </a:r>
                      <a:r>
                        <a:rPr lang="sv-SE" sz="1100" kern="100" dirty="0">
                          <a:effectLst/>
                          <a:highlight>
                            <a:srgbClr val="00FFFF"/>
                          </a:highlight>
                          <a:latin typeface="+mn-lt"/>
                        </a:rPr>
                        <a:t> party</a:t>
                      </a:r>
                      <a:r>
                        <a:rPr lang="sv-SE" sz="1100" kern="100" dirty="0">
                          <a:effectLst/>
                          <a:latin typeface="+mn-lt"/>
                        </a:rPr>
                        <a:t> </a:t>
                      </a:r>
                      <a:endParaRPr lang="sv-SE" sz="1100" kern="100" dirty="0">
                        <a:solidFill>
                          <a:srgbClr val="000000"/>
                        </a:solidFill>
                        <a:effectLs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41275" indent="-6350" algn="just">
                        <a:lnSpc>
                          <a:spcPct val="113000"/>
                        </a:lnSpc>
                        <a:spcAft>
                          <a:spcPts val="760"/>
                        </a:spcAft>
                      </a:pPr>
                      <a:r>
                        <a:rPr lang="en-US" sz="1100" kern="100" dirty="0">
                          <a:effectLst/>
                          <a:highlight>
                            <a:srgbClr val="00FFFF"/>
                          </a:highlight>
                        </a:rPr>
                        <a:t>This role should be informed about the changes related to the data as referred in this Implementing Regulation. This role can be assigned to one or more eligible parties based on national rules of the Member State and can differ in the different procedures.</a:t>
                      </a:r>
                      <a:r>
                        <a:rPr lang="en-US" sz="1100" kern="100" dirty="0">
                          <a:effectLst/>
                        </a:rPr>
                        <a:t> </a:t>
                      </a:r>
                      <a:endParaRPr lang="sv-SE" sz="1100" kern="100" dirty="0">
                        <a:effectLst/>
                      </a:endParaRPr>
                    </a:p>
                    <a:p>
                      <a:pPr marL="64770" marR="177800" indent="-6350" algn="l">
                        <a:lnSpc>
                          <a:spcPct val="107000"/>
                        </a:lnSpc>
                        <a:spcAft>
                          <a:spcPts val="825"/>
                        </a:spcAft>
                      </a:pPr>
                      <a:r>
                        <a:rPr lang="en-US"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2737452618"/>
                  </a:ext>
                </a:extLst>
              </a:tr>
              <a:tr h="438273">
                <a:tc>
                  <a:txBody>
                    <a:bodyPr/>
                    <a:lstStyle/>
                    <a:p>
                      <a:pPr marL="64770" marR="177800" indent="-6350" algn="l">
                        <a:lnSpc>
                          <a:spcPct val="107000"/>
                        </a:lnSpc>
                        <a:spcAft>
                          <a:spcPts val="825"/>
                        </a:spcAft>
                      </a:pPr>
                      <a:r>
                        <a:rPr lang="sv-SE" sz="1100" kern="100" dirty="0" err="1">
                          <a:effectLst/>
                          <a:highlight>
                            <a:srgbClr val="00FFFF"/>
                          </a:highlight>
                          <a:latin typeface="+mn-lt"/>
                        </a:rPr>
                        <a:t>Affected</a:t>
                      </a:r>
                      <a:r>
                        <a:rPr lang="sv-SE" sz="1100" kern="100" dirty="0">
                          <a:effectLst/>
                          <a:highlight>
                            <a:srgbClr val="00FFFF"/>
                          </a:highlight>
                          <a:latin typeface="+mn-lt"/>
                        </a:rPr>
                        <a:t> party </a:t>
                      </a:r>
                      <a:endParaRPr lang="sv-SE" sz="1100" kern="100" dirty="0">
                        <a:solidFill>
                          <a:srgbClr val="000000"/>
                        </a:solidFill>
                        <a:effectLst/>
                        <a:highlight>
                          <a:srgbClr val="00FFFF"/>
                        </a:highlight>
                        <a:latin typeface="+mn-lt"/>
                        <a:ea typeface="Times New Roman" panose="02020603050405020304" pitchFamily="18" charset="0"/>
                      </a:endParaRPr>
                    </a:p>
                  </a:txBody>
                  <a:tcPr marL="0" marR="6377" marT="8370" marB="0">
                    <a:solidFill>
                      <a:schemeClr val="bg1">
                        <a:lumMod val="65000"/>
                      </a:schemeClr>
                    </a:solidFill>
                  </a:tcPr>
                </a:tc>
                <a:tc>
                  <a:txBody>
                    <a:bodyPr/>
                    <a:lstStyle/>
                    <a:p>
                      <a:pPr marL="64770" marR="42545" indent="-635" algn="just">
                        <a:lnSpc>
                          <a:spcPct val="107000"/>
                        </a:lnSpc>
                        <a:spcAft>
                          <a:spcPts val="825"/>
                        </a:spcAft>
                      </a:pPr>
                      <a:r>
                        <a:rPr lang="en-US" sz="1100" kern="100" dirty="0">
                          <a:effectLst/>
                          <a:highlight>
                            <a:srgbClr val="00FFFF"/>
                          </a:highlight>
                        </a:rPr>
                        <a:t>This role should be informed about the change of its responsibility as direct consequence of the execution of a referred procedure in this Implementing Regulation. This role can be assigned to one or more eligible parties based on national rules of the Member State and can differ in the different procedures.</a:t>
                      </a:r>
                      <a:r>
                        <a:rPr lang="en-US" sz="1100" kern="100" dirty="0">
                          <a:effectLst/>
                        </a:rPr>
                        <a:t> </a:t>
                      </a:r>
                      <a:endParaRPr lang="sv-SE" sz="1100" kern="100" dirty="0">
                        <a:solidFill>
                          <a:srgbClr val="000000"/>
                        </a:solidFill>
                        <a:effectLst/>
                        <a:latin typeface="Times New Roman" panose="02020603050405020304" pitchFamily="18" charset="0"/>
                        <a:ea typeface="Times New Roman" panose="02020603050405020304" pitchFamily="18" charset="0"/>
                      </a:endParaRPr>
                    </a:p>
                  </a:txBody>
                  <a:tcPr marL="0" marR="6377" marT="8370" marB="0"/>
                </a:tc>
                <a:extLst>
                  <a:ext uri="{0D108BD9-81ED-4DB2-BD59-A6C34878D82A}">
                    <a16:rowId xmlns:a16="http://schemas.microsoft.com/office/drawing/2014/main" val="2280577943"/>
                  </a:ext>
                </a:extLst>
              </a:tr>
            </a:tbl>
          </a:graphicData>
        </a:graphic>
      </p:graphicFrame>
    </p:spTree>
    <p:extLst>
      <p:ext uri="{BB962C8B-B14F-4D97-AF65-F5344CB8AC3E}">
        <p14:creationId xmlns:p14="http://schemas.microsoft.com/office/powerpoint/2010/main" val="789077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B84AF69-FDA4-0315-9A8A-6F3692FD5396}"/>
              </a:ext>
            </a:extLst>
          </p:cNvPr>
          <p:cNvSpPr>
            <a:spLocks noGrp="1"/>
          </p:cNvSpPr>
          <p:nvPr>
            <p:ph type="title"/>
          </p:nvPr>
        </p:nvSpPr>
        <p:spPr/>
        <p:txBody>
          <a:bodyPr/>
          <a:lstStyle/>
          <a:p>
            <a:r>
              <a:rPr lang="sv-SE" dirty="0" err="1"/>
              <a:t>Processsteg</a:t>
            </a:r>
            <a:r>
              <a:rPr lang="sv-SE" dirty="0"/>
              <a:t> – några exempel</a:t>
            </a:r>
          </a:p>
        </p:txBody>
      </p:sp>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4294967295"/>
          </p:nvPr>
        </p:nvSpPr>
        <p:spPr>
          <a:xfrm>
            <a:off x="0" y="1720850"/>
            <a:ext cx="8677275" cy="4371975"/>
          </a:xfrm>
        </p:spPr>
        <p:txBody>
          <a:bodyPr vert="horz" lIns="91440" tIns="45720" rIns="91440" bIns="45720" rtlCol="0" anchor="t">
            <a:normAutofit/>
          </a:bodyPr>
          <a:lstStyle/>
          <a:p>
            <a:endParaRPr lang="sv-SE" sz="1800" dirty="0"/>
          </a:p>
          <a:p>
            <a:endParaRPr lang="sv-SE" sz="1800" i="1" dirty="0"/>
          </a:p>
          <a:p>
            <a:pPr>
              <a:buFont typeface="Wingdings" panose="05000000000000000000" pitchFamily="2" charset="2"/>
              <a:buChar char="v"/>
            </a:pPr>
            <a:endParaRPr lang="sv-SE" sz="2200" dirty="0"/>
          </a:p>
          <a:p>
            <a:pPr lvl="1"/>
            <a:endParaRPr lang="sv-SE" sz="1800" dirty="0"/>
          </a:p>
          <a:p>
            <a:pPr marL="0" indent="0">
              <a:buNone/>
            </a:pPr>
            <a:endParaRPr lang="sv-SE" sz="2200" dirty="0"/>
          </a:p>
          <a:p>
            <a:pPr marL="457200" lvl="1" indent="0">
              <a:buNone/>
            </a:pPr>
            <a:endParaRPr lang="sv-SE" sz="1400" dirty="0"/>
          </a:p>
        </p:txBody>
      </p:sp>
    </p:spTree>
    <p:extLst>
      <p:ext uri="{BB962C8B-B14F-4D97-AF65-F5344CB8AC3E}">
        <p14:creationId xmlns:p14="http://schemas.microsoft.com/office/powerpoint/2010/main" val="1706612951"/>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BC375C22-88AD-2C2B-FFE5-8954FCEE4BAF}"/>
              </a:ext>
            </a:extLst>
          </p:cNvPr>
          <p:cNvSpPr>
            <a:spLocks noGrp="1"/>
          </p:cNvSpPr>
          <p:nvPr>
            <p:ph type="title"/>
          </p:nvPr>
        </p:nvSpPr>
        <p:spPr/>
        <p:txBody>
          <a:bodyPr>
            <a:normAutofit/>
          </a:bodyPr>
          <a:lstStyle/>
          <a:p>
            <a:r>
              <a:rPr lang="sv-SE" sz="4000" dirty="0"/>
              <a:t>Process 13 – Anläggning/CU</a:t>
            </a:r>
          </a:p>
        </p:txBody>
      </p:sp>
      <p:sp>
        <p:nvSpPr>
          <p:cNvPr id="6" name="textruta 5">
            <a:extLst>
              <a:ext uri="{FF2B5EF4-FFF2-40B4-BE49-F238E27FC236}">
                <a16:creationId xmlns:a16="http://schemas.microsoft.com/office/drawing/2014/main" id="{BBA32B56-B778-26E0-23C9-51CFB4487052}"/>
              </a:ext>
            </a:extLst>
          </p:cNvPr>
          <p:cNvSpPr txBox="1"/>
          <p:nvPr/>
        </p:nvSpPr>
        <p:spPr>
          <a:xfrm>
            <a:off x="431800" y="1693984"/>
            <a:ext cx="10570128" cy="59119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Process 13: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aking</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easurement</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availabl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err="1">
                <a:ln>
                  <a:noFill/>
                </a:ln>
                <a:solidFill>
                  <a:srgbClr val="242424"/>
                </a:solidFill>
                <a:effectLst/>
                <a:uLnTx/>
                <a:uFillTx/>
                <a:latin typeface="Segoe UI" panose="020B0502040204020203" pitchFamily="34" charset="0"/>
                <a:ea typeface="+mn-ea"/>
                <a:cs typeface="Segoe UI" panose="020B0502040204020203" pitchFamily="34" charset="0"/>
              </a:rPr>
              <a:t>Processsteg</a:t>
            </a:r>
            <a:r>
              <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 13:1</a:t>
            </a:r>
            <a:r>
              <a:rPr kumimoji="0" lang="sv-SE" sz="2000" b="0"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 </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equest validated historical metering and consumption data for C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Beskrivning</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The Quantification data aggregator requests validated historical metering and consumption data from the metered data administrator for</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the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controllabl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units</a:t>
            </a: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formationsskapar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Quantification</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ggregator </a:t>
            </a:r>
          </a:p>
          <a:p>
            <a:pPr marL="10160" marR="177800" lvl="0" indent="-6350" algn="l" defTabSz="914400" rtl="0" eaLnBrk="1" fontAlgn="auto" latinLnBrk="0" hangingPunct="1">
              <a:lnSpc>
                <a:spcPct val="107000"/>
              </a:lnSpc>
              <a:spcBef>
                <a:spcPts val="0"/>
              </a:spcBef>
              <a:spcAft>
                <a:spcPts val="825"/>
              </a:spcAft>
              <a:buClrTx/>
              <a:buSzTx/>
              <a:buFontTx/>
              <a:buNone/>
              <a:tabLst/>
              <a:defRPr/>
            </a:pPr>
            <a:r>
              <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formationsmottagar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etered</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dministrator </a:t>
            </a:r>
          </a:p>
          <a:p>
            <a:pPr marL="10160" marR="177800" lvl="0" indent="-6350" algn="l" defTabSz="914400" rtl="0" eaLnBrk="1" fontAlgn="auto" latinLnBrk="0" hangingPunct="1">
              <a:lnSpc>
                <a:spcPct val="107000"/>
              </a:lnSpc>
              <a:spcBef>
                <a:spcPts val="0"/>
              </a:spcBef>
              <a:spcAft>
                <a:spcPts val="825"/>
              </a:spcAft>
              <a:buClrTx/>
              <a:buSzTx/>
              <a:buFontTx/>
              <a:buNone/>
              <a:tabLst/>
              <a:defRPr/>
            </a:pPr>
            <a:r>
              <a:rPr kumimoji="0" lang="en-US" sz="2000" b="1"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Informationsobjekt</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Information object C “Metered data request” of</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Implementing</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Regulation (EU) 2023/1162 </a:t>
            </a: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0795"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1100" b="0" i="0" u="none" strike="noStrike" kern="1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800" b="0" i="0" u="none" strike="noStrike" kern="100" cap="none" spc="0" normalizeH="0" baseline="0" noProof="0" dirty="0">
              <a:ln>
                <a:noFill/>
              </a:ln>
              <a:solidFill>
                <a:srgbClr val="000000"/>
              </a:solidFill>
              <a:effectLst/>
              <a:uLnTx/>
              <a:uFillTx/>
              <a:latin typeface="Arial" panose="020B0604020202020204"/>
              <a:ea typeface="+mn-ea"/>
              <a:cs typeface="+mn-cs"/>
            </a:endParaRP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3200" b="0" i="0" u="none" strike="noStrike" kern="1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242424"/>
              </a:solidFill>
              <a:effectLst/>
              <a:uLnTx/>
              <a:uFillTx/>
              <a:latin typeface="Segoe UI" panose="020B0502040204020203" pitchFamily="34" charset="0"/>
              <a:ea typeface="+mn-ea"/>
              <a:cs typeface="+mn-cs"/>
            </a:endParaRPr>
          </a:p>
        </p:txBody>
      </p:sp>
      <p:sp>
        <p:nvSpPr>
          <p:cNvPr id="5" name="Platshållare för text 4">
            <a:extLst>
              <a:ext uri="{FF2B5EF4-FFF2-40B4-BE49-F238E27FC236}">
                <a16:creationId xmlns:a16="http://schemas.microsoft.com/office/drawing/2014/main" id="{608C7665-A607-14F2-126A-14097B76347C}"/>
              </a:ext>
            </a:extLst>
          </p:cNvPr>
          <p:cNvSpPr>
            <a:spLocks noGrp="1"/>
          </p:cNvSpPr>
          <p:nvPr>
            <p:ph type="body" sz="quarter" idx="14"/>
          </p:nvPr>
        </p:nvSpPr>
        <p:spPr/>
        <p:txBody>
          <a:bodyPr/>
          <a:lstStyle/>
          <a:p>
            <a:endParaRPr lang="sv-SE"/>
          </a:p>
        </p:txBody>
      </p:sp>
    </p:spTree>
    <p:extLst>
      <p:ext uri="{BB962C8B-B14F-4D97-AF65-F5344CB8AC3E}">
        <p14:creationId xmlns:p14="http://schemas.microsoft.com/office/powerpoint/2010/main" val="28026974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BC375C22-88AD-2C2B-FFE5-8954FCEE4BAF}"/>
              </a:ext>
            </a:extLst>
          </p:cNvPr>
          <p:cNvSpPr>
            <a:spLocks noGrp="1"/>
          </p:cNvSpPr>
          <p:nvPr>
            <p:ph type="title"/>
          </p:nvPr>
        </p:nvSpPr>
        <p:spPr/>
        <p:txBody>
          <a:bodyPr>
            <a:normAutofit/>
          </a:bodyPr>
          <a:lstStyle/>
          <a:p>
            <a:r>
              <a:rPr lang="sv-SE" sz="4000" dirty="0"/>
              <a:t>Process 13 – Anläggning/CU</a:t>
            </a:r>
          </a:p>
        </p:txBody>
      </p:sp>
      <p:sp>
        <p:nvSpPr>
          <p:cNvPr id="6" name="textruta 5">
            <a:extLst>
              <a:ext uri="{FF2B5EF4-FFF2-40B4-BE49-F238E27FC236}">
                <a16:creationId xmlns:a16="http://schemas.microsoft.com/office/drawing/2014/main" id="{BBA32B56-B778-26E0-23C9-51CFB4487052}"/>
              </a:ext>
            </a:extLst>
          </p:cNvPr>
          <p:cNvSpPr txBox="1"/>
          <p:nvPr/>
        </p:nvSpPr>
        <p:spPr>
          <a:xfrm>
            <a:off x="431800" y="1693984"/>
            <a:ext cx="10570128" cy="66731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Process 13: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aking</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easurement</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availabl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err="1">
                <a:ln>
                  <a:noFill/>
                </a:ln>
                <a:solidFill>
                  <a:srgbClr val="242424"/>
                </a:solidFill>
                <a:effectLst/>
                <a:uLnTx/>
                <a:uFillTx/>
                <a:latin typeface="Segoe UI" panose="020B0502040204020203" pitchFamily="34" charset="0"/>
                <a:ea typeface="+mn-ea"/>
                <a:cs typeface="Segoe UI" panose="020B0502040204020203" pitchFamily="34" charset="0"/>
              </a:rPr>
              <a:t>Processsteg</a:t>
            </a:r>
            <a:r>
              <a:rPr kumimoji="0" lang="sv-SE" sz="2000" b="1"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 13:1</a:t>
            </a:r>
            <a:r>
              <a:rPr kumimoji="0" lang="sv-SE" sz="2000" b="0" i="0" u="none" strike="noStrike" kern="1200" cap="none" spc="0" normalizeH="0" baseline="0" noProof="0" dirty="0">
                <a:ln>
                  <a:noFill/>
                </a:ln>
                <a:solidFill>
                  <a:srgbClr val="242424"/>
                </a:solidFill>
                <a:effectLst/>
                <a:uLnTx/>
                <a:uFillTx/>
                <a:latin typeface="Segoe UI" panose="020B0502040204020203" pitchFamily="34" charset="0"/>
                <a:ea typeface="+mn-ea"/>
                <a:cs typeface="Segoe UI" panose="020B0502040204020203" pitchFamily="34" charset="0"/>
              </a:rPr>
              <a:t>: </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equest validated historical metering and consumption data for C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Beskrivning</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The Quantification data aggregator requests validated historical metering and consumption data from the metered data administrator for</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the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controllabl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units</a:t>
            </a: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formationsskapar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Quantification</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ggregator </a:t>
            </a:r>
          </a:p>
          <a:p>
            <a:pPr marL="10160" marR="177800" lvl="0" indent="-6350" algn="l" defTabSz="914400" rtl="0" eaLnBrk="1" fontAlgn="auto" latinLnBrk="0" hangingPunct="1">
              <a:lnSpc>
                <a:spcPct val="107000"/>
              </a:lnSpc>
              <a:spcBef>
                <a:spcPts val="0"/>
              </a:spcBef>
              <a:spcAft>
                <a:spcPts val="825"/>
              </a:spcAft>
              <a:buClrTx/>
              <a:buSzTx/>
              <a:buFontTx/>
              <a:buNone/>
              <a:tabLst/>
              <a:defRPr/>
            </a:pPr>
            <a:r>
              <a:rPr kumimoji="0" lang="sv-SE" sz="2000" b="1"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formationsmottagare</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Metered</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ata administrator </a:t>
            </a:r>
          </a:p>
          <a:p>
            <a:pPr marL="10160" marR="177800" lvl="0" indent="-6350" algn="l" defTabSz="914400" rtl="0" eaLnBrk="1" fontAlgn="auto" latinLnBrk="0" hangingPunct="1">
              <a:lnSpc>
                <a:spcPct val="107000"/>
              </a:lnSpc>
              <a:spcBef>
                <a:spcPts val="0"/>
              </a:spcBef>
              <a:spcAft>
                <a:spcPts val="825"/>
              </a:spcAft>
              <a:buClrTx/>
              <a:buSzTx/>
              <a:buFontTx/>
              <a:buNone/>
              <a:tabLst/>
              <a:defRPr/>
            </a:pPr>
            <a:r>
              <a:rPr kumimoji="0" lang="en-US" sz="2000" b="1"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Informationsobjekt</a:t>
            </a: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Information object C “Metered data request” of</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sv-SE" sz="2000" b="0" i="0" u="none" strike="noStrike" kern="100" cap="none" spc="0" normalizeH="0" baseline="0" noProof="0" dirty="0" err="1">
                <a:ln>
                  <a:noFill/>
                </a:ln>
                <a:solidFill>
                  <a:srgbClr val="000000"/>
                </a:solidFill>
                <a:effectLst/>
                <a:uLnTx/>
                <a:uFillTx/>
                <a:latin typeface="Segoe UI" panose="020B0502040204020203" pitchFamily="34" charset="0"/>
                <a:ea typeface="+mn-ea"/>
                <a:cs typeface="Segoe UI" panose="020B0502040204020203" pitchFamily="34" charset="0"/>
              </a:rPr>
              <a:t>Implementing</a:t>
            </a:r>
            <a:r>
              <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Regulation (EU) 2023/1162 </a:t>
            </a: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0160" marR="177800" lvl="0" indent="-6350" algn="l" defTabSz="914400" rtl="0" eaLnBrk="1" fontAlgn="auto" latinLnBrk="0" hangingPunct="1">
              <a:lnSpc>
                <a:spcPct val="107000"/>
              </a:lnSpc>
              <a:spcBef>
                <a:spcPts val="0"/>
              </a:spcBef>
              <a:spcAft>
                <a:spcPts val="825"/>
              </a:spcAft>
              <a:buClrTx/>
              <a:buSzTx/>
              <a:buFontTx/>
              <a:buNone/>
              <a:tabLst/>
              <a:defRPr/>
            </a:pPr>
            <a:r>
              <a:rPr kumimoji="0" lang="sv-SE" sz="2000" b="0" i="0" u="none" strike="noStrike" kern="100" cap="none" spc="0" normalizeH="0" baseline="0" noProof="0" dirty="0">
                <a:ln>
                  <a:noFill/>
                </a:ln>
                <a:solidFill>
                  <a:srgbClr val="F93B18"/>
                </a:solidFill>
                <a:effectLst/>
                <a:uLnTx/>
                <a:uFillTx/>
                <a:latin typeface="Segoe UI" panose="020B0502040204020203" pitchFamily="34" charset="0"/>
                <a:ea typeface="+mn-ea"/>
                <a:cs typeface="Segoe UI" panose="020B0502040204020203" pitchFamily="34" charset="0"/>
              </a:rPr>
              <a:t>Det finns en skillnad mot genomförandeförordningen för mätdata. Mätdatat ska vara för CU inte för anläggnings-ID. </a:t>
            </a:r>
          </a:p>
          <a:p>
            <a:pPr marL="10795"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1100" b="0" i="0" u="none" strike="noStrike" kern="1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800" b="0" i="0" u="none" strike="noStrike" kern="100" cap="none" spc="0" normalizeH="0" baseline="0" noProof="0" dirty="0">
              <a:ln>
                <a:noFill/>
              </a:ln>
              <a:solidFill>
                <a:srgbClr val="000000"/>
              </a:solidFill>
              <a:effectLst/>
              <a:uLnTx/>
              <a:uFillTx/>
              <a:latin typeface="Arial" panose="020B0604020202020204"/>
              <a:ea typeface="+mn-ea"/>
              <a:cs typeface="+mn-cs"/>
            </a:endParaRPr>
          </a:p>
          <a:p>
            <a:pPr marL="10160" marR="177800" lvl="0" indent="-6350" algn="l" defTabSz="914400" rtl="0" eaLnBrk="1" fontAlgn="auto" latinLnBrk="0" hangingPunct="1">
              <a:lnSpc>
                <a:spcPct val="107000"/>
              </a:lnSpc>
              <a:spcBef>
                <a:spcPts val="0"/>
              </a:spcBef>
              <a:spcAft>
                <a:spcPts val="825"/>
              </a:spcAft>
              <a:buClrTx/>
              <a:buSzTx/>
              <a:buFontTx/>
              <a:buNone/>
              <a:tabLst/>
              <a:defRPr/>
            </a:pPr>
            <a:endParaRPr kumimoji="0" lang="sv-SE" sz="3200" b="0" i="0" u="none" strike="noStrike" kern="1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endParaRPr kumimoji="0" lang="sv-SE" sz="2000" b="0" i="0" u="none" strike="noStrike" kern="100" cap="none" spc="0" normalizeH="0" baseline="0" noProof="0" dirty="0">
              <a:ln>
                <a:noFill/>
              </a:ln>
              <a:solidFill>
                <a:srgbClr val="000000"/>
              </a:solidFill>
              <a:effectLst/>
              <a:uLnTx/>
              <a:uFillTx/>
              <a:latin typeface="Segoe UI" panose="020B0502040204020203" pitchFamily="34" charset="0"/>
              <a:ea typeface="Times New Roman" panose="02020603050405020304" pitchFamily="18"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242424"/>
              </a:solidFill>
              <a:effectLst/>
              <a:uLnTx/>
              <a:uFillTx/>
              <a:latin typeface="Segoe UI" panose="020B0502040204020203" pitchFamily="34" charset="0"/>
              <a:ea typeface="+mn-ea"/>
              <a:cs typeface="+mn-cs"/>
            </a:endParaRPr>
          </a:p>
        </p:txBody>
      </p:sp>
      <p:sp>
        <p:nvSpPr>
          <p:cNvPr id="5" name="Platshållare för text 4">
            <a:extLst>
              <a:ext uri="{FF2B5EF4-FFF2-40B4-BE49-F238E27FC236}">
                <a16:creationId xmlns:a16="http://schemas.microsoft.com/office/drawing/2014/main" id="{608C7665-A607-14F2-126A-14097B76347C}"/>
              </a:ext>
            </a:extLst>
          </p:cNvPr>
          <p:cNvSpPr>
            <a:spLocks noGrp="1"/>
          </p:cNvSpPr>
          <p:nvPr>
            <p:ph type="body" sz="quarter" idx="14"/>
          </p:nvPr>
        </p:nvSpPr>
        <p:spPr/>
        <p:txBody>
          <a:bodyPr/>
          <a:lstStyle/>
          <a:p>
            <a:endParaRPr lang="sv-SE"/>
          </a:p>
        </p:txBody>
      </p:sp>
    </p:spTree>
    <p:extLst>
      <p:ext uri="{BB962C8B-B14F-4D97-AF65-F5344CB8AC3E}">
        <p14:creationId xmlns:p14="http://schemas.microsoft.com/office/powerpoint/2010/main" val="3858901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BC375C22-88AD-2C2B-FFE5-8954FCEE4BAF}"/>
              </a:ext>
            </a:extLst>
          </p:cNvPr>
          <p:cNvSpPr>
            <a:spLocks noGrp="1"/>
          </p:cNvSpPr>
          <p:nvPr>
            <p:ph type="title"/>
          </p:nvPr>
        </p:nvSpPr>
        <p:spPr/>
        <p:txBody>
          <a:bodyPr>
            <a:normAutofit/>
          </a:bodyPr>
          <a:lstStyle/>
          <a:p>
            <a:r>
              <a:rPr lang="sv-SE" sz="4000" dirty="0"/>
              <a:t>Process 12 – </a:t>
            </a:r>
            <a:r>
              <a:rPr lang="sv-SE" sz="4000" dirty="0" err="1"/>
              <a:t>Baseline</a:t>
            </a:r>
            <a:endParaRPr lang="sv-SE" sz="4000" dirty="0"/>
          </a:p>
        </p:txBody>
      </p:sp>
      <p:sp>
        <p:nvSpPr>
          <p:cNvPr id="5" name="Platshållare för text 4">
            <a:extLst>
              <a:ext uri="{FF2B5EF4-FFF2-40B4-BE49-F238E27FC236}">
                <a16:creationId xmlns:a16="http://schemas.microsoft.com/office/drawing/2014/main" id="{608C7665-A607-14F2-126A-14097B76347C}"/>
              </a:ext>
            </a:extLst>
          </p:cNvPr>
          <p:cNvSpPr>
            <a:spLocks noGrp="1"/>
          </p:cNvSpPr>
          <p:nvPr>
            <p:ph type="body" sz="quarter" idx="14"/>
          </p:nvPr>
        </p:nvSpPr>
        <p:spPr/>
        <p:txBody>
          <a:bodyPr/>
          <a:lstStyle/>
          <a:p>
            <a:endParaRPr lang="sv-SE"/>
          </a:p>
        </p:txBody>
      </p:sp>
      <p:graphicFrame>
        <p:nvGraphicFramePr>
          <p:cNvPr id="2" name="Tabell 1">
            <a:extLst>
              <a:ext uri="{FF2B5EF4-FFF2-40B4-BE49-F238E27FC236}">
                <a16:creationId xmlns:a16="http://schemas.microsoft.com/office/drawing/2014/main" id="{327022CD-B64B-17F4-4E5D-7F33A7F76C88}"/>
              </a:ext>
            </a:extLst>
          </p:cNvPr>
          <p:cNvGraphicFramePr>
            <a:graphicFrameLocks noGrp="1"/>
          </p:cNvGraphicFramePr>
          <p:nvPr/>
        </p:nvGraphicFramePr>
        <p:xfrm>
          <a:off x="431798" y="1715707"/>
          <a:ext cx="11328404" cy="2968009"/>
        </p:xfrm>
        <a:graphic>
          <a:graphicData uri="http://schemas.openxmlformats.org/drawingml/2006/table">
            <a:tbl>
              <a:tblPr firstRow="1" firstCol="1" bandRow="1">
                <a:tableStyleId>{5C22544A-7EE6-4342-B048-85BDC9FD1C3A}</a:tableStyleId>
              </a:tblPr>
              <a:tblGrid>
                <a:gridCol w="709921">
                  <a:extLst>
                    <a:ext uri="{9D8B030D-6E8A-4147-A177-3AD203B41FA5}">
                      <a16:colId xmlns:a16="http://schemas.microsoft.com/office/drawing/2014/main" val="3208485592"/>
                    </a:ext>
                  </a:extLst>
                </a:gridCol>
                <a:gridCol w="2129761">
                  <a:extLst>
                    <a:ext uri="{9D8B030D-6E8A-4147-A177-3AD203B41FA5}">
                      <a16:colId xmlns:a16="http://schemas.microsoft.com/office/drawing/2014/main" val="4099183064"/>
                    </a:ext>
                  </a:extLst>
                </a:gridCol>
                <a:gridCol w="3539901">
                  <a:extLst>
                    <a:ext uri="{9D8B030D-6E8A-4147-A177-3AD203B41FA5}">
                      <a16:colId xmlns:a16="http://schemas.microsoft.com/office/drawing/2014/main" val="3733421277"/>
                    </a:ext>
                  </a:extLst>
                </a:gridCol>
                <a:gridCol w="2140539">
                  <a:extLst>
                    <a:ext uri="{9D8B030D-6E8A-4147-A177-3AD203B41FA5}">
                      <a16:colId xmlns:a16="http://schemas.microsoft.com/office/drawing/2014/main" val="3411649266"/>
                    </a:ext>
                  </a:extLst>
                </a:gridCol>
                <a:gridCol w="1261761">
                  <a:extLst>
                    <a:ext uri="{9D8B030D-6E8A-4147-A177-3AD203B41FA5}">
                      <a16:colId xmlns:a16="http://schemas.microsoft.com/office/drawing/2014/main" val="1458500452"/>
                    </a:ext>
                  </a:extLst>
                </a:gridCol>
                <a:gridCol w="1119706">
                  <a:extLst>
                    <a:ext uri="{9D8B030D-6E8A-4147-A177-3AD203B41FA5}">
                      <a16:colId xmlns:a16="http://schemas.microsoft.com/office/drawing/2014/main" val="1639971183"/>
                    </a:ext>
                  </a:extLst>
                </a:gridCol>
                <a:gridCol w="426815">
                  <a:extLst>
                    <a:ext uri="{9D8B030D-6E8A-4147-A177-3AD203B41FA5}">
                      <a16:colId xmlns:a16="http://schemas.microsoft.com/office/drawing/2014/main" val="1329391885"/>
                    </a:ext>
                  </a:extLst>
                </a:gridCol>
              </a:tblGrid>
              <a:tr h="574620">
                <a:tc>
                  <a:txBody>
                    <a:bodyPr/>
                    <a:lstStyle/>
                    <a:p>
                      <a:pPr marL="1905" marR="177800" indent="-6350" algn="l">
                        <a:lnSpc>
                          <a:spcPct val="107000"/>
                        </a:lnSpc>
                        <a:spcAft>
                          <a:spcPts val="825"/>
                        </a:spcAft>
                      </a:pPr>
                      <a:r>
                        <a:rPr lang="sv-SE" sz="1200" kern="100">
                          <a:effectLst/>
                        </a:rPr>
                        <a:t>Step No.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2540" marR="177800" indent="-6350" algn="l">
                        <a:lnSpc>
                          <a:spcPct val="107000"/>
                        </a:lnSpc>
                        <a:spcAft>
                          <a:spcPts val="825"/>
                        </a:spcAft>
                      </a:pPr>
                      <a:r>
                        <a:rPr lang="sv-SE" sz="1200" kern="100">
                          <a:effectLst/>
                        </a:rPr>
                        <a:t>Step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35" marR="177800" indent="-6350" algn="l">
                        <a:lnSpc>
                          <a:spcPct val="107000"/>
                        </a:lnSpc>
                        <a:spcAft>
                          <a:spcPts val="825"/>
                        </a:spcAft>
                      </a:pPr>
                      <a:r>
                        <a:rPr lang="sv-SE" sz="1200" kern="100">
                          <a:effectLst/>
                        </a:rPr>
                        <a:t>Step description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sv-SE" sz="1200" kern="100">
                          <a:effectLst/>
                        </a:rPr>
                        <a:t>Information producer (ac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sv-SE" sz="1200" kern="100">
                          <a:effectLst/>
                        </a:rPr>
                        <a:t>Information receiver (ac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gridSpan="2">
                  <a:txBody>
                    <a:bodyPr/>
                    <a:lstStyle/>
                    <a:p>
                      <a:pPr marL="635" marR="177800" indent="-6350" algn="l">
                        <a:lnSpc>
                          <a:spcPct val="112000"/>
                        </a:lnSpc>
                        <a:spcAft>
                          <a:spcPts val="25"/>
                        </a:spcAft>
                      </a:pPr>
                      <a:r>
                        <a:rPr lang="sv-SE" sz="1200" kern="100">
                          <a:effectLst/>
                        </a:rPr>
                        <a:t>Information exchanged </a:t>
                      </a:r>
                    </a:p>
                    <a:p>
                      <a:pPr marL="635" marR="177800" indent="-6350" algn="l">
                        <a:lnSpc>
                          <a:spcPct val="107000"/>
                        </a:lnSpc>
                        <a:spcAft>
                          <a:spcPts val="825"/>
                        </a:spcAft>
                      </a:pPr>
                      <a:r>
                        <a:rPr lang="sv-SE" sz="1200" kern="100">
                          <a:effectLst/>
                        </a:rPr>
                        <a:t>(IDs)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hMerge="1">
                  <a:txBody>
                    <a:bodyPr/>
                    <a:lstStyle/>
                    <a:p>
                      <a:endParaRPr lang="sv-SE"/>
                    </a:p>
                  </a:txBody>
                  <a:tcPr/>
                </a:tc>
                <a:extLst>
                  <a:ext uri="{0D108BD9-81ED-4DB2-BD59-A6C34878D82A}">
                    <a16:rowId xmlns:a16="http://schemas.microsoft.com/office/drawing/2014/main" val="374326248"/>
                  </a:ext>
                </a:extLst>
              </a:tr>
              <a:tr h="559099">
                <a:tc>
                  <a:txBody>
                    <a:bodyPr/>
                    <a:lstStyle/>
                    <a:p>
                      <a:pPr marL="1905" marR="177800" indent="-6350" algn="l">
                        <a:lnSpc>
                          <a:spcPct val="107000"/>
                        </a:lnSpc>
                        <a:spcAft>
                          <a:spcPts val="825"/>
                        </a:spcAft>
                      </a:pPr>
                      <a:r>
                        <a:rPr lang="sv-SE" sz="1200" kern="100">
                          <a:effectLst/>
                        </a:rPr>
                        <a:t>12.1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2540" marR="22860" indent="-6350" algn="just">
                        <a:lnSpc>
                          <a:spcPct val="107000"/>
                        </a:lnSpc>
                        <a:spcAft>
                          <a:spcPts val="825"/>
                        </a:spcAft>
                      </a:pPr>
                      <a:r>
                        <a:rPr lang="en-US" sz="1200" kern="100">
                          <a:effectLst/>
                        </a:rPr>
                        <a:t>Send necessary data for determining/calculation/ Implementation of the baseline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35" marR="23495" indent="-6350" algn="just">
                        <a:lnSpc>
                          <a:spcPct val="107000"/>
                        </a:lnSpc>
                        <a:spcAft>
                          <a:spcPts val="825"/>
                        </a:spcAft>
                      </a:pPr>
                      <a:r>
                        <a:rPr lang="en-US" sz="1200" kern="100">
                          <a:effectLst/>
                        </a:rPr>
                        <a:t>An eligible party defined in the national TC will acquire the relevant data used in the baselining method for the resource and send the data to the baseline calcula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en-US" sz="1200" kern="100">
                          <a:effectLst/>
                        </a:rPr>
                        <a:t>Eligible 	party defined in the national TC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sv-SE" sz="1200" kern="100">
                          <a:effectLst/>
                        </a:rPr>
                        <a:t>Baseline calcula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gridSpan="2">
                  <a:txBody>
                    <a:bodyPr/>
                    <a:lstStyle/>
                    <a:p>
                      <a:pPr marL="635" marR="177800" indent="-6350" algn="l">
                        <a:lnSpc>
                          <a:spcPct val="107000"/>
                        </a:lnSpc>
                        <a:spcAft>
                          <a:spcPts val="825"/>
                        </a:spcAft>
                      </a:pPr>
                      <a:r>
                        <a:rPr lang="sv-SE" sz="1200" kern="100">
                          <a:effectLst/>
                        </a:rPr>
                        <a:t>AC – Baseline information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hMerge="1">
                  <a:txBody>
                    <a:bodyPr/>
                    <a:lstStyle/>
                    <a:p>
                      <a:endParaRPr lang="sv-SE"/>
                    </a:p>
                  </a:txBody>
                  <a:tcPr/>
                </a:tc>
                <a:extLst>
                  <a:ext uri="{0D108BD9-81ED-4DB2-BD59-A6C34878D82A}">
                    <a16:rowId xmlns:a16="http://schemas.microsoft.com/office/drawing/2014/main" val="2983208298"/>
                  </a:ext>
                </a:extLst>
              </a:tr>
              <a:tr h="393043">
                <a:tc>
                  <a:txBody>
                    <a:bodyPr/>
                    <a:lstStyle/>
                    <a:p>
                      <a:pPr marL="1905" marR="177800" indent="-6350" algn="l">
                        <a:lnSpc>
                          <a:spcPct val="107000"/>
                        </a:lnSpc>
                        <a:spcAft>
                          <a:spcPts val="825"/>
                        </a:spcAft>
                      </a:pPr>
                      <a:r>
                        <a:rPr lang="sv-SE" sz="1200" kern="100">
                          <a:effectLst/>
                        </a:rPr>
                        <a:t>12.2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2540" marR="177800" indent="-6350" algn="l">
                        <a:lnSpc>
                          <a:spcPct val="107000"/>
                        </a:lnSpc>
                        <a:spcAft>
                          <a:spcPts val="825"/>
                        </a:spcAft>
                      </a:pPr>
                      <a:r>
                        <a:rPr lang="sv-SE" sz="1200" kern="100">
                          <a:effectLst/>
                        </a:rPr>
                        <a:t>Determine baseline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35" marR="23495" indent="-635" algn="just">
                        <a:lnSpc>
                          <a:spcPct val="107000"/>
                        </a:lnSpc>
                        <a:spcAft>
                          <a:spcPts val="825"/>
                        </a:spcAft>
                      </a:pPr>
                      <a:r>
                        <a:rPr lang="en-US" sz="1200" kern="100">
                          <a:effectLst/>
                        </a:rPr>
                        <a:t>The baseline calculator determines the baseline using the baselining method and the relevant data.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sv-SE" sz="1200" kern="100">
                          <a:effectLst/>
                        </a:rPr>
                        <a:t>Baseline calcula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1270" marR="177800" indent="-6350" algn="l">
                        <a:lnSpc>
                          <a:spcPct val="107000"/>
                        </a:lnSpc>
                        <a:spcAft>
                          <a:spcPts val="825"/>
                        </a:spcAft>
                      </a:pPr>
                      <a:r>
                        <a:rPr lang="sv-SE" sz="1200" kern="100">
                          <a:effectLst/>
                        </a:rPr>
                        <a:t>[not relevant]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gridSpan="2">
                  <a:txBody>
                    <a:bodyPr/>
                    <a:lstStyle/>
                    <a:p>
                      <a:pPr marL="1270" marR="177800" indent="-6350" algn="l">
                        <a:lnSpc>
                          <a:spcPct val="107000"/>
                        </a:lnSpc>
                        <a:spcAft>
                          <a:spcPts val="825"/>
                        </a:spcAft>
                      </a:pPr>
                      <a:r>
                        <a:rPr lang="sv-SE" sz="1200" kern="100">
                          <a:effectLst/>
                        </a:rPr>
                        <a:t>[not relevant]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hMerge="1">
                  <a:txBody>
                    <a:bodyPr/>
                    <a:lstStyle/>
                    <a:p>
                      <a:endParaRPr lang="sv-SE"/>
                    </a:p>
                  </a:txBody>
                  <a:tcPr/>
                </a:tc>
                <a:extLst>
                  <a:ext uri="{0D108BD9-81ED-4DB2-BD59-A6C34878D82A}">
                    <a16:rowId xmlns:a16="http://schemas.microsoft.com/office/drawing/2014/main" val="1205843841"/>
                  </a:ext>
                </a:extLst>
              </a:tr>
              <a:tr h="1042247">
                <a:tc>
                  <a:txBody>
                    <a:bodyPr/>
                    <a:lstStyle/>
                    <a:p>
                      <a:pPr marL="66040" marR="177800" indent="-6350" algn="l">
                        <a:lnSpc>
                          <a:spcPct val="107000"/>
                        </a:lnSpc>
                        <a:spcAft>
                          <a:spcPts val="825"/>
                        </a:spcAft>
                      </a:pPr>
                      <a:r>
                        <a:rPr lang="sv-SE" sz="1200" kern="100" dirty="0">
                          <a:effectLst/>
                        </a:rPr>
                        <a:t>12.3 </a:t>
                      </a:r>
                      <a:endParaRPr lang="sv-SE" sz="1200" kern="100" dirty="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350" marR="177800" indent="-6350" algn="l">
                        <a:lnSpc>
                          <a:spcPct val="107000"/>
                        </a:lnSpc>
                        <a:spcAft>
                          <a:spcPts val="70"/>
                        </a:spcAft>
                        <a:tabLst>
                          <a:tab pos="516890" algn="ctr"/>
                          <a:tab pos="1087120" algn="r"/>
                        </a:tabLst>
                      </a:pPr>
                      <a:r>
                        <a:rPr lang="en-US" sz="1200" kern="100">
                          <a:effectLst/>
                        </a:rPr>
                        <a:t>Make 	the 	baseline </a:t>
                      </a:r>
                      <a:endParaRPr lang="sv-SE" sz="1200" kern="100">
                        <a:effectLst/>
                      </a:endParaRPr>
                    </a:p>
                    <a:p>
                      <a:pPr marL="66040" marR="177800" indent="-6350" algn="l">
                        <a:lnSpc>
                          <a:spcPct val="107000"/>
                        </a:lnSpc>
                        <a:spcAft>
                          <a:spcPts val="825"/>
                        </a:spcAft>
                      </a:pPr>
                      <a:r>
                        <a:rPr lang="en-US" sz="1200" kern="100">
                          <a:effectLst/>
                        </a:rPr>
                        <a:t>information available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4135" marR="177800" indent="-6350" algn="just">
                        <a:lnSpc>
                          <a:spcPct val="114000"/>
                        </a:lnSpc>
                        <a:spcAft>
                          <a:spcPts val="825"/>
                        </a:spcAft>
                      </a:pPr>
                      <a:r>
                        <a:rPr lang="en-US" sz="1200" kern="100">
                          <a:effectLst/>
                        </a:rPr>
                        <a:t>Baseline calculator sends the baseline to baseline provider.  </a:t>
                      </a:r>
                      <a:endParaRPr lang="sv-SE" sz="1200" kern="100">
                        <a:effectLst/>
                      </a:endParaRPr>
                    </a:p>
                    <a:p>
                      <a:pPr marL="64135" marR="177800" indent="-6350" algn="l">
                        <a:lnSpc>
                          <a:spcPct val="107000"/>
                        </a:lnSpc>
                        <a:spcAft>
                          <a:spcPts val="50"/>
                        </a:spcAft>
                      </a:pPr>
                      <a:r>
                        <a:rPr lang="en-US" sz="1200" kern="100">
                          <a:effectLst/>
                        </a:rPr>
                        <a:t> </a:t>
                      </a:r>
                      <a:endParaRPr lang="sv-SE" sz="1200" kern="100">
                        <a:effectLst/>
                      </a:endParaRPr>
                    </a:p>
                    <a:p>
                      <a:pPr marL="64135" marR="23495" indent="-6350" algn="just">
                        <a:lnSpc>
                          <a:spcPct val="107000"/>
                        </a:lnSpc>
                        <a:spcAft>
                          <a:spcPts val="825"/>
                        </a:spcAft>
                      </a:pPr>
                      <a:r>
                        <a:rPr lang="en-US" sz="1200" kern="100">
                          <a:effectLst/>
                        </a:rPr>
                        <a:t>Note: Baseline provider is responsible for making the baseline available to entitled  parties.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5405" marR="177800" indent="-6350" algn="l">
                        <a:lnSpc>
                          <a:spcPct val="107000"/>
                        </a:lnSpc>
                        <a:spcAft>
                          <a:spcPts val="825"/>
                        </a:spcAft>
                      </a:pPr>
                      <a:r>
                        <a:rPr lang="sv-SE" sz="1200" kern="100">
                          <a:effectLst/>
                        </a:rPr>
                        <a:t>Baseline calculato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5405" marR="3810" indent="-6350" algn="l">
                        <a:lnSpc>
                          <a:spcPct val="107000"/>
                        </a:lnSpc>
                        <a:spcAft>
                          <a:spcPts val="825"/>
                        </a:spcAft>
                      </a:pPr>
                      <a:r>
                        <a:rPr lang="sv-SE" sz="1200" kern="100">
                          <a:effectLst/>
                        </a:rPr>
                        <a:t>Baseline provider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4135" marR="177800" indent="-6350" algn="l">
                        <a:lnSpc>
                          <a:spcPct val="107000"/>
                        </a:lnSpc>
                        <a:spcAft>
                          <a:spcPts val="50"/>
                        </a:spcAft>
                      </a:pPr>
                      <a:r>
                        <a:rPr lang="sv-SE" sz="1200" kern="100">
                          <a:effectLst/>
                        </a:rPr>
                        <a:t>AD </a:t>
                      </a:r>
                    </a:p>
                    <a:p>
                      <a:pPr marL="64135" marR="177800" indent="-6350" algn="l">
                        <a:lnSpc>
                          <a:spcPct val="107000"/>
                        </a:lnSpc>
                        <a:spcAft>
                          <a:spcPts val="825"/>
                        </a:spcAft>
                      </a:pPr>
                      <a:r>
                        <a:rPr lang="sv-SE" sz="1200" kern="100">
                          <a:effectLst/>
                        </a:rPr>
                        <a:t>Timeseries  </a:t>
                      </a:r>
                      <a:endParaRPr lang="sv-SE" sz="1200" kern="100">
                        <a:solidFill>
                          <a:srgbClr val="000000"/>
                        </a:solidFill>
                        <a:effectLst/>
                        <a:latin typeface="Times New Roman" panose="02020603050405020304" pitchFamily="18" charset="0"/>
                        <a:ea typeface="Times New Roman" panose="02020603050405020304" pitchFamily="18" charset="0"/>
                      </a:endParaRPr>
                    </a:p>
                  </a:txBody>
                  <a:tcPr marL="0" marR="43831" marT="30897" marB="0"/>
                </a:tc>
                <a:tc>
                  <a:txBody>
                    <a:bodyPr/>
                    <a:lstStyle/>
                    <a:p>
                      <a:pPr marL="6350" marR="177800" indent="-6350" algn="l">
                        <a:lnSpc>
                          <a:spcPct val="107000"/>
                        </a:lnSpc>
                        <a:spcAft>
                          <a:spcPts val="825"/>
                        </a:spcAft>
                      </a:pPr>
                      <a:r>
                        <a:rPr lang="sv-SE" sz="1200" kern="100" dirty="0">
                          <a:effectLst/>
                        </a:rPr>
                        <a:t>–</a:t>
                      </a:r>
                      <a:endParaRPr lang="sv-SE" sz="1200" kern="100" dirty="0">
                        <a:solidFill>
                          <a:srgbClr val="000000"/>
                        </a:solidFill>
                        <a:effectLst/>
                        <a:latin typeface="Times New Roman" panose="02020603050405020304" pitchFamily="18" charset="0"/>
                        <a:ea typeface="Times New Roman" panose="02020603050405020304" pitchFamily="18" charset="0"/>
                      </a:endParaRPr>
                    </a:p>
                  </a:txBody>
                  <a:tcPr marL="0" marR="43831" marT="30897" marB="0"/>
                </a:tc>
                <a:extLst>
                  <a:ext uri="{0D108BD9-81ED-4DB2-BD59-A6C34878D82A}">
                    <a16:rowId xmlns:a16="http://schemas.microsoft.com/office/drawing/2014/main" val="3427792031"/>
                  </a:ext>
                </a:extLst>
              </a:tr>
            </a:tbl>
          </a:graphicData>
        </a:graphic>
      </p:graphicFrame>
    </p:spTree>
    <p:extLst>
      <p:ext uri="{BB962C8B-B14F-4D97-AF65-F5344CB8AC3E}">
        <p14:creationId xmlns:p14="http://schemas.microsoft.com/office/powerpoint/2010/main" val="24769368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BC375C22-88AD-2C2B-FFE5-8954FCEE4BAF}"/>
              </a:ext>
            </a:extLst>
          </p:cNvPr>
          <p:cNvSpPr>
            <a:spLocks noGrp="1"/>
          </p:cNvSpPr>
          <p:nvPr>
            <p:ph type="title"/>
          </p:nvPr>
        </p:nvSpPr>
        <p:spPr/>
        <p:txBody>
          <a:bodyPr>
            <a:normAutofit/>
          </a:bodyPr>
          <a:lstStyle/>
          <a:p>
            <a:r>
              <a:rPr lang="sv-SE" sz="4000" dirty="0"/>
              <a:t>Process 12 – </a:t>
            </a:r>
            <a:r>
              <a:rPr lang="sv-SE" sz="4000" dirty="0" err="1"/>
              <a:t>Baseline</a:t>
            </a:r>
            <a:endParaRPr lang="sv-SE" sz="4000" dirty="0"/>
          </a:p>
        </p:txBody>
      </p:sp>
      <p:sp>
        <p:nvSpPr>
          <p:cNvPr id="5" name="Platshållare för text 4">
            <a:extLst>
              <a:ext uri="{FF2B5EF4-FFF2-40B4-BE49-F238E27FC236}">
                <a16:creationId xmlns:a16="http://schemas.microsoft.com/office/drawing/2014/main" id="{608C7665-A607-14F2-126A-14097B76347C}"/>
              </a:ext>
            </a:extLst>
          </p:cNvPr>
          <p:cNvSpPr>
            <a:spLocks noGrp="1"/>
          </p:cNvSpPr>
          <p:nvPr>
            <p:ph type="body" sz="quarter" idx="14"/>
          </p:nvPr>
        </p:nvSpPr>
        <p:spPr/>
        <p:txBody>
          <a:bodyPr/>
          <a:lstStyle/>
          <a:p>
            <a:endParaRPr lang="sv-SE"/>
          </a:p>
        </p:txBody>
      </p:sp>
      <p:pic>
        <p:nvPicPr>
          <p:cNvPr id="7" name="Bildobjekt 6">
            <a:extLst>
              <a:ext uri="{FF2B5EF4-FFF2-40B4-BE49-F238E27FC236}">
                <a16:creationId xmlns:a16="http://schemas.microsoft.com/office/drawing/2014/main" id="{BE79AC23-3145-64A3-CC2B-C275E76DE2A6}"/>
              </a:ext>
            </a:extLst>
          </p:cNvPr>
          <p:cNvPicPr>
            <a:picLocks noChangeAspect="1"/>
          </p:cNvPicPr>
          <p:nvPr/>
        </p:nvPicPr>
        <p:blipFill>
          <a:blip r:embed="rId3"/>
          <a:stretch>
            <a:fillRect/>
          </a:stretch>
        </p:blipFill>
        <p:spPr>
          <a:xfrm>
            <a:off x="4610673" y="1491981"/>
            <a:ext cx="6619783" cy="4847334"/>
          </a:xfrm>
          <a:prstGeom prst="rect">
            <a:avLst/>
          </a:prstGeom>
        </p:spPr>
      </p:pic>
    </p:spTree>
    <p:extLst>
      <p:ext uri="{BB962C8B-B14F-4D97-AF65-F5344CB8AC3E}">
        <p14:creationId xmlns:p14="http://schemas.microsoft.com/office/powerpoint/2010/main" val="2847203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B84AF69-FDA4-0315-9A8A-6F3692FD5396}"/>
              </a:ext>
            </a:extLst>
          </p:cNvPr>
          <p:cNvSpPr>
            <a:spLocks noGrp="1"/>
          </p:cNvSpPr>
          <p:nvPr>
            <p:ph type="title"/>
          </p:nvPr>
        </p:nvSpPr>
        <p:spPr/>
        <p:txBody>
          <a:bodyPr/>
          <a:lstStyle/>
          <a:p>
            <a:r>
              <a:rPr lang="sv-SE" dirty="0"/>
              <a:t>Diskussion</a:t>
            </a:r>
          </a:p>
        </p:txBody>
      </p:sp>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4294967295"/>
          </p:nvPr>
        </p:nvSpPr>
        <p:spPr>
          <a:xfrm>
            <a:off x="0" y="1720850"/>
            <a:ext cx="8677275" cy="4371975"/>
          </a:xfrm>
        </p:spPr>
        <p:txBody>
          <a:bodyPr vert="horz" lIns="91440" tIns="45720" rIns="91440" bIns="45720" rtlCol="0" anchor="t">
            <a:normAutofit/>
          </a:bodyPr>
          <a:lstStyle/>
          <a:p>
            <a:endParaRPr lang="sv-SE" sz="1800" dirty="0"/>
          </a:p>
          <a:p>
            <a:endParaRPr lang="sv-SE" sz="1800" i="1" dirty="0"/>
          </a:p>
          <a:p>
            <a:pPr>
              <a:buFont typeface="Wingdings" panose="05000000000000000000" pitchFamily="2" charset="2"/>
              <a:buChar char="v"/>
            </a:pPr>
            <a:endParaRPr lang="sv-SE" sz="2200" dirty="0"/>
          </a:p>
          <a:p>
            <a:pPr lvl="1"/>
            <a:endParaRPr lang="sv-SE" sz="1800" dirty="0"/>
          </a:p>
          <a:p>
            <a:pPr marL="0" indent="0">
              <a:buNone/>
            </a:pPr>
            <a:endParaRPr lang="sv-SE" sz="2200" dirty="0"/>
          </a:p>
          <a:p>
            <a:pPr marL="457200" lvl="1" indent="0">
              <a:buNone/>
            </a:pPr>
            <a:endParaRPr lang="sv-SE" sz="1400" dirty="0"/>
          </a:p>
        </p:txBody>
      </p:sp>
    </p:spTree>
    <p:extLst>
      <p:ext uri="{BB962C8B-B14F-4D97-AF65-F5344CB8AC3E}">
        <p14:creationId xmlns:p14="http://schemas.microsoft.com/office/powerpoint/2010/main" val="1310368476"/>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B84AF69-FDA4-0315-9A8A-6F3692FD5396}"/>
              </a:ext>
            </a:extLst>
          </p:cNvPr>
          <p:cNvSpPr>
            <a:spLocks noGrp="1"/>
          </p:cNvSpPr>
          <p:nvPr>
            <p:ph type="title"/>
          </p:nvPr>
        </p:nvSpPr>
        <p:spPr/>
        <p:txBody>
          <a:bodyPr/>
          <a:lstStyle/>
          <a:p>
            <a:r>
              <a:rPr lang="sv-SE" dirty="0"/>
              <a:t>Bilaga</a:t>
            </a:r>
          </a:p>
        </p:txBody>
      </p:sp>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4294967295"/>
          </p:nvPr>
        </p:nvSpPr>
        <p:spPr>
          <a:xfrm>
            <a:off x="0" y="1720850"/>
            <a:ext cx="8677275" cy="4371975"/>
          </a:xfrm>
        </p:spPr>
        <p:txBody>
          <a:bodyPr vert="horz" lIns="91440" tIns="45720" rIns="91440" bIns="45720" rtlCol="0" anchor="t">
            <a:normAutofit/>
          </a:bodyPr>
          <a:lstStyle/>
          <a:p>
            <a:endParaRPr lang="sv-SE" sz="1800" dirty="0"/>
          </a:p>
          <a:p>
            <a:endParaRPr lang="sv-SE" sz="1800" i="1" dirty="0"/>
          </a:p>
          <a:p>
            <a:pPr>
              <a:buFont typeface="Wingdings" panose="05000000000000000000" pitchFamily="2" charset="2"/>
              <a:buChar char="v"/>
            </a:pPr>
            <a:endParaRPr lang="sv-SE" sz="2200" dirty="0"/>
          </a:p>
          <a:p>
            <a:pPr lvl="1"/>
            <a:endParaRPr lang="sv-SE" sz="1800" dirty="0"/>
          </a:p>
          <a:p>
            <a:pPr marL="0" indent="0">
              <a:buNone/>
            </a:pPr>
            <a:endParaRPr lang="sv-SE" sz="2200" dirty="0"/>
          </a:p>
          <a:p>
            <a:pPr marL="457200" lvl="1" indent="0">
              <a:buNone/>
            </a:pPr>
            <a:endParaRPr lang="sv-SE" sz="1400" dirty="0"/>
          </a:p>
        </p:txBody>
      </p:sp>
    </p:spTree>
    <p:extLst>
      <p:ext uri="{BB962C8B-B14F-4D97-AF65-F5344CB8AC3E}">
        <p14:creationId xmlns:p14="http://schemas.microsoft.com/office/powerpoint/2010/main" val="273347101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14"/>
          </p:nvPr>
        </p:nvSpPr>
        <p:spPr/>
        <p:txBody>
          <a:bodyPr vert="horz" lIns="91440" tIns="45720" rIns="91440" bIns="45720" rtlCol="0" anchor="t">
            <a:normAutofit lnSpcReduction="10000"/>
          </a:bodyPr>
          <a:lstStyle/>
          <a:p>
            <a:pPr marL="0" indent="0">
              <a:buNone/>
            </a:pPr>
            <a:r>
              <a:rPr lang="sv-SE" sz="1800" b="1" dirty="0"/>
              <a:t>Innehåll:</a:t>
            </a:r>
          </a:p>
          <a:p>
            <a:r>
              <a:rPr lang="sv-SE" sz="1800" dirty="0"/>
              <a:t>Beskriver utkast på genomförandeförordningen för demand response</a:t>
            </a:r>
          </a:p>
          <a:p>
            <a:r>
              <a:rPr lang="sv-SE" sz="1800" dirty="0"/>
              <a:t>Beskriver kort vad EU:s </a:t>
            </a:r>
            <a:r>
              <a:rPr lang="sv-SE" sz="1800" dirty="0" err="1"/>
              <a:t>referensmodeller</a:t>
            </a:r>
            <a:r>
              <a:rPr lang="sv-SE" sz="1800" dirty="0"/>
              <a:t> är</a:t>
            </a:r>
          </a:p>
          <a:p>
            <a:r>
              <a:rPr lang="sv-SE" sz="1800" dirty="0"/>
              <a:t>Beskriver övergripande förslaget på 15 processer som nu är på remiss hos EU DSO Entity</a:t>
            </a:r>
          </a:p>
          <a:p>
            <a:pPr lvl="1"/>
            <a:r>
              <a:rPr lang="sv-SE" sz="1800" dirty="0"/>
              <a:t>Rollerna</a:t>
            </a:r>
          </a:p>
          <a:p>
            <a:pPr lvl="1"/>
            <a:r>
              <a:rPr lang="sv-SE" sz="1800" dirty="0"/>
              <a:t>Processerna</a:t>
            </a:r>
          </a:p>
          <a:p>
            <a:pPr marL="457200" lvl="1" indent="0">
              <a:buNone/>
            </a:pPr>
            <a:endParaRPr lang="sv-SE" sz="1800" dirty="0"/>
          </a:p>
          <a:p>
            <a:pPr marL="0" indent="0">
              <a:buNone/>
            </a:pPr>
            <a:r>
              <a:rPr lang="sv-SE" sz="1800" b="1" dirty="0"/>
              <a:t>Syfte:</a:t>
            </a:r>
          </a:p>
          <a:p>
            <a:r>
              <a:rPr lang="sv-SE" sz="1800" dirty="0"/>
              <a:t>Få en övergripande förståelse för innehållet i genomförandeförordningen</a:t>
            </a:r>
          </a:p>
          <a:p>
            <a:r>
              <a:rPr lang="sv-SE" sz="1800" dirty="0"/>
              <a:t>Få en övergripande förståelse för arbetssättet med EU:s </a:t>
            </a:r>
            <a:r>
              <a:rPr lang="sv-SE" sz="1800" dirty="0" err="1"/>
              <a:t>referensmodeller</a:t>
            </a:r>
            <a:endParaRPr lang="sv-SE" sz="1800" dirty="0"/>
          </a:p>
          <a:p>
            <a:r>
              <a:rPr lang="sv-SE" sz="1800" dirty="0"/>
              <a:t>Kunna ge input till arbetet i Bryssel </a:t>
            </a:r>
            <a:r>
              <a:rPr lang="sv-SE" sz="1800" i="1" dirty="0"/>
              <a:t>(om inte denna gång så vid nästa remiss)</a:t>
            </a:r>
            <a:endParaRPr lang="sv-SE" sz="1800" dirty="0"/>
          </a:p>
          <a:p>
            <a:endParaRPr lang="sv-SE" sz="1800" dirty="0"/>
          </a:p>
          <a:p>
            <a:endParaRPr lang="sv-SE" sz="1800" i="1" dirty="0"/>
          </a:p>
          <a:p>
            <a:pPr>
              <a:buFont typeface="Wingdings" panose="05000000000000000000" pitchFamily="2" charset="2"/>
              <a:buChar char="v"/>
            </a:pPr>
            <a:endParaRPr lang="sv-SE" sz="2200" dirty="0"/>
          </a:p>
          <a:p>
            <a:pPr lvl="1"/>
            <a:endParaRPr lang="sv-SE" sz="1800" dirty="0"/>
          </a:p>
          <a:p>
            <a:pPr marL="0" indent="0">
              <a:buNone/>
            </a:pPr>
            <a:endParaRPr lang="sv-SE" sz="2200" dirty="0"/>
          </a:p>
          <a:p>
            <a:pPr marL="457200" lvl="1" indent="0">
              <a:buNone/>
            </a:pPr>
            <a:endParaRPr lang="sv-SE" sz="1400" dirty="0"/>
          </a:p>
        </p:txBody>
      </p:sp>
      <p:sp>
        <p:nvSpPr>
          <p:cNvPr id="2" name="Rubrik 1">
            <a:extLst>
              <a:ext uri="{FF2B5EF4-FFF2-40B4-BE49-F238E27FC236}">
                <a16:creationId xmlns:a16="http://schemas.microsoft.com/office/drawing/2014/main" id="{EBEB3511-6024-5EDD-65EB-EC3A7EDC1B66}"/>
              </a:ext>
            </a:extLst>
          </p:cNvPr>
          <p:cNvSpPr>
            <a:spLocks noGrp="1"/>
          </p:cNvSpPr>
          <p:nvPr>
            <p:ph type="title"/>
          </p:nvPr>
        </p:nvSpPr>
        <p:spPr/>
        <p:txBody>
          <a:bodyPr/>
          <a:lstStyle/>
          <a:p>
            <a:r>
              <a:rPr lang="sv-SE" dirty="0"/>
              <a:t>Dagens </a:t>
            </a:r>
            <a:r>
              <a:rPr lang="sv-SE" dirty="0" err="1"/>
              <a:t>webbinarium</a:t>
            </a:r>
            <a:endParaRPr lang="sv-SE" dirty="0"/>
          </a:p>
        </p:txBody>
      </p:sp>
    </p:spTree>
    <p:extLst>
      <p:ext uri="{BB962C8B-B14F-4D97-AF65-F5344CB8AC3E}">
        <p14:creationId xmlns:p14="http://schemas.microsoft.com/office/powerpoint/2010/main" val="270260396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D6DA49-8DAB-5EF8-2ACA-EBAA2C81E534}"/>
              </a:ext>
            </a:extLst>
          </p:cNvPr>
          <p:cNvSpPr>
            <a:spLocks noGrp="1"/>
          </p:cNvSpPr>
          <p:nvPr>
            <p:ph idx="1"/>
          </p:nvPr>
        </p:nvSpPr>
        <p:spPr>
          <a:xfrm>
            <a:off x="756555" y="2004060"/>
            <a:ext cx="10515600" cy="3395281"/>
          </a:xfrm>
        </p:spPr>
        <p:txBody>
          <a:bodyPr/>
          <a:lstStyle/>
          <a:p>
            <a:pPr>
              <a:buSzPct val="100000"/>
              <a:buFont typeface="Arial" panose="020B0604020202020204" pitchFamily="34" charset="0"/>
              <a:buChar char="•"/>
            </a:pPr>
            <a:r>
              <a:rPr lang="en-US" sz="2000"/>
              <a:t>Articles 23 and 24 of the Directive 944/2019 state that:</a:t>
            </a:r>
          </a:p>
          <a:p>
            <a:pPr>
              <a:buSzPct val="100000"/>
              <a:buFont typeface="Arial" panose="020B0604020202020204" pitchFamily="34" charset="0"/>
              <a:buChar char="•"/>
            </a:pPr>
            <a:endParaRPr lang="en-US" sz="2000"/>
          </a:p>
          <a:p>
            <a:pPr>
              <a:buSzPct val="100000"/>
              <a:buFont typeface="Arial" panose="020B0604020202020204" pitchFamily="34" charset="0"/>
              <a:buChar char="•"/>
            </a:pPr>
            <a:endParaRPr lang="en-US" sz="2000"/>
          </a:p>
          <a:p>
            <a:pPr>
              <a:buSzPct val="100000"/>
              <a:buFont typeface="Arial" panose="020B0604020202020204" pitchFamily="34" charset="0"/>
              <a:buChar char="•"/>
            </a:pPr>
            <a:endParaRPr lang="en-US" sz="2000"/>
          </a:p>
          <a:p>
            <a:pPr>
              <a:buSzPct val="100000"/>
              <a:buFont typeface="Arial" panose="020B0604020202020204" pitchFamily="34" charset="0"/>
              <a:buChar char="•"/>
            </a:pPr>
            <a:endParaRPr lang="en-US" sz="2000"/>
          </a:p>
          <a:p>
            <a:pPr>
              <a:buSzPct val="100000"/>
              <a:buFont typeface="Arial" panose="020B0604020202020204" pitchFamily="34" charset="0"/>
              <a:buChar char="•"/>
            </a:pPr>
            <a:r>
              <a:rPr lang="en-US" sz="2000"/>
              <a:t>As a result, a series of Implementing Regulations are being developed:</a:t>
            </a:r>
            <a:endParaRPr lang="en-GB" sz="2000"/>
          </a:p>
        </p:txBody>
      </p:sp>
      <p:sp>
        <p:nvSpPr>
          <p:cNvPr id="2" name="Title 1">
            <a:extLst>
              <a:ext uri="{FF2B5EF4-FFF2-40B4-BE49-F238E27FC236}">
                <a16:creationId xmlns:a16="http://schemas.microsoft.com/office/drawing/2014/main" id="{5192DAF9-BEE6-69C7-6BBD-C1B4DBFC3654}"/>
              </a:ext>
            </a:extLst>
          </p:cNvPr>
          <p:cNvSpPr>
            <a:spLocks noGrp="1"/>
          </p:cNvSpPr>
          <p:nvPr>
            <p:ph type="title"/>
          </p:nvPr>
        </p:nvSpPr>
        <p:spPr>
          <a:xfrm>
            <a:off x="756555" y="765779"/>
            <a:ext cx="10721070" cy="965531"/>
          </a:xfrm>
        </p:spPr>
        <p:txBody>
          <a:bodyPr>
            <a:normAutofit fontScale="90000"/>
          </a:bodyPr>
          <a:lstStyle/>
          <a:p>
            <a:r>
              <a:rPr lang="en-GB"/>
              <a:t>Background of the IA DR – </a:t>
            </a:r>
            <a:r>
              <a:rPr lang="en-GB" sz="3100" b="0"/>
              <a:t>Legal Mandate and the JWG with ENTSO-E</a:t>
            </a:r>
            <a:endParaRPr lang="en-GB" b="0"/>
          </a:p>
        </p:txBody>
      </p:sp>
      <p:sp>
        <p:nvSpPr>
          <p:cNvPr id="7" name="TextBox 6">
            <a:extLst>
              <a:ext uri="{FF2B5EF4-FFF2-40B4-BE49-F238E27FC236}">
                <a16:creationId xmlns:a16="http://schemas.microsoft.com/office/drawing/2014/main" id="{6772E4A4-1F2A-487C-D923-78BBEAF0FA9C}"/>
              </a:ext>
            </a:extLst>
          </p:cNvPr>
          <p:cNvSpPr txBox="1"/>
          <p:nvPr/>
        </p:nvSpPr>
        <p:spPr>
          <a:xfrm>
            <a:off x="586087" y="2439058"/>
            <a:ext cx="11019825" cy="1477328"/>
          </a:xfrm>
          <a:prstGeom prst="rect">
            <a:avLst/>
          </a:prstGeom>
          <a:solidFill>
            <a:schemeClr val="accent3">
              <a:lumMod val="90000"/>
            </a:schemeClr>
          </a:solidFill>
        </p:spPr>
        <p:txBody>
          <a:bodyPr wrap="square">
            <a:spAutoFit/>
          </a:bodyPr>
          <a:lstStyle>
            <a:defPPr>
              <a:defRPr lang="en-US"/>
            </a:defPPr>
            <a:lvl1pPr indent="0">
              <a:buNone/>
              <a:defRPr i="1"/>
            </a:lvl1p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In order to promote competition in the retail market and to avoid excessive administrative costs for the eligible parties, Member States shall facilitate the full interoperability of energy services within the Un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The Commission shall adopt, by means of implementing acts, interoperability requirements and non-discriminatory and transparent procedures for access to [metering and consumption data as well as data required for customer switching, demand response and other services.]</a:t>
            </a:r>
          </a:p>
        </p:txBody>
      </p:sp>
      <p:sp>
        <p:nvSpPr>
          <p:cNvPr id="4" name="Arrow: Right 3">
            <a:extLst>
              <a:ext uri="{FF2B5EF4-FFF2-40B4-BE49-F238E27FC236}">
                <a16:creationId xmlns:a16="http://schemas.microsoft.com/office/drawing/2014/main" id="{C545BC73-1767-F3C3-67E6-933D6B06C260}"/>
              </a:ext>
            </a:extLst>
          </p:cNvPr>
          <p:cNvSpPr/>
          <p:nvPr/>
        </p:nvSpPr>
        <p:spPr>
          <a:xfrm>
            <a:off x="1021596" y="4152375"/>
            <a:ext cx="10275570" cy="82296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322C2A8-7D7D-992B-44A5-EE1C338F5321}"/>
              </a:ext>
            </a:extLst>
          </p:cNvPr>
          <p:cNvSpPr txBox="1"/>
          <p:nvPr/>
        </p:nvSpPr>
        <p:spPr>
          <a:xfrm>
            <a:off x="756553" y="4972866"/>
            <a:ext cx="269748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July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ublished the implementing regulation on </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metering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IR 2023/1162)</a:t>
            </a:r>
          </a:p>
        </p:txBody>
      </p:sp>
      <p:sp>
        <p:nvSpPr>
          <p:cNvPr id="8" name="TextBox 7">
            <a:extLst>
              <a:ext uri="{FF2B5EF4-FFF2-40B4-BE49-F238E27FC236}">
                <a16:creationId xmlns:a16="http://schemas.microsoft.com/office/drawing/2014/main" id="{1FAEFDB9-E520-E7FA-90D4-C5722EB5A70B}"/>
              </a:ext>
            </a:extLst>
          </p:cNvPr>
          <p:cNvSpPr txBox="1"/>
          <p:nvPr/>
        </p:nvSpPr>
        <p:spPr>
          <a:xfrm>
            <a:off x="3644029" y="4972866"/>
            <a:ext cx="269748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October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bmission to EC of the draft implementing regulation on </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Customer Switching</a:t>
            </a:r>
          </a:p>
        </p:txBody>
      </p:sp>
      <p:sp>
        <p:nvSpPr>
          <p:cNvPr id="9" name="TextBox 8">
            <a:extLst>
              <a:ext uri="{FF2B5EF4-FFF2-40B4-BE49-F238E27FC236}">
                <a16:creationId xmlns:a16="http://schemas.microsoft.com/office/drawing/2014/main" id="{2D94E021-821B-521F-38BB-2A79DE2E9103}"/>
              </a:ext>
            </a:extLst>
          </p:cNvPr>
          <p:cNvSpPr txBox="1"/>
          <p:nvPr/>
        </p:nvSpPr>
        <p:spPr>
          <a:xfrm>
            <a:off x="6493406" y="4972866"/>
            <a:ext cx="269748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Q2 20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bmission to EC of the draft IA on </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Demand Response (phase 1) consistent with ACER’s draft of NC DR</a:t>
            </a:r>
          </a:p>
        </p:txBody>
      </p:sp>
      <p:sp>
        <p:nvSpPr>
          <p:cNvPr id="10" name="TextBox 9">
            <a:extLst>
              <a:ext uri="{FF2B5EF4-FFF2-40B4-BE49-F238E27FC236}">
                <a16:creationId xmlns:a16="http://schemas.microsoft.com/office/drawing/2014/main" id="{3A07E059-C5ED-DC88-A26A-7086FF4C36F5}"/>
              </a:ext>
            </a:extLst>
          </p:cNvPr>
          <p:cNvSpPr txBox="1"/>
          <p:nvPr/>
        </p:nvSpPr>
        <p:spPr>
          <a:xfrm>
            <a:off x="8986107" y="4972866"/>
            <a:ext cx="2697480"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Q4 202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bmission to EC of the draft IA on </a:t>
            </a: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Demand Response (phase 2) consistent with ACER’s draft of NC D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522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D6DA49-8DAB-5EF8-2ACA-EBAA2C81E534}"/>
              </a:ext>
            </a:extLst>
          </p:cNvPr>
          <p:cNvSpPr>
            <a:spLocks noGrp="1"/>
          </p:cNvSpPr>
          <p:nvPr>
            <p:ph idx="1"/>
          </p:nvPr>
        </p:nvSpPr>
        <p:spPr>
          <a:xfrm>
            <a:off x="756555" y="2028825"/>
            <a:ext cx="10515600" cy="3646741"/>
          </a:xfrm>
        </p:spPr>
        <p:txBody>
          <a:bodyPr>
            <a:normAutofit fontScale="92500" lnSpcReduction="10000"/>
          </a:bodyPr>
          <a:lstStyle/>
          <a:p>
            <a:pPr>
              <a:buSzPct val="100000"/>
              <a:buFont typeface="Arial" panose="020B0604020202020204" pitchFamily="34" charset="0"/>
              <a:buChar char="•"/>
            </a:pPr>
            <a:r>
              <a:rPr lang="en-US" sz="2000"/>
              <a:t>To deliver the obligations in the Directive 944/2019, IR 2023/1162 indicated that:</a:t>
            </a:r>
          </a:p>
          <a:p>
            <a:pPr>
              <a:buSzPct val="100000"/>
              <a:buFont typeface="Arial" panose="020B0604020202020204" pitchFamily="34" charset="0"/>
              <a:buChar char="•"/>
            </a:pPr>
            <a:endParaRPr lang="en-US" sz="2000"/>
          </a:p>
          <a:p>
            <a:endParaRPr lang="en-GB" sz="2000"/>
          </a:p>
          <a:p>
            <a:endParaRPr lang="en-GB" sz="2000"/>
          </a:p>
          <a:p>
            <a:pPr>
              <a:buSzPct val="100000"/>
              <a:buFont typeface="Arial" panose="020B0604020202020204" pitchFamily="34" charset="0"/>
              <a:buChar char="•"/>
            </a:pPr>
            <a:r>
              <a:rPr lang="en-GB" sz="2000"/>
              <a:t>To deliver this mandate, DSO Entity created the </a:t>
            </a:r>
            <a:r>
              <a:rPr lang="en-GB" sz="2000" b="1"/>
              <a:t>Joint Working Group </a:t>
            </a:r>
            <a:r>
              <a:rPr lang="en-GB" sz="2000"/>
              <a:t>(JWG) for Data Interoperability with ENTSO-E in June 2023. </a:t>
            </a:r>
            <a:r>
              <a:rPr lang="en-GB" sz="2000" b="1"/>
              <a:t>From the DSO Entity, this work is coordinated by EG DI</a:t>
            </a:r>
            <a:r>
              <a:rPr lang="en-GB" sz="2000"/>
              <a:t>.</a:t>
            </a:r>
          </a:p>
          <a:p>
            <a:pPr>
              <a:buSzPct val="100000"/>
              <a:buFont typeface="Arial" panose="020B0604020202020204" pitchFamily="34" charset="0"/>
              <a:buChar char="•"/>
            </a:pPr>
            <a:r>
              <a:rPr lang="en-GB" sz="2000"/>
              <a:t>The JWG has </a:t>
            </a:r>
            <a:r>
              <a:rPr lang="en-GB" sz="2000" b="1"/>
              <a:t>three task forces</a:t>
            </a:r>
            <a:r>
              <a:rPr lang="en-GB" sz="2000"/>
              <a:t>. </a:t>
            </a:r>
            <a:r>
              <a:rPr lang="en-GB" sz="2000" b="1"/>
              <a:t>One already delivered</a:t>
            </a:r>
            <a:r>
              <a:rPr lang="en-GB" sz="2000"/>
              <a:t> a guidance document to the Implement Regulation on Metering Data (IR 2023/1162). In addition to the draft of the IR in Customer Switching being discussed today, the </a:t>
            </a:r>
            <a:r>
              <a:rPr lang="en-GB" sz="2000" b="1"/>
              <a:t>other two task forces are developing</a:t>
            </a:r>
            <a:r>
              <a:rPr lang="en-GB" sz="2000"/>
              <a:t>: </a:t>
            </a:r>
          </a:p>
          <a:p>
            <a:pPr lvl="1">
              <a:buSzPct val="100000"/>
            </a:pPr>
            <a:r>
              <a:rPr lang="en-GB" sz="2000"/>
              <a:t>a draft Implementing Act on Demand Response (based on the draft of the NC DR); and</a:t>
            </a:r>
          </a:p>
          <a:p>
            <a:pPr lvl="1">
              <a:buSzPct val="100000"/>
            </a:pPr>
            <a:r>
              <a:rPr lang="en-GB" sz="2000"/>
              <a:t>proposals to ensure that standard models (e.g. CIM or HEMRM) are aligned with the Implementing Regulation on Data Interoperability. </a:t>
            </a:r>
          </a:p>
        </p:txBody>
      </p:sp>
      <p:sp>
        <p:nvSpPr>
          <p:cNvPr id="2" name="Title 1">
            <a:extLst>
              <a:ext uri="{FF2B5EF4-FFF2-40B4-BE49-F238E27FC236}">
                <a16:creationId xmlns:a16="http://schemas.microsoft.com/office/drawing/2014/main" id="{5192DAF9-BEE6-69C7-6BBD-C1B4DBFC3654}"/>
              </a:ext>
            </a:extLst>
          </p:cNvPr>
          <p:cNvSpPr>
            <a:spLocks noGrp="1"/>
          </p:cNvSpPr>
          <p:nvPr>
            <p:ph type="title"/>
          </p:nvPr>
        </p:nvSpPr>
        <p:spPr>
          <a:xfrm>
            <a:off x="756554" y="765779"/>
            <a:ext cx="10921095" cy="965531"/>
          </a:xfrm>
        </p:spPr>
        <p:txBody>
          <a:bodyPr>
            <a:noAutofit/>
          </a:bodyPr>
          <a:lstStyle/>
          <a:p>
            <a:r>
              <a:rPr lang="en-GB" sz="3600"/>
              <a:t>Background of the work for the IR Customer Services – </a:t>
            </a:r>
            <a:r>
              <a:rPr lang="en-GB" sz="2800" b="0"/>
              <a:t>Legal Mandate and the JWG with ENTSO-E (2)</a:t>
            </a:r>
            <a:endParaRPr lang="en-GB" sz="3600" b="0"/>
          </a:p>
        </p:txBody>
      </p:sp>
      <p:sp>
        <p:nvSpPr>
          <p:cNvPr id="5" name="TextBox 4">
            <a:extLst>
              <a:ext uri="{FF2B5EF4-FFF2-40B4-BE49-F238E27FC236}">
                <a16:creationId xmlns:a16="http://schemas.microsoft.com/office/drawing/2014/main" id="{50892D2D-7493-7EAF-9C77-3B02F582BDC3}"/>
              </a:ext>
            </a:extLst>
          </p:cNvPr>
          <p:cNvSpPr txBox="1"/>
          <p:nvPr/>
        </p:nvSpPr>
        <p:spPr>
          <a:xfrm>
            <a:off x="586087" y="2493569"/>
            <a:ext cx="11019825" cy="923330"/>
          </a:xfrm>
          <a:prstGeom prst="rect">
            <a:avLst/>
          </a:prstGeom>
          <a:solidFill>
            <a:schemeClr val="accent3">
              <a:lumMod val="9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ENTSO-E and DSO Entity] may also cooperate in assisting the Commission […] in developing, as part of future implementing acts, interoperability requirements and non- discriminatory and transparent procedures for access to data required for customer switching, demand response, and other services…</a:t>
            </a:r>
            <a:endParaRPr kumimoji="0" lang="en-GB"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47943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BB440-CDDB-494C-17C7-EBC17FEC6100}"/>
              </a:ext>
            </a:extLst>
          </p:cNvPr>
          <p:cNvSpPr>
            <a:spLocks noGrp="1"/>
          </p:cNvSpPr>
          <p:nvPr>
            <p:ph type="title"/>
          </p:nvPr>
        </p:nvSpPr>
        <p:spPr/>
        <p:txBody>
          <a:bodyPr>
            <a:normAutofit fontScale="90000"/>
          </a:bodyPr>
          <a:lstStyle/>
          <a:p>
            <a:r>
              <a:rPr lang="en-GB"/>
              <a:t>Procedures for master data (need approval by JWG and European Commission)</a:t>
            </a:r>
          </a:p>
        </p:txBody>
      </p:sp>
      <p:graphicFrame>
        <p:nvGraphicFramePr>
          <p:cNvPr id="4" name="Table 3">
            <a:extLst>
              <a:ext uri="{FF2B5EF4-FFF2-40B4-BE49-F238E27FC236}">
                <a16:creationId xmlns:a16="http://schemas.microsoft.com/office/drawing/2014/main" id="{BD8C51D9-E8C8-EF8E-7028-96B156F3D2C2}"/>
              </a:ext>
            </a:extLst>
          </p:cNvPr>
          <p:cNvGraphicFramePr>
            <a:graphicFrameLocks noGrp="1"/>
          </p:cNvGraphicFramePr>
          <p:nvPr/>
        </p:nvGraphicFramePr>
        <p:xfrm>
          <a:off x="1800225" y="2559049"/>
          <a:ext cx="8191500" cy="2836418"/>
        </p:xfrm>
        <a:graphic>
          <a:graphicData uri="http://schemas.openxmlformats.org/drawingml/2006/table">
            <a:tbl>
              <a:tblPr firstRow="1" firstCol="1" bandRow="1">
                <a:tableStyleId>{5C22544A-7EE6-4342-B048-85BDC9FD1C3A}</a:tableStyleId>
              </a:tblPr>
              <a:tblGrid>
                <a:gridCol w="408219">
                  <a:extLst>
                    <a:ext uri="{9D8B030D-6E8A-4147-A177-3AD203B41FA5}">
                      <a16:colId xmlns:a16="http://schemas.microsoft.com/office/drawing/2014/main" val="684533265"/>
                    </a:ext>
                  </a:extLst>
                </a:gridCol>
                <a:gridCol w="7783281">
                  <a:extLst>
                    <a:ext uri="{9D8B030D-6E8A-4147-A177-3AD203B41FA5}">
                      <a16:colId xmlns:a16="http://schemas.microsoft.com/office/drawing/2014/main" val="2276260784"/>
                    </a:ext>
                  </a:extLst>
                </a:gridCol>
              </a:tblGrid>
              <a:tr h="0">
                <a:tc gridSpan="2">
                  <a:txBody>
                    <a:bodyPr/>
                    <a:lstStyle/>
                    <a:p>
                      <a:pPr>
                        <a:lnSpc>
                          <a:spcPct val="107000"/>
                        </a:lnSpc>
                        <a:spcAft>
                          <a:spcPts val="800"/>
                        </a:spcAft>
                      </a:pPr>
                      <a:r>
                        <a:rPr lang="en-US" sz="1400">
                          <a:effectLst/>
                          <a:latin typeface="Avenir" panose="02000503020000020003"/>
                        </a:rPr>
                        <a:t>Information Object Accounting Point Master Data</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hMerge="1">
                  <a:txBody>
                    <a:bodyPr/>
                    <a:lstStyle/>
                    <a:p>
                      <a:endParaRPr lang="en-GB"/>
                    </a:p>
                  </a:txBody>
                  <a:tcPr>
                    <a:lnL w="12700" cap="flat" cmpd="sng" algn="ctr">
                      <a:solidFill>
                        <a:schemeClr val="accent2"/>
                      </a:solidFill>
                      <a:prstDash val="solid"/>
                      <a:round/>
                      <a:headEnd type="none" w="med" len="med"/>
                      <a:tailEnd type="none" w="med" len="med"/>
                    </a:lnL>
                  </a:tcPr>
                </a:tc>
                <a:extLst>
                  <a:ext uri="{0D108BD9-81ED-4DB2-BD59-A6C34878D82A}">
                    <a16:rowId xmlns:a16="http://schemas.microsoft.com/office/drawing/2014/main" val="4148219468"/>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1</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GB" sz="1400">
                          <a:effectLst/>
                          <a:latin typeface="Avenir" panose="02000503020000020003"/>
                        </a:rPr>
                        <a:t>Access to accounting point master data by the final customer</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134704541"/>
                  </a:ext>
                </a:extLst>
              </a:tr>
              <a:tr h="0">
                <a:tc>
                  <a:txBody>
                    <a:bodyPr/>
                    <a:lstStyle/>
                    <a:p>
                      <a:pPr>
                        <a:lnSpc>
                          <a:spcPct val="107000"/>
                        </a:lnSpc>
                        <a:spcAft>
                          <a:spcPts val="800"/>
                        </a:spcAft>
                      </a:pPr>
                      <a:r>
                        <a:rPr lang="en-GB" sz="1400" b="0">
                          <a:solidFill>
                            <a:schemeClr val="tx1"/>
                          </a:solidFill>
                          <a:effectLst/>
                          <a:latin typeface="Avenir" panose="02000503020000020003"/>
                          <a:ea typeface="Calibri" panose="020F0502020204030204" pitchFamily="34" charset="0"/>
                          <a:cs typeface="Arial" panose="020B0604020202020204" pitchFamily="34" charset="0"/>
                        </a:rPr>
                        <a:t>2</a:t>
                      </a: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Access to accounting point master data by an eligible party</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132889177"/>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3</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Termination of access to future accounting point master data changes by the eligible party</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958999459"/>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4</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Revocation of access to future accounting point master data changes by the final customer</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047626623"/>
                  </a:ext>
                </a:extLst>
              </a:tr>
              <a:tr h="0">
                <a:tc gridSpan="2">
                  <a:txBody>
                    <a:bodyPr/>
                    <a:lstStyle/>
                    <a:p>
                      <a:pPr>
                        <a:lnSpc>
                          <a:spcPct val="107000"/>
                        </a:lnSpc>
                        <a:spcAft>
                          <a:spcPts val="800"/>
                        </a:spcAft>
                      </a:pPr>
                      <a:r>
                        <a:rPr lang="en-US" sz="1400">
                          <a:effectLst/>
                          <a:latin typeface="Avenir" panose="02000503020000020003"/>
                        </a:rPr>
                        <a:t>Information Object Connection Agreement Point Master Data</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hMerge="1">
                  <a:txBody>
                    <a:bodyPr/>
                    <a:lstStyle/>
                    <a:p>
                      <a:endParaRPr lang="en-GB"/>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363989021"/>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5</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GB" sz="1400">
                          <a:effectLst/>
                          <a:latin typeface="Avenir" panose="02000503020000020003"/>
                        </a:rPr>
                        <a:t>Access to connection agreement point master data by the final customer</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125286347"/>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6</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Access to connection agreement point master data by an eligible party</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04684774"/>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7</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Termination of access to future connection agreement point master data changes by the eligible party</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352448369"/>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8</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Revocation of access to future connection agreement point master data changes by the final customer</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62890046"/>
                  </a:ext>
                </a:extLst>
              </a:tr>
              <a:tr h="0">
                <a:tc gridSpan="2">
                  <a:txBody>
                    <a:bodyPr/>
                    <a:lstStyle/>
                    <a:p>
                      <a:pPr>
                        <a:lnSpc>
                          <a:spcPct val="107000"/>
                        </a:lnSpc>
                        <a:spcAft>
                          <a:spcPts val="800"/>
                        </a:spcAft>
                      </a:pPr>
                      <a:r>
                        <a:rPr lang="en-US" sz="1400">
                          <a:effectLst/>
                          <a:latin typeface="Avenir" panose="02000503020000020003"/>
                        </a:rPr>
                        <a:t>Information Object Market Party Master Data</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hMerge="1">
                  <a:txBody>
                    <a:bodyPr/>
                    <a:lstStyle/>
                    <a:p>
                      <a:endParaRPr lang="en-GB"/>
                    </a:p>
                  </a:txBody>
                  <a:tcP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640245331"/>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9</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Access to market party master data</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600673624"/>
                  </a:ext>
                </a:extLst>
              </a:tr>
              <a:tr h="0">
                <a:tc>
                  <a:txBody>
                    <a:bodyPr/>
                    <a:lstStyle/>
                    <a:p>
                      <a:pPr>
                        <a:lnSpc>
                          <a:spcPct val="107000"/>
                        </a:lnSpc>
                        <a:spcAft>
                          <a:spcPts val="800"/>
                        </a:spcAft>
                      </a:pPr>
                      <a:r>
                        <a:rPr lang="en-US" sz="1400" b="0">
                          <a:solidFill>
                            <a:schemeClr val="tx1"/>
                          </a:solidFill>
                          <a:effectLst/>
                          <a:latin typeface="Avenir" panose="02000503020000020003"/>
                          <a:ea typeface="Calibri" panose="020F0502020204030204" pitchFamily="34" charset="0"/>
                          <a:cs typeface="Arial" panose="020B0604020202020204" pitchFamily="34" charset="0"/>
                        </a:rPr>
                        <a:t>10</a:t>
                      </a:r>
                      <a:endParaRPr lang="en-GB" sz="1400" b="0">
                        <a:solidFill>
                          <a:schemeClr val="tx1"/>
                        </a:solidFill>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pPr>
                        <a:lnSpc>
                          <a:spcPct val="107000"/>
                        </a:lnSpc>
                        <a:spcAft>
                          <a:spcPts val="800"/>
                        </a:spcAft>
                      </a:pPr>
                      <a:r>
                        <a:rPr lang="en-US" sz="1400">
                          <a:effectLst/>
                          <a:latin typeface="Avenir" panose="02000503020000020003"/>
                        </a:rPr>
                        <a:t>Access to list of market parties by their role</a:t>
                      </a:r>
                      <a:endParaRPr lang="en-GB" sz="1400">
                        <a:effectLst/>
                        <a:latin typeface="Avenir" panose="02000503020000020003"/>
                        <a:ea typeface="Calibri" panose="020F0502020204030204" pitchFamily="34" charset="0"/>
                        <a:cs typeface="Arial" panose="020B0604020202020204" pitchFamily="34" charset="0"/>
                      </a:endParaRPr>
                    </a:p>
                  </a:txBody>
                  <a:tcPr marL="63575" marR="63575" marT="0" marB="0">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10139719"/>
                  </a:ext>
                </a:extLst>
              </a:tr>
            </a:tbl>
          </a:graphicData>
        </a:graphic>
      </p:graphicFrame>
    </p:spTree>
    <p:extLst>
      <p:ext uri="{BB962C8B-B14F-4D97-AF65-F5344CB8AC3E}">
        <p14:creationId xmlns:p14="http://schemas.microsoft.com/office/powerpoint/2010/main" val="1578411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14"/>
          </p:nvPr>
        </p:nvSpPr>
        <p:spPr/>
        <p:txBody>
          <a:bodyPr vert="horz" lIns="91440" tIns="45720" rIns="91440" bIns="45720" rtlCol="0" anchor="t">
            <a:normAutofit fontScale="92500" lnSpcReduction="10000"/>
          </a:bodyPr>
          <a:lstStyle/>
          <a:p>
            <a:r>
              <a:rPr lang="sv-SE" sz="1800" dirty="0"/>
              <a:t>Just nu tar EU DSO och </a:t>
            </a:r>
            <a:r>
              <a:rPr lang="sv-SE" sz="1800" dirty="0" err="1"/>
              <a:t>ENTSO:e</a:t>
            </a:r>
            <a:r>
              <a:rPr lang="sv-SE" sz="1800" dirty="0"/>
              <a:t> fram utkast på genomförandeförordning till nätkoden demand response. </a:t>
            </a:r>
          </a:p>
          <a:p>
            <a:r>
              <a:rPr lang="sv-SE" sz="1800" dirty="0"/>
              <a:t>Första delen är på remiss just nu hos DSO Entity tom 4:e april och ska lämnas in till Kommissionen i sommar.</a:t>
            </a:r>
          </a:p>
          <a:p>
            <a:r>
              <a:rPr lang="sv-SE" sz="1800" dirty="0"/>
              <a:t>Andra delen ska tas fram under hösten.</a:t>
            </a:r>
          </a:p>
          <a:p>
            <a:r>
              <a:rPr lang="sv-SE" sz="1800" dirty="0"/>
              <a:t>Den bygger på genomförandeförordningen för mätdata och genomförandeförordningen för elhandlarbyte (ej publicerad än)</a:t>
            </a:r>
          </a:p>
          <a:p>
            <a:r>
              <a:rPr lang="sv-SE" sz="1800" dirty="0"/>
              <a:t>Den rör DSO om </a:t>
            </a:r>
          </a:p>
          <a:p>
            <a:pPr lvl="1"/>
            <a:r>
              <a:rPr lang="sv-SE" sz="1800" dirty="0"/>
              <a:t>DSO har kunder i sitt elnät som deltar på balansmarknaden </a:t>
            </a:r>
          </a:p>
          <a:p>
            <a:pPr lvl="1"/>
            <a:r>
              <a:rPr lang="sv-SE" sz="1800" dirty="0"/>
              <a:t>DSO är köpare av tjänster för congestion </a:t>
            </a:r>
            <a:r>
              <a:rPr lang="sv-SE" sz="1800" dirty="0" err="1"/>
              <a:t>managment</a:t>
            </a:r>
            <a:r>
              <a:rPr lang="sv-SE" sz="1800" dirty="0"/>
              <a:t> och spänningsreglering </a:t>
            </a:r>
          </a:p>
          <a:p>
            <a:pPr lvl="1"/>
            <a:r>
              <a:rPr lang="sv-SE" sz="1800" dirty="0"/>
              <a:t>DSO har villkorade avtal </a:t>
            </a:r>
          </a:p>
          <a:p>
            <a:pPr lvl="1"/>
            <a:r>
              <a:rPr lang="sv-SE" sz="1800" dirty="0"/>
              <a:t>DSO är berörd part för kund som deltar på balansmarknader eller lokala marknader (köpare kan vara DSO eller TSO)</a:t>
            </a:r>
          </a:p>
        </p:txBody>
      </p:sp>
      <p:sp>
        <p:nvSpPr>
          <p:cNvPr id="2" name="Rubrik 1">
            <a:extLst>
              <a:ext uri="{FF2B5EF4-FFF2-40B4-BE49-F238E27FC236}">
                <a16:creationId xmlns:a16="http://schemas.microsoft.com/office/drawing/2014/main" id="{EBEB3511-6024-5EDD-65EB-EC3A7EDC1B66}"/>
              </a:ext>
            </a:extLst>
          </p:cNvPr>
          <p:cNvSpPr>
            <a:spLocks noGrp="1"/>
          </p:cNvSpPr>
          <p:nvPr>
            <p:ph type="title"/>
          </p:nvPr>
        </p:nvSpPr>
        <p:spPr/>
        <p:txBody>
          <a:bodyPr/>
          <a:lstStyle/>
          <a:p>
            <a:r>
              <a:rPr lang="sv-SE"/>
              <a:t>Genomförandeförordning demand response</a:t>
            </a:r>
          </a:p>
        </p:txBody>
      </p:sp>
      <p:sp>
        <p:nvSpPr>
          <p:cNvPr id="5" name="Platshållare för text 4">
            <a:extLst>
              <a:ext uri="{FF2B5EF4-FFF2-40B4-BE49-F238E27FC236}">
                <a16:creationId xmlns:a16="http://schemas.microsoft.com/office/drawing/2014/main" id="{A998DA4A-2BF1-6DE4-F1AE-A65A0BF0762C}"/>
              </a:ext>
            </a:extLst>
          </p:cNvPr>
          <p:cNvSpPr>
            <a:spLocks noGrp="1"/>
          </p:cNvSpPr>
          <p:nvPr>
            <p:ph type="body" sz="quarter" idx="18"/>
          </p:nvPr>
        </p:nvSpPr>
        <p:spPr/>
        <p:txBody>
          <a:bodyPr/>
          <a:lstStyle/>
          <a:p>
            <a:endParaRPr lang="sv-SE"/>
          </a:p>
        </p:txBody>
      </p:sp>
    </p:spTree>
    <p:extLst>
      <p:ext uri="{BB962C8B-B14F-4D97-AF65-F5344CB8AC3E}">
        <p14:creationId xmlns:p14="http://schemas.microsoft.com/office/powerpoint/2010/main" val="271305632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5B60DCA-500F-07F8-E458-7DC0B7545FB4}"/>
              </a:ext>
            </a:extLst>
          </p:cNvPr>
          <p:cNvSpPr>
            <a:spLocks noGrp="1"/>
          </p:cNvSpPr>
          <p:nvPr>
            <p:ph type="body" sz="quarter" idx="14"/>
          </p:nvPr>
        </p:nvSpPr>
        <p:spPr/>
        <p:txBody>
          <a:bodyPr vert="horz" lIns="91440" tIns="45720" rIns="91440" bIns="45720" rtlCol="0" anchor="t">
            <a:normAutofit/>
          </a:bodyPr>
          <a:lstStyle/>
          <a:p>
            <a:r>
              <a:rPr lang="sv-SE" sz="1800" dirty="0"/>
              <a:t>Informationsutbyte mellan SO:s, t ex prognoser, historisk data och nätmodell (national TCs)</a:t>
            </a:r>
            <a:endParaRPr lang="sv-SE" sz="1400" dirty="0"/>
          </a:p>
          <a:p>
            <a:r>
              <a:rPr lang="sv-SE" sz="1800" dirty="0"/>
              <a:t>Informationsutbyte mellan marknader, t ex vidareförmedling av bud från lokal marknad, information om kapacitet från överliggande elnät (national TCs, </a:t>
            </a:r>
            <a:r>
              <a:rPr lang="sv-SE" sz="1800" dirty="0" err="1"/>
              <a:t>ev</a:t>
            </a:r>
            <a:r>
              <a:rPr lang="sv-SE" sz="1800" dirty="0"/>
              <a:t> EU-metod)</a:t>
            </a:r>
          </a:p>
          <a:p>
            <a:r>
              <a:rPr lang="sv-SE" sz="1800" dirty="0"/>
              <a:t>Standarder för produkter (EU-metod)</a:t>
            </a:r>
          </a:p>
          <a:p>
            <a:r>
              <a:rPr lang="sv-SE" sz="1800" dirty="0"/>
              <a:t>Det finns en diskussion om standardisering av informationsutbyte av masterdata  samt om energidelning</a:t>
            </a:r>
          </a:p>
          <a:p>
            <a:endParaRPr lang="sv-SE" sz="1800" dirty="0"/>
          </a:p>
        </p:txBody>
      </p:sp>
      <p:sp>
        <p:nvSpPr>
          <p:cNvPr id="2" name="Rubrik 1">
            <a:extLst>
              <a:ext uri="{FF2B5EF4-FFF2-40B4-BE49-F238E27FC236}">
                <a16:creationId xmlns:a16="http://schemas.microsoft.com/office/drawing/2014/main" id="{EBEB3511-6024-5EDD-65EB-EC3A7EDC1B66}"/>
              </a:ext>
            </a:extLst>
          </p:cNvPr>
          <p:cNvSpPr>
            <a:spLocks noGrp="1"/>
          </p:cNvSpPr>
          <p:nvPr>
            <p:ph type="title"/>
          </p:nvPr>
        </p:nvSpPr>
        <p:spPr/>
        <p:txBody>
          <a:bodyPr/>
          <a:lstStyle/>
          <a:p>
            <a:r>
              <a:rPr lang="sv-SE" dirty="0"/>
              <a:t>Vilket informationsutbyte från NC DR ingår inte?</a:t>
            </a:r>
          </a:p>
        </p:txBody>
      </p:sp>
      <p:sp>
        <p:nvSpPr>
          <p:cNvPr id="5" name="Platshållare för text 4">
            <a:extLst>
              <a:ext uri="{FF2B5EF4-FFF2-40B4-BE49-F238E27FC236}">
                <a16:creationId xmlns:a16="http://schemas.microsoft.com/office/drawing/2014/main" id="{6EA04F18-6185-97B1-0BEE-0AFCBB827859}"/>
              </a:ext>
            </a:extLst>
          </p:cNvPr>
          <p:cNvSpPr>
            <a:spLocks noGrp="1"/>
          </p:cNvSpPr>
          <p:nvPr>
            <p:ph type="body" sz="quarter" idx="18"/>
          </p:nvPr>
        </p:nvSpPr>
        <p:spPr/>
        <p:txBody>
          <a:bodyPr/>
          <a:lstStyle/>
          <a:p>
            <a:endParaRPr lang="sv-SE"/>
          </a:p>
        </p:txBody>
      </p:sp>
    </p:spTree>
    <p:extLst>
      <p:ext uri="{BB962C8B-B14F-4D97-AF65-F5344CB8AC3E}">
        <p14:creationId xmlns:p14="http://schemas.microsoft.com/office/powerpoint/2010/main" val="91778540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00AB7E8F-E2FB-FB7E-69B4-5C10723A60E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C4E561-B2A0-43B9-9354-226792DEECED}" type="datetime1">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4-07</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Platshållare för sidfot 3">
            <a:extLst>
              <a:ext uri="{FF2B5EF4-FFF2-40B4-BE49-F238E27FC236}">
                <a16:creationId xmlns:a16="http://schemas.microsoft.com/office/drawing/2014/main" id="{AA322A1D-7AE8-671F-3D7E-D1ABEF2ECCCF}"/>
              </a:ext>
            </a:extLst>
          </p:cNvPr>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Presentation</a:t>
            </a:r>
          </a:p>
        </p:txBody>
      </p:sp>
      <p:sp>
        <p:nvSpPr>
          <p:cNvPr id="5" name="Platshållare för bildnummer 4">
            <a:extLst>
              <a:ext uri="{FF2B5EF4-FFF2-40B4-BE49-F238E27FC236}">
                <a16:creationId xmlns:a16="http://schemas.microsoft.com/office/drawing/2014/main" id="{9C6DCF59-2F25-D95C-8B03-598FE156DE6C}"/>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CA53D8-D7BF-ED48-A5DE-B35EC4CD5AE9}"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text 5">
            <a:extLst>
              <a:ext uri="{FF2B5EF4-FFF2-40B4-BE49-F238E27FC236}">
                <a16:creationId xmlns:a16="http://schemas.microsoft.com/office/drawing/2014/main" id="{9E35E95D-0935-48A8-5032-5D29582EA39A}"/>
              </a:ext>
            </a:extLst>
          </p:cNvPr>
          <p:cNvSpPr>
            <a:spLocks noGrp="1"/>
          </p:cNvSpPr>
          <p:nvPr>
            <p:ph type="body" sz="quarter" idx="18"/>
          </p:nvPr>
        </p:nvSpPr>
        <p:spPr/>
        <p:txBody>
          <a:bodyPr/>
          <a:lstStyle/>
          <a:p>
            <a:endParaRPr lang="sv-SE"/>
          </a:p>
        </p:txBody>
      </p:sp>
      <p:graphicFrame>
        <p:nvGraphicFramePr>
          <p:cNvPr id="8" name="Table 3">
            <a:extLst>
              <a:ext uri="{FF2B5EF4-FFF2-40B4-BE49-F238E27FC236}">
                <a16:creationId xmlns:a16="http://schemas.microsoft.com/office/drawing/2014/main" id="{0737DBDF-FD76-AB00-7B53-18A9232FB57C}"/>
              </a:ext>
            </a:extLst>
          </p:cNvPr>
          <p:cNvGraphicFramePr>
            <a:graphicFrameLocks noGrp="1"/>
          </p:cNvGraphicFramePr>
          <p:nvPr/>
        </p:nvGraphicFramePr>
        <p:xfrm>
          <a:off x="485775" y="1532414"/>
          <a:ext cx="4324350" cy="4236720"/>
        </p:xfrm>
        <a:graphic>
          <a:graphicData uri="http://schemas.openxmlformats.org/drawingml/2006/table">
            <a:tbl>
              <a:tblPr firstRow="1" firstCol="1" bandRow="1"/>
              <a:tblGrid>
                <a:gridCol w="495300">
                  <a:extLst>
                    <a:ext uri="{9D8B030D-6E8A-4147-A177-3AD203B41FA5}">
                      <a16:colId xmlns:a16="http://schemas.microsoft.com/office/drawing/2014/main" val="1346388558"/>
                    </a:ext>
                  </a:extLst>
                </a:gridCol>
                <a:gridCol w="3829050">
                  <a:extLst>
                    <a:ext uri="{9D8B030D-6E8A-4147-A177-3AD203B41FA5}">
                      <a16:colId xmlns:a16="http://schemas.microsoft.com/office/drawing/2014/main" val="3038232984"/>
                    </a:ext>
                  </a:extLst>
                </a:gridCol>
              </a:tblGrid>
              <a:tr h="0">
                <a:tc>
                  <a:txBody>
                    <a:bodyPr/>
                    <a:lstStyle/>
                    <a:p>
                      <a:pPr algn="ctr"/>
                      <a:r>
                        <a:rPr lang="en-GB" sz="1200" b="1">
                          <a:solidFill>
                            <a:srgbClr val="FFFFFF"/>
                          </a:solidFill>
                          <a:effectLst/>
                          <a:latin typeface="Times New Roman" panose="02020603050405020304" pitchFamily="18" charset="0"/>
                          <a:ea typeface="Aptos" panose="020B0004020202020204" pitchFamily="34" charset="0"/>
                          <a:cs typeface="Aptos" panose="020B0004020202020204" pitchFamily="34" charset="0"/>
                        </a:rPr>
                        <a:t>No.</a:t>
                      </a:r>
                      <a:endParaRPr lang="en-GB" sz="1200">
                        <a:effectLst/>
                        <a:latin typeface="Times New Roman" panose="02020603050405020304" pitchFamily="18" charset="0"/>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tc>
                  <a:txBody>
                    <a:bodyPr/>
                    <a:lstStyle/>
                    <a:p>
                      <a:pPr algn="ctr"/>
                      <a:r>
                        <a:rPr lang="en-GB" sz="1200" b="1">
                          <a:solidFill>
                            <a:srgbClr val="FFFFFF"/>
                          </a:solidFill>
                          <a:effectLst/>
                          <a:latin typeface="Times New Roman" panose="02020603050405020304" pitchFamily="18" charset="0"/>
                          <a:ea typeface="Aptos" panose="020B0004020202020204" pitchFamily="34" charset="0"/>
                          <a:cs typeface="Aptos" panose="020B0004020202020204" pitchFamily="34" charset="0"/>
                        </a:rPr>
                        <a:t>Procedure name</a:t>
                      </a:r>
                      <a:endParaRPr lang="en-GB" sz="1200">
                        <a:effectLst/>
                        <a:latin typeface="Times New Roman" panose="02020603050405020304" pitchFamily="18" charset="0"/>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extLst>
                  <a:ext uri="{0D108BD9-81ED-4DB2-BD59-A6C34878D82A}">
                    <a16:rowId xmlns:a16="http://schemas.microsoft.com/office/drawing/2014/main" val="3865967314"/>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latin typeface="Avenir" panose="02000503020000020003"/>
                          <a:ea typeface="Aptos" panose="020B0004020202020204" pitchFamily="34" charset="0"/>
                          <a:cs typeface="Aptos" panose="020B0004020202020204" pitchFamily="34" charset="0"/>
                        </a:rPr>
                        <a:t>General access to flexibility register (public) information</a:t>
                      </a:r>
                      <a:endParaRPr lang="en-GB" sz="1400" dirty="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280660545"/>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 2</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General access to the flexibility register (data)by an eligible party</a:t>
                      </a:r>
                      <a:endParaRPr lang="en-GB" sz="1400" dirty="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202238253"/>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3</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CU registration</a:t>
                      </a:r>
                      <a:endParaRPr lang="en-GB" sz="1400" dirty="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4198311466"/>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 4</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Update CU</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657988239"/>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 5</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De-registration CU</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404314934"/>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 6</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Suspension of CU by an entitled party</a:t>
                      </a:r>
                      <a:endParaRPr lang="en-GB" sz="1400" dirty="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486605593"/>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7</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Re-activation of CU</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802730560"/>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8</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Service provider registration</a:t>
                      </a:r>
                      <a:endParaRPr lang="en-GB" sz="1400" dirty="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64994250"/>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9</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Service contract revocation by customer</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682670598"/>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0</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Service contract termination by flexibility service provider</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496720633"/>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1</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Baseline data handling</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981441337"/>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2</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Quantification of the delivered services</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794103406"/>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3</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effectLst/>
                          <a:highlight>
                            <a:srgbClr val="00FF00"/>
                          </a:highlight>
                          <a:latin typeface="Avenir" panose="02000503020000020003"/>
                          <a:ea typeface="Aptos" panose="020B0004020202020204" pitchFamily="34" charset="0"/>
                          <a:cs typeface="Aptos" panose="020B0004020202020204" pitchFamily="34" charset="0"/>
                        </a:rPr>
                        <a:t>Settlement [name to be modified]</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506225720"/>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4</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Service Provider switching initiated by the new service provider</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313708827"/>
                  </a:ext>
                </a:extLst>
              </a:tr>
              <a:tr h="0">
                <a:tc>
                  <a:txBody>
                    <a:bodyPr/>
                    <a:lstStyle/>
                    <a:p>
                      <a:pPr algn="ctr"/>
                      <a:r>
                        <a:rPr lang="en-GB" sz="1400">
                          <a:solidFill>
                            <a:srgbClr val="000000"/>
                          </a:solidFill>
                          <a:effectLst/>
                          <a:latin typeface="Avenir" panose="02000503020000020003"/>
                          <a:ea typeface="Aptos" panose="020B0004020202020204" pitchFamily="34" charset="0"/>
                          <a:cs typeface="Aptos" panose="020B0004020202020204" pitchFamily="34" charset="0"/>
                        </a:rPr>
                        <a:t>15</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latin typeface="Avenir" panose="02000503020000020003"/>
                          <a:ea typeface="Aptos" panose="020B0004020202020204" pitchFamily="34" charset="0"/>
                          <a:cs typeface="Aptos" panose="020B0004020202020204" pitchFamily="34" charset="0"/>
                        </a:rPr>
                        <a:t>Third party CU Operator registration</a:t>
                      </a:r>
                      <a:endParaRPr lang="en-GB" sz="1400" dirty="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877574533"/>
                  </a:ext>
                </a:extLst>
              </a:tr>
            </a:tbl>
          </a:graphicData>
        </a:graphic>
      </p:graphicFrame>
      <p:graphicFrame>
        <p:nvGraphicFramePr>
          <p:cNvPr id="9" name="Table 4">
            <a:extLst>
              <a:ext uri="{FF2B5EF4-FFF2-40B4-BE49-F238E27FC236}">
                <a16:creationId xmlns:a16="http://schemas.microsoft.com/office/drawing/2014/main" id="{FC7A77AA-134D-4FD3-4609-8AA0F45A0C85}"/>
              </a:ext>
            </a:extLst>
          </p:cNvPr>
          <p:cNvGraphicFramePr>
            <a:graphicFrameLocks noGrp="1"/>
          </p:cNvGraphicFramePr>
          <p:nvPr/>
        </p:nvGraphicFramePr>
        <p:xfrm>
          <a:off x="6096000" y="1532414"/>
          <a:ext cx="4941404" cy="4693920"/>
        </p:xfrm>
        <a:graphic>
          <a:graphicData uri="http://schemas.openxmlformats.org/drawingml/2006/table">
            <a:tbl>
              <a:tblPr firstRow="1" firstCol="1" bandRow="1"/>
              <a:tblGrid>
                <a:gridCol w="491835">
                  <a:extLst>
                    <a:ext uri="{9D8B030D-6E8A-4147-A177-3AD203B41FA5}">
                      <a16:colId xmlns:a16="http://schemas.microsoft.com/office/drawing/2014/main" val="1346388558"/>
                    </a:ext>
                  </a:extLst>
                </a:gridCol>
                <a:gridCol w="3091542">
                  <a:extLst>
                    <a:ext uri="{9D8B030D-6E8A-4147-A177-3AD203B41FA5}">
                      <a16:colId xmlns:a16="http://schemas.microsoft.com/office/drawing/2014/main" val="3038232984"/>
                    </a:ext>
                  </a:extLst>
                </a:gridCol>
                <a:gridCol w="1358027">
                  <a:extLst>
                    <a:ext uri="{9D8B030D-6E8A-4147-A177-3AD203B41FA5}">
                      <a16:colId xmlns:a16="http://schemas.microsoft.com/office/drawing/2014/main" val="3863114916"/>
                    </a:ext>
                  </a:extLst>
                </a:gridCol>
              </a:tblGrid>
              <a:tr h="0">
                <a:tc>
                  <a:txBody>
                    <a:bodyPr/>
                    <a:lstStyle/>
                    <a:p>
                      <a:pPr algn="ctr"/>
                      <a:r>
                        <a:rPr lang="en-GB" sz="1400" b="1">
                          <a:solidFill>
                            <a:srgbClr val="FFFFFF"/>
                          </a:solidFill>
                          <a:effectLst/>
                          <a:latin typeface="Avenir" panose="02000503020000020003"/>
                          <a:ea typeface="Aptos" panose="020B0004020202020204" pitchFamily="34" charset="0"/>
                          <a:cs typeface="Aptos" panose="020B0004020202020204" pitchFamily="34" charset="0"/>
                        </a:rPr>
                        <a:t>No.</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tc>
                  <a:txBody>
                    <a:bodyPr/>
                    <a:lstStyle/>
                    <a:p>
                      <a:pPr algn="ctr"/>
                      <a:r>
                        <a:rPr lang="en-GB" sz="1400" b="1">
                          <a:solidFill>
                            <a:srgbClr val="FFFFFF"/>
                          </a:solidFill>
                          <a:effectLst/>
                          <a:latin typeface="Avenir" panose="02000503020000020003"/>
                          <a:ea typeface="Aptos" panose="020B0004020202020204" pitchFamily="34" charset="0"/>
                          <a:cs typeface="Aptos" panose="020B0004020202020204" pitchFamily="34" charset="0"/>
                        </a:rPr>
                        <a:t>Procedure name</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tc>
                  <a:txBody>
                    <a:bodyPr/>
                    <a:lstStyle/>
                    <a:p>
                      <a:pPr algn="ctr"/>
                      <a:r>
                        <a:rPr lang="en-GB" sz="1400" b="1">
                          <a:solidFill>
                            <a:srgbClr val="FFFFFF"/>
                          </a:solidFill>
                          <a:effectLst/>
                          <a:latin typeface="Avenir" panose="02000503020000020003"/>
                          <a:ea typeface="Aptos" panose="020B0004020202020204" pitchFamily="34" charset="0"/>
                          <a:cs typeface="Aptos" panose="020B0004020202020204" pitchFamily="34" charset="0"/>
                        </a:rPr>
                        <a:t>Phase 2</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extLst>
                  <a:ext uri="{0D108BD9-81ED-4DB2-BD59-A6C34878D82A}">
                    <a16:rowId xmlns:a16="http://schemas.microsoft.com/office/drawing/2014/main" val="3865967314"/>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SPG/U registration</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295565439"/>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2</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SPG/U applic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41185406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3</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Update SPG/U</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594719884"/>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4</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De-registration SPG/U</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842135943"/>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5</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latin typeface="Avenir" panose="02000503020000020003"/>
                          <a:ea typeface="Aptos" panose="020B0004020202020204" pitchFamily="34" charset="0"/>
                          <a:cs typeface="Aptos" panose="020B0004020202020204" pitchFamily="34" charset="0"/>
                        </a:rPr>
                        <a:t>Suspension of SPG/U by an entitled party</a:t>
                      </a: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85456888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6</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SPG/U grid prequalific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3406248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7</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SPG/U switching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948711344"/>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8</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SPG/U revoc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628805566"/>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9</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SPG/U confirm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3051"/>
                          </a:solidFill>
                          <a:effectLst/>
                          <a:uLnTx/>
                          <a:uFillTx/>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32075524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0</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effectLst/>
                          <a:highlight>
                            <a:srgbClr val="00FF00"/>
                          </a:highlight>
                          <a:latin typeface="Avenir" panose="02000503020000020003"/>
                          <a:ea typeface="Aptos" panose="020B0004020202020204" pitchFamily="34" charset="0"/>
                          <a:cs typeface="Aptos" panose="020B0004020202020204" pitchFamily="34" charset="0"/>
                        </a:rPr>
                        <a:t>CU grid prequalific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50770821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1</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CU switching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505266812"/>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2</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CU revoc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124976893"/>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3</a:t>
                      </a:r>
                    </a:p>
                  </a:txBody>
                  <a:tcPr marL="68580" marR="68580" marT="0" marB="0">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effectLst/>
                          <a:latin typeface="Avenir" panose="02000503020000020003"/>
                          <a:ea typeface="Aptos" panose="020B0004020202020204" pitchFamily="34" charset="0"/>
                          <a:cs typeface="Aptos" panose="020B0004020202020204" pitchFamily="34" charset="0"/>
                        </a:rPr>
                        <a:t>CU termination procedure</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endParaRPr lang="en-GB" sz="1400">
                        <a:effectLs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506143051"/>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4</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FF00FF"/>
                          </a:highlight>
                          <a:latin typeface="Avenir" panose="02000503020000020003"/>
                          <a:ea typeface="Aptos" panose="020B0004020202020204" pitchFamily="34" charset="0"/>
                          <a:cs typeface="Aptos" panose="020B0004020202020204" pitchFamily="34" charset="0"/>
                        </a:rPr>
                        <a:t>Product verification</a:t>
                      </a:r>
                      <a:endParaRPr lang="en-GB" sz="1400" dirty="0">
                        <a:effectLst/>
                        <a:highlight>
                          <a:srgbClr val="FF00FF"/>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r>
                        <a:rPr lang="en-GB" sz="1400">
                          <a:effectLst/>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3061725253"/>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5</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Activation or execution of a flexibility product</a:t>
                      </a:r>
                      <a:endParaRPr lang="en-GB" sz="1400" dirty="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r>
                        <a:rPr lang="en-GB" sz="1400">
                          <a:effectLst/>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1891322965"/>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6</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Flexible Connection agreement</a:t>
                      </a:r>
                      <a:endParaRPr lang="en-GB" sz="140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r>
                        <a:rPr lang="en-GB" sz="1400">
                          <a:effectLst/>
                          <a:latin typeface="Avenir" panose="02000503020000020003"/>
                          <a:ea typeface="Aptos" panose="020B0004020202020204" pitchFamily="34" charset="0"/>
                          <a:cs typeface="Aptos" panose="020B0004020202020204" pitchFamily="34" charset="0"/>
                        </a:rPr>
                        <a:t>Scope to be agreed</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456698397"/>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7</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a:solidFill>
                            <a:srgbClr val="000000"/>
                          </a:solidFill>
                          <a:effectLst/>
                          <a:highlight>
                            <a:srgbClr val="00FF00"/>
                          </a:highlight>
                          <a:latin typeface="Avenir" panose="02000503020000020003"/>
                          <a:ea typeface="Aptos" panose="020B0004020202020204" pitchFamily="34" charset="0"/>
                          <a:cs typeface="Aptos" panose="020B0004020202020204" pitchFamily="34" charset="0"/>
                        </a:rPr>
                        <a:t>Temporary limits</a:t>
                      </a:r>
                      <a:endParaRPr lang="en-GB" sz="1400">
                        <a:effectLst/>
                        <a:highlight>
                          <a:srgbClr val="00FF00"/>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r>
                        <a:rPr lang="en-GB" sz="1400">
                          <a:effectLst/>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646912043"/>
                  </a:ext>
                </a:extLst>
              </a:tr>
              <a:tr h="0">
                <a:tc>
                  <a:txBody>
                    <a:bodyPr/>
                    <a:lstStyle/>
                    <a:p>
                      <a:pPr algn="ctr"/>
                      <a:r>
                        <a:rPr lang="en-GB" sz="1400">
                          <a:effectLst/>
                          <a:latin typeface="Avenir" panose="02000503020000020003"/>
                          <a:ea typeface="Aptos" panose="020B0004020202020204" pitchFamily="34" charset="0"/>
                          <a:cs typeface="Aptos" panose="020B0004020202020204" pitchFamily="34" charset="0"/>
                        </a:rPr>
                        <a:t>18</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D9D9D9"/>
                    </a:solidFill>
                  </a:tcPr>
                </a:tc>
                <a:tc>
                  <a:txBody>
                    <a:bodyPr/>
                    <a:lstStyle/>
                    <a:p>
                      <a:r>
                        <a:rPr lang="en-GB" sz="1400" dirty="0">
                          <a:solidFill>
                            <a:srgbClr val="000000"/>
                          </a:solidFill>
                          <a:effectLst/>
                          <a:highlight>
                            <a:srgbClr val="FF00FF"/>
                          </a:highlight>
                          <a:latin typeface="Avenir" panose="02000503020000020003"/>
                          <a:ea typeface="Aptos" panose="020B0004020202020204" pitchFamily="34" charset="0"/>
                          <a:cs typeface="Aptos" panose="020B0004020202020204" pitchFamily="34" charset="0"/>
                        </a:rPr>
                        <a:t>Bidding</a:t>
                      </a:r>
                      <a:endParaRPr lang="en-GB" sz="1400" dirty="0">
                        <a:effectLst/>
                        <a:highlight>
                          <a:srgbClr val="FF00FF"/>
                        </a:highlight>
                        <a:latin typeface="Avenir" panose="02000503020000020003"/>
                        <a:ea typeface="Aptos" panose="020B0004020202020204" pitchFamily="34" charset="0"/>
                        <a:cs typeface="Aptos" panose="020B0004020202020204" pitchFamily="34" charset="0"/>
                      </a:endParaRP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tc>
                  <a:txBody>
                    <a:bodyPr/>
                    <a:lstStyle/>
                    <a:p>
                      <a:pPr algn="ctr"/>
                      <a:r>
                        <a:rPr lang="en-GB" sz="1400" dirty="0">
                          <a:effectLst/>
                          <a:latin typeface="Avenir" panose="02000503020000020003"/>
                          <a:ea typeface="Aptos" panose="020B0004020202020204" pitchFamily="34" charset="0"/>
                          <a:cs typeface="Aptos" panose="020B0004020202020204" pitchFamily="34" charset="0"/>
                        </a:rPr>
                        <a:t>x</a:t>
                      </a:r>
                    </a:p>
                  </a:txBody>
                  <a:tcPr marL="68580" marR="68580" marT="0" marB="0" anchor="b">
                    <a:lnL w="12700" cap="flat" cmpd="sng" algn="ctr">
                      <a:solidFill>
                        <a:srgbClr val="ED7D31"/>
                      </a:solidFill>
                      <a:prstDash val="solid"/>
                      <a:round/>
                      <a:headEnd type="none" w="med" len="med"/>
                      <a:tailEnd type="none" w="med" len="med"/>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noFill/>
                  </a:tcPr>
                </a:tc>
                <a:extLst>
                  <a:ext uri="{0D108BD9-81ED-4DB2-BD59-A6C34878D82A}">
                    <a16:rowId xmlns:a16="http://schemas.microsoft.com/office/drawing/2014/main" val="2780937401"/>
                  </a:ext>
                </a:extLst>
              </a:tr>
            </a:tbl>
          </a:graphicData>
        </a:graphic>
      </p:graphicFrame>
      <p:sp>
        <p:nvSpPr>
          <p:cNvPr id="10" name="TextBox 6">
            <a:extLst>
              <a:ext uri="{FF2B5EF4-FFF2-40B4-BE49-F238E27FC236}">
                <a16:creationId xmlns:a16="http://schemas.microsoft.com/office/drawing/2014/main" id="{C190A4BE-5352-3CD7-3D7C-68729CDA1301}"/>
              </a:ext>
            </a:extLst>
          </p:cNvPr>
          <p:cNvSpPr txBox="1"/>
          <p:nvPr/>
        </p:nvSpPr>
        <p:spPr>
          <a:xfrm>
            <a:off x="5018314" y="6317774"/>
            <a:ext cx="6096000"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 Procedures could be introduced in phase 1 if time allows</a:t>
            </a:r>
            <a:endParaRPr kumimoji="0" lang="en-GB"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rPr>
              <a:t>** These procedures could constitute more than one procedure in the final version to account for articles 36 and 37 of the current version of the NC DR.</a:t>
            </a:r>
            <a:endParaRPr kumimoji="0" lang="en-GB" sz="1800" b="0" i="0" u="none" strike="noStrike" kern="1200" cap="none" spc="0" normalizeH="0" baseline="0" noProof="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p:txBody>
      </p:sp>
      <p:sp>
        <p:nvSpPr>
          <p:cNvPr id="11" name="Rektangel 10">
            <a:extLst>
              <a:ext uri="{FF2B5EF4-FFF2-40B4-BE49-F238E27FC236}">
                <a16:creationId xmlns:a16="http://schemas.microsoft.com/office/drawing/2014/main" id="{1FBEC0AB-9767-4BF3-6630-39071C82341B}"/>
              </a:ext>
            </a:extLst>
          </p:cNvPr>
          <p:cNvSpPr/>
          <p:nvPr/>
        </p:nvSpPr>
        <p:spPr>
          <a:xfrm>
            <a:off x="4125537" y="233033"/>
            <a:ext cx="212481" cy="249382"/>
          </a:xfrm>
          <a:prstGeom prst="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ruta 11">
            <a:extLst>
              <a:ext uri="{FF2B5EF4-FFF2-40B4-BE49-F238E27FC236}">
                <a16:creationId xmlns:a16="http://schemas.microsoft.com/office/drawing/2014/main" id="{27A953D5-D9E9-6184-DF1C-28FD9A702F49}"/>
              </a:ext>
            </a:extLst>
          </p:cNvPr>
          <p:cNvSpPr txBox="1"/>
          <p:nvPr/>
        </p:nvSpPr>
        <p:spPr>
          <a:xfrm>
            <a:off x="4507921" y="182963"/>
            <a:ext cx="326447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Rör DSO oberoende av national kommande rollfördelning och oberoende om DSO deltar på marknad </a:t>
            </a:r>
            <a:r>
              <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rPr>
              <a:t>Preliminär bedöm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Rektangel 12">
            <a:extLst>
              <a:ext uri="{FF2B5EF4-FFF2-40B4-BE49-F238E27FC236}">
                <a16:creationId xmlns:a16="http://schemas.microsoft.com/office/drawing/2014/main" id="{035E0BE6-B5C5-8B30-717A-BC999F828B96}"/>
              </a:ext>
            </a:extLst>
          </p:cNvPr>
          <p:cNvSpPr/>
          <p:nvPr/>
        </p:nvSpPr>
        <p:spPr>
          <a:xfrm>
            <a:off x="485775" y="278622"/>
            <a:ext cx="274320" cy="249382"/>
          </a:xfrm>
          <a:prstGeom prst="rect">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ruta 13">
            <a:extLst>
              <a:ext uri="{FF2B5EF4-FFF2-40B4-BE49-F238E27FC236}">
                <a16:creationId xmlns:a16="http://schemas.microsoft.com/office/drawing/2014/main" id="{C9581A71-2E63-1F33-F41D-C63A24B2AA93}"/>
              </a:ext>
            </a:extLst>
          </p:cNvPr>
          <p:cNvSpPr txBox="1"/>
          <p:nvPr/>
        </p:nvSpPr>
        <p:spPr>
          <a:xfrm>
            <a:off x="868159" y="228552"/>
            <a:ext cx="308869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Rör DSO om DSO köper tjänster på lokal marknad </a:t>
            </a:r>
            <a:r>
              <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rPr>
              <a:t>Preliminär bedöm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ruta 14">
            <a:extLst>
              <a:ext uri="{FF2B5EF4-FFF2-40B4-BE49-F238E27FC236}">
                <a16:creationId xmlns:a16="http://schemas.microsoft.com/office/drawing/2014/main" id="{76A87D1C-96E2-02CD-03F2-C33859390445}"/>
              </a:ext>
            </a:extLst>
          </p:cNvPr>
          <p:cNvSpPr txBox="1"/>
          <p:nvPr/>
        </p:nvSpPr>
        <p:spPr>
          <a:xfrm>
            <a:off x="8242475" y="174733"/>
            <a:ext cx="265412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Calibri" panose="020F0502020204030204"/>
                <a:ea typeface="+mn-ea"/>
                <a:cs typeface="+mn-cs"/>
              </a:rPr>
              <a:t>Rör DSO beroende av val av rol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Rektangel 16">
            <a:extLst>
              <a:ext uri="{FF2B5EF4-FFF2-40B4-BE49-F238E27FC236}">
                <a16:creationId xmlns:a16="http://schemas.microsoft.com/office/drawing/2014/main" id="{078CA3F9-3A41-F9B1-FEBF-1A31CEA31584}"/>
              </a:ext>
            </a:extLst>
          </p:cNvPr>
          <p:cNvSpPr/>
          <p:nvPr/>
        </p:nvSpPr>
        <p:spPr>
          <a:xfrm>
            <a:off x="7996037" y="233033"/>
            <a:ext cx="212481" cy="24938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554239"/>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6399C4-14F6-6D22-DF76-78C392A74FBD}"/>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128F8024-8D80-0FFD-6516-E8538CCE7877}"/>
              </a:ext>
            </a:extLst>
          </p:cNvPr>
          <p:cNvSpPr>
            <a:spLocks noGrp="1"/>
          </p:cNvSpPr>
          <p:nvPr>
            <p:ph type="title"/>
          </p:nvPr>
        </p:nvSpPr>
        <p:spPr/>
        <p:txBody>
          <a:bodyPr>
            <a:normAutofit fontScale="90000"/>
          </a:bodyPr>
          <a:lstStyle/>
          <a:p>
            <a:r>
              <a:rPr lang="sv-SE" sz="5850"/>
              <a:t>Information om EU:s </a:t>
            </a:r>
            <a:r>
              <a:rPr lang="sv-SE" sz="5850" err="1"/>
              <a:t>referensmodell</a:t>
            </a:r>
            <a:endParaRPr lang="en-US" sz="5850" err="1"/>
          </a:p>
        </p:txBody>
      </p:sp>
      <p:sp>
        <p:nvSpPr>
          <p:cNvPr id="2" name="textruta 1">
            <a:extLst>
              <a:ext uri="{FF2B5EF4-FFF2-40B4-BE49-F238E27FC236}">
                <a16:creationId xmlns:a16="http://schemas.microsoft.com/office/drawing/2014/main" id="{F92A4834-1DC8-45CC-8B0D-E07FEBBD766E}"/>
              </a:ext>
            </a:extLst>
          </p:cNvPr>
          <p:cNvSpPr txBox="1"/>
          <p:nvPr/>
        </p:nvSpPr>
        <p:spPr>
          <a:xfrm>
            <a:off x="431800" y="2102476"/>
            <a:ext cx="5646421"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2424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242424"/>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1931323"/>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7AB6168-6214-4F4B-810A-8C1EC45AB94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8" name="Objekt 7" hidden="1">
                        <a:extLst>
                          <a:ext uri="{FF2B5EF4-FFF2-40B4-BE49-F238E27FC236}">
                            <a16:creationId xmlns:a16="http://schemas.microsoft.com/office/drawing/2014/main" id="{07AB6168-6214-4F4B-810A-8C1EC45AB94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7D03ACE7-E7B2-461C-B93E-A21C3EEC9D27}"/>
              </a:ext>
            </a:extLst>
          </p:cNvPr>
          <p:cNvSpPr>
            <a:spLocks noGrp="1"/>
          </p:cNvSpPr>
          <p:nvPr>
            <p:ph type="title"/>
          </p:nvPr>
        </p:nvSpPr>
        <p:spPr>
          <a:xfrm>
            <a:off x="431799" y="475151"/>
            <a:ext cx="7488767" cy="710810"/>
          </a:xfrm>
        </p:spPr>
        <p:txBody>
          <a:bodyPr vert="horz"/>
          <a:lstStyle/>
          <a:p>
            <a:pPr>
              <a:spcBef>
                <a:spcPts val="400"/>
              </a:spcBef>
            </a:pPr>
            <a:r>
              <a:rPr lang="sv-SE" sz="2800" dirty="0">
                <a:cs typeface="Arial"/>
              </a:rPr>
              <a:t>Standardiserat informationsutbyte på EU-nivå</a:t>
            </a:r>
          </a:p>
        </p:txBody>
      </p:sp>
      <p:sp>
        <p:nvSpPr>
          <p:cNvPr id="3" name="Platshållare för bildnummer 2">
            <a:extLst>
              <a:ext uri="{FF2B5EF4-FFF2-40B4-BE49-F238E27FC236}">
                <a16:creationId xmlns:a16="http://schemas.microsoft.com/office/drawing/2014/main" id="{8A190AB0-18FB-4B34-A0AB-6DBE441DA37C}"/>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7CD396C-6A52-4D5A-BAE3-92A1CC3BBDE0}" type="slidenum">
              <a:rPr kumimoji="0" lang="en-GB" sz="800" b="0" i="0" u="none" strike="noStrike" kern="1200" cap="none" spc="0" normalizeH="0" baseline="0" noProof="0">
                <a:ln>
                  <a:noFill/>
                </a:ln>
                <a:solidFill>
                  <a:srgbClr val="737373"/>
                </a:solidFill>
                <a:effectLst/>
                <a:uLnTx/>
                <a:uFillTx/>
                <a:latin typeface="Arial" panose="020B060402020202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737373"/>
              </a:solidFill>
              <a:effectLst/>
              <a:uLnTx/>
              <a:uFillTx/>
              <a:latin typeface="Arial" panose="020B0604020202020204"/>
              <a:ea typeface="+mn-ea"/>
              <a:cs typeface="+mn-cs"/>
            </a:endParaRPr>
          </a:p>
        </p:txBody>
      </p:sp>
      <p:pic>
        <p:nvPicPr>
          <p:cNvPr id="9" name="Bildobjekt 8">
            <a:extLst>
              <a:ext uri="{FF2B5EF4-FFF2-40B4-BE49-F238E27FC236}">
                <a16:creationId xmlns:a16="http://schemas.microsoft.com/office/drawing/2014/main" id="{9B3A06C7-595A-A8F1-895A-3E4741D3E582}"/>
              </a:ext>
            </a:extLst>
          </p:cNvPr>
          <p:cNvPicPr>
            <a:picLocks noChangeAspect="1"/>
          </p:cNvPicPr>
          <p:nvPr/>
        </p:nvPicPr>
        <p:blipFill>
          <a:blip r:embed="rId6"/>
          <a:stretch>
            <a:fillRect/>
          </a:stretch>
        </p:blipFill>
        <p:spPr>
          <a:xfrm>
            <a:off x="8099784" y="232756"/>
            <a:ext cx="3776331" cy="2760172"/>
          </a:xfrm>
          <a:prstGeom prst="rect">
            <a:avLst/>
          </a:prstGeom>
        </p:spPr>
      </p:pic>
      <p:sp>
        <p:nvSpPr>
          <p:cNvPr id="10" name="textruta 9">
            <a:extLst>
              <a:ext uri="{FF2B5EF4-FFF2-40B4-BE49-F238E27FC236}">
                <a16:creationId xmlns:a16="http://schemas.microsoft.com/office/drawing/2014/main" id="{D8EA95F2-D0EB-9C23-B6B7-3FF3D12F13CD}"/>
              </a:ext>
            </a:extLst>
          </p:cNvPr>
          <p:cNvSpPr txBox="1"/>
          <p:nvPr/>
        </p:nvSpPr>
        <p:spPr>
          <a:xfrm>
            <a:off x="609184" y="903196"/>
            <a:ext cx="6966066" cy="569386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rPr>
              <a:t>Dagens informationsutbyten - förutom vissa mätdatautbyten - görs inte standardiserat utan unikt för varje DSO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mn-cs"/>
              </a:rPr>
              <a:t>t.ex</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rPr>
              <a:t> informationsutbyte om elnätstariff och prognoser)</a:t>
            </a: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rPr>
              <a:t>Digitalisering är nyckeln för både gamla och nya DSO-tjänst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lang="sv-SE" sz="1400" dirty="0">
              <a:solidFill>
                <a:srgbClr val="000000"/>
              </a:solidFill>
              <a:latin typeface="Arial" panose="020B0604020202020204"/>
            </a:endParaRPr>
          </a:p>
          <a:p>
            <a:pPr marL="285750" indent="-285750">
              <a:buFont typeface="Wingdings" panose="05000000000000000000" pitchFamily="2" charset="2"/>
              <a:buChar char="q"/>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rPr>
              <a:t>Digitalisering och automatisering förutsätter att informationsutbyten standardiseras nationellt och på EU-nivå</a:t>
            </a: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rPr>
              <a:t>Nya DSO-tjänster som energidelning, energigemenskaper, kapacitetskartor, oberoende aggregatorer, flexibilitetstjänster och villkorade avtal kräver standardiserade informationsutbyten</a:t>
            </a: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R="0" lvl="0" algn="l" defTabSz="914400" rtl="0" eaLnBrk="1" fontAlgn="auto" latinLnBrk="0" hangingPunct="1">
              <a:lnSpc>
                <a:spcPct val="100000"/>
              </a:lnSpc>
              <a:spcBef>
                <a:spcPts val="0"/>
              </a:spcBef>
              <a:spcAft>
                <a:spcPts val="0"/>
              </a:spcAft>
              <a:buClrTx/>
              <a:buSzTx/>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rPr>
              <a:t>EU:s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a:rPr>
              <a:t>referensmodell</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rPr>
              <a:t> är ett av EU:s sätt att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a:rPr>
              <a:t>kravställa</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rPr>
              <a:t> på standardiserat datautbyt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rPr>
              <a:t>Den första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a:rPr>
              <a:t>referensmodellen</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a:rPr>
              <a:t> kom i och med genomförandeförordningen för mätdata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a:hlinkClick r:id="rId7"/>
              </a:rPr>
              <a:t>Publications</a:t>
            </a:r>
            <a:r>
              <a:rPr kumimoji="0" lang="sv-SE" sz="1400" b="0" i="0" u="none" strike="noStrike" kern="1200" cap="none" spc="0" normalizeH="0" baseline="0" noProof="0" dirty="0">
                <a:ln>
                  <a:noFill/>
                </a:ln>
                <a:solidFill>
                  <a:srgbClr val="000000"/>
                </a:solidFill>
                <a:effectLst/>
                <a:uLnTx/>
                <a:uFillTx/>
                <a:latin typeface="Arial" panose="020B0604020202020204"/>
                <a:ea typeface="+mn-lt"/>
                <a:cs typeface="Arial" panose="020B0604020202020204"/>
                <a:hlinkClick r:id="rId7"/>
              </a:rPr>
              <a:t> Office</a:t>
            </a:r>
            <a:r>
              <a:rPr kumimoji="0" lang="sv-SE" sz="1400" b="0" i="0" u="none" strike="noStrike" kern="1200" cap="none" spc="0" normalizeH="0" baseline="0" noProof="0" dirty="0">
                <a:ln>
                  <a:noFill/>
                </a:ln>
                <a:solidFill>
                  <a:srgbClr val="000000"/>
                </a:solidFill>
                <a:effectLst/>
                <a:uLnTx/>
                <a:uFillTx/>
                <a:latin typeface="Arial" panose="020B0604020202020204"/>
                <a:ea typeface="+mn-lt"/>
                <a:cs typeface="Arial" panose="020B0604020202020204"/>
              </a:rPr>
              <a:t> (se annexet).</a:t>
            </a:r>
          </a:p>
          <a:p>
            <a:pPr marR="0" lvl="0" algn="l" defTabSz="914400" rtl="0" eaLnBrk="1" fontAlgn="auto" latinLnBrk="0" hangingPunct="1">
              <a:lnSpc>
                <a:spcPct val="100000"/>
              </a:lnSpc>
              <a:spcBef>
                <a:spcPts val="0"/>
              </a:spcBef>
              <a:spcAft>
                <a:spcPts val="0"/>
              </a:spcAft>
              <a:buClrTx/>
              <a:buSzTx/>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lt"/>
              <a:cs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Det kommer komma EU:s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panose="020B0604020202020204"/>
              </a:rPr>
              <a:t>referensmodeller</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 på fler områden, </a:t>
            </a:r>
            <a:r>
              <a:rPr kumimoji="0" lang="sv-SE" sz="1400" b="0" i="0" u="none" strike="noStrike" kern="1200" cap="none" spc="0" normalizeH="0" baseline="0" noProof="0" dirty="0" err="1">
                <a:ln>
                  <a:noFill/>
                </a:ln>
                <a:solidFill>
                  <a:srgbClr val="000000"/>
                </a:solidFill>
                <a:effectLst/>
                <a:uLnTx/>
                <a:uFillTx/>
                <a:latin typeface="Arial" panose="020B0604020202020204"/>
                <a:ea typeface="+mn-ea"/>
                <a:cs typeface="Arial" panose="020B0604020202020204"/>
              </a:rPr>
              <a:t>t.ex</a:t>
            </a:r>
            <a:r>
              <a:rPr kumimoji="0" lang="sv-SE"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 elnätstariff, efterfrågeflexibilitet, energidelning mm, både som lag och som standar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ruta 4">
            <a:extLst>
              <a:ext uri="{FF2B5EF4-FFF2-40B4-BE49-F238E27FC236}">
                <a16:creationId xmlns:a16="http://schemas.microsoft.com/office/drawing/2014/main" id="{79A7F25A-A127-39CF-43BA-5BED43B45707}"/>
              </a:ext>
            </a:extLst>
          </p:cNvPr>
          <p:cNvSpPr txBox="1"/>
          <p:nvPr/>
        </p:nvSpPr>
        <p:spPr>
          <a:xfrm>
            <a:off x="8258901" y="2992928"/>
            <a:ext cx="3458095" cy="35394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8"/>
              </a:rPr>
              <a:t>Europe's Internet of Things Policy | Shaping Europe’s digital future</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The Directorate-General for Energy (DG ENER) and DG CONNECT are preparing actions following the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hlinkClick r:id="rId9"/>
              </a:rPr>
              <a:t>Digitalisation</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9"/>
              </a:rPr>
              <a:t> of Energy Action Plan</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 in order to accelerate the digital and sustainable transformation of the EU’s energy system. This work is in line with the Commissions’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10"/>
              </a:rPr>
              <a:t>European Green Deal</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 </a:t>
            </a: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hlinkClick r:id="rId11"/>
              </a:rPr>
              <a:t>REPowerEU</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 and the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12"/>
              </a:rPr>
              <a:t>Digital Decade</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 policy </a:t>
            </a:r>
            <a:r>
              <a:rPr kumimoji="0" lang="en-US" sz="1400" b="0" i="0" u="none" strike="noStrike" kern="1200" cap="none" spc="0" normalizeH="0" baseline="0" noProof="0" err="1">
                <a:ln>
                  <a:noFill/>
                </a:ln>
                <a:solidFill>
                  <a:srgbClr val="26324B"/>
                </a:solidFill>
                <a:effectLst/>
                <a:uLnTx/>
                <a:uFillTx/>
                <a:latin typeface="Arial" panose="020B0604020202020204"/>
                <a:ea typeface="+mn-ea"/>
                <a:cs typeface="+mn-cs"/>
              </a:rPr>
              <a:t>programme</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 for 2030. It also touches upon enhancing the exchange and data use in the energy sector, with the goal of establishing a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13"/>
              </a:rPr>
              <a:t>common European energy data space</a:t>
            </a:r>
            <a:r>
              <a:rPr kumimoji="0" lang="en-US" sz="1400" b="0" i="0" u="none" strike="noStrike" kern="1200" cap="none" spc="0" normalizeH="0" baseline="0" noProof="0">
                <a:ln>
                  <a:noFill/>
                </a:ln>
                <a:solidFill>
                  <a:srgbClr val="26324B"/>
                </a:solidFill>
                <a:effectLst/>
                <a:uLnTx/>
                <a:uFillTx/>
                <a:latin typeface="Arial" panose="020B0604020202020204"/>
                <a:ea typeface="+mn-ea"/>
                <a:cs typeface="+mn-cs"/>
              </a:rPr>
              <a:t>.</a:t>
            </a:r>
            <a:endParaRPr kumimoji="0" lang="sv-SE"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42289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E2270-40FF-D12C-3BF4-3D5391A369B6}"/>
            </a:ext>
          </a:extLst>
        </p:cNvPr>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77B7DB31-62F2-A93A-5BEF-880439BCBAB6}"/>
              </a:ext>
            </a:extLst>
          </p:cNvPr>
          <p:cNvSpPr>
            <a:spLocks noGrp="1"/>
          </p:cNvSpPr>
          <p:nvPr>
            <p:ph type="body" sz="quarter" idx="14"/>
          </p:nvPr>
        </p:nvSpPr>
        <p:spPr/>
        <p:txBody>
          <a:bodyPr/>
          <a:lstStyle/>
          <a:p>
            <a:endParaRPr lang="sv-SE"/>
          </a:p>
        </p:txBody>
      </p:sp>
      <p:sp>
        <p:nvSpPr>
          <p:cNvPr id="4" name="Platshållare för text 3">
            <a:extLst>
              <a:ext uri="{FF2B5EF4-FFF2-40B4-BE49-F238E27FC236}">
                <a16:creationId xmlns:a16="http://schemas.microsoft.com/office/drawing/2014/main" id="{DF52444C-387D-3B3D-336F-1724A9755D08}"/>
              </a:ext>
            </a:extLst>
          </p:cNvPr>
          <p:cNvSpPr>
            <a:spLocks noGrp="1"/>
          </p:cNvSpPr>
          <p:nvPr>
            <p:ph type="body" sz="quarter" idx="19"/>
          </p:nvPr>
        </p:nvSpPr>
        <p:spPr/>
        <p:txBody>
          <a:bodyPr/>
          <a:lstStyle/>
          <a:p>
            <a:endParaRPr lang="sv-SE"/>
          </a:p>
        </p:txBody>
      </p:sp>
      <p:sp>
        <p:nvSpPr>
          <p:cNvPr id="3" name="Rubrik 2">
            <a:extLst>
              <a:ext uri="{FF2B5EF4-FFF2-40B4-BE49-F238E27FC236}">
                <a16:creationId xmlns:a16="http://schemas.microsoft.com/office/drawing/2014/main" id="{3366B027-7911-02E7-755A-1AECFAF0D21C}"/>
              </a:ext>
            </a:extLst>
          </p:cNvPr>
          <p:cNvSpPr>
            <a:spLocks noGrp="1"/>
          </p:cNvSpPr>
          <p:nvPr>
            <p:ph type="title"/>
          </p:nvPr>
        </p:nvSpPr>
        <p:spPr/>
        <p:txBody>
          <a:bodyPr>
            <a:normAutofit/>
          </a:bodyPr>
          <a:lstStyle/>
          <a:p>
            <a:r>
              <a:rPr lang="sv-SE" sz="4000"/>
              <a:t>Vad är EU:s </a:t>
            </a:r>
            <a:r>
              <a:rPr lang="sv-SE" sz="4000" err="1"/>
              <a:t>referensmodeller</a:t>
            </a:r>
            <a:r>
              <a:rPr lang="sv-SE" sz="4000"/>
              <a:t>?</a:t>
            </a:r>
          </a:p>
        </p:txBody>
      </p:sp>
      <p:pic>
        <p:nvPicPr>
          <p:cNvPr id="5" name="Picture 2" descr="En bild som visar stjärna&#10;&#10;Automatiskt genererad beskrivning">
            <a:extLst>
              <a:ext uri="{FF2B5EF4-FFF2-40B4-BE49-F238E27FC236}">
                <a16:creationId xmlns:a16="http://schemas.microsoft.com/office/drawing/2014/main" id="{70737E7B-65FD-2312-5DB1-EC8DD97E622C}"/>
              </a:ext>
            </a:extLst>
          </p:cNvPr>
          <p:cNvPicPr>
            <a:picLocks noChangeAspect="1" noChangeArrowheads="1"/>
          </p:cNvPicPr>
          <p:nvPr/>
        </p:nvPicPr>
        <p:blipFill rotWithShape="1">
          <a:blip r:embed="rId3">
            <a:alphaModFix amt="18000"/>
            <a:extLst>
              <a:ext uri="{28A0092B-C50C-407E-A947-70E740481C1C}">
                <a14:useLocalDpi xmlns:a14="http://schemas.microsoft.com/office/drawing/2010/main" val="0"/>
              </a:ext>
            </a:extLst>
          </a:blip>
          <a:srcRect l="20964" t="5372" r="28614" b="26038"/>
          <a:stretch/>
        </p:blipFill>
        <p:spPr bwMode="auto">
          <a:xfrm>
            <a:off x="5136091" y="662095"/>
            <a:ext cx="6802316" cy="5788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ruta 5">
            <a:extLst>
              <a:ext uri="{FF2B5EF4-FFF2-40B4-BE49-F238E27FC236}">
                <a16:creationId xmlns:a16="http://schemas.microsoft.com/office/drawing/2014/main" id="{699A6424-4F7B-8295-D5D0-5FE8A76C1479}"/>
              </a:ext>
            </a:extLst>
          </p:cNvPr>
          <p:cNvSpPr txBox="1"/>
          <p:nvPr/>
        </p:nvSpPr>
        <p:spPr>
          <a:xfrm>
            <a:off x="431797" y="2009869"/>
            <a:ext cx="10570128" cy="477053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rPr>
              <a:t>EU:s </a:t>
            </a:r>
            <a:r>
              <a:rPr kumimoji="0" lang="sv-SE" sz="1800" b="0" i="0" u="none" strike="noStrike" kern="1200" cap="none" spc="0" normalizeH="0" baseline="0" noProof="0" dirty="0" err="1">
                <a:ln>
                  <a:noFill/>
                </a:ln>
                <a:solidFill>
                  <a:srgbClr val="000000"/>
                </a:solidFill>
                <a:effectLst/>
                <a:uLnTx/>
                <a:uFillTx/>
                <a:latin typeface="Arial" panose="020B0604020202020204"/>
                <a:ea typeface="+mn-ea"/>
                <a:cs typeface="+mn-cs"/>
              </a:rPr>
              <a:t>referensmodeller</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rPr>
              <a:t> är ett arbetssätt för att kunna </a:t>
            </a:r>
            <a:r>
              <a:rPr kumimoji="0" lang="sv-SE" sz="1800" b="0" i="0" u="none" strike="noStrike" kern="1200" cap="none" spc="0" normalizeH="0" baseline="0" noProof="0" dirty="0" err="1">
                <a:ln>
                  <a:noFill/>
                </a:ln>
                <a:solidFill>
                  <a:srgbClr val="000000"/>
                </a:solidFill>
                <a:effectLst/>
                <a:uLnTx/>
                <a:uFillTx/>
                <a:latin typeface="Arial" panose="020B0604020202020204"/>
                <a:ea typeface="+mn-ea"/>
                <a:cs typeface="+mn-cs"/>
              </a:rPr>
              <a:t>kravställa</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rPr>
              <a:t> p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rPr>
              <a:t>Miljöer</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rPr>
              <a:t>Roller</a:t>
            </a:r>
            <a:endParaRPr kumimoji="0" lang="sv-SE" sz="1800" b="1"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Processer</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 och </a:t>
            </a: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processteg</a:t>
            </a:r>
            <a:endParaRPr kumimoji="0" lang="sv-SE" sz="1800" b="1"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Informationsobjekt</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 (väldigt varierande kravnivå)</a:t>
            </a: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Char char="-"/>
              <a:tabLst/>
              <a:defRPr/>
            </a:pP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EU:s </a:t>
            </a:r>
            <a:r>
              <a:rPr kumimoji="0" lang="sv-SE" sz="1800" b="0" i="0" u="none" strike="noStrike" kern="1200" cap="none" spc="0" normalizeH="0" baseline="0" noProof="0" dirty="0" err="1">
                <a:ln>
                  <a:noFill/>
                </a:ln>
                <a:solidFill>
                  <a:srgbClr val="000000"/>
                </a:solidFill>
                <a:effectLst/>
                <a:uLnTx/>
                <a:uFillTx/>
                <a:latin typeface="Arial" panose="020B0604020202020204"/>
                <a:ea typeface="+mn-ea"/>
                <a:cs typeface="+mn-cs"/>
                <a:sym typeface="Wingdings" panose="05000000000000000000" pitchFamily="2" charset="2"/>
              </a:rPr>
              <a:t>referensmodeller</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 ska inom ramen för genomförandeförordningar dokumenteras i en </a:t>
            </a:r>
            <a:r>
              <a:rPr kumimoji="0" lang="sv-SE" sz="1800" b="1"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EU-databas</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 (med start juni 2025)</a:t>
            </a: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Dokumentationen av varje medlemsland ligger till grund för att kunna utvärdera medlemsländernas implementeringsnivå, men också vara en vägledning för externa aktörer</a:t>
            </a: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Referensmodellerna kompletteras med informationsmodeller och </a:t>
            </a:r>
            <a:r>
              <a:rPr kumimoji="0" lang="sv-SE" sz="1800" b="0" i="0" u="none" strike="noStrike" kern="1200" cap="none" spc="0" normalizeH="0" baseline="0" noProof="0" dirty="0" err="1">
                <a:ln>
                  <a:noFill/>
                </a:ln>
                <a:solidFill>
                  <a:srgbClr val="000000"/>
                </a:solidFill>
                <a:effectLst/>
                <a:uLnTx/>
                <a:uFillTx/>
                <a:latin typeface="Arial" panose="020B0604020202020204"/>
                <a:ea typeface="+mn-ea"/>
                <a:cs typeface="+mn-cs"/>
                <a:sym typeface="Wingdings" panose="05000000000000000000" pitchFamily="2" charset="2"/>
              </a:rPr>
              <a:t>governancemodeller</a:t>
            </a:r>
            <a:r>
              <a:rPr kumimoji="0" lang="sv-SE" sz="1800" b="0" i="0" u="none" strike="noStrike" kern="1200" cap="none" spc="0" normalizeH="0" baseline="0" noProof="0" dirty="0">
                <a:ln>
                  <a:noFill/>
                </a:ln>
                <a:solidFill>
                  <a:srgbClr val="000000"/>
                </a:solidFill>
                <a:effectLst/>
                <a:uLnTx/>
                <a:uFillTx/>
                <a:latin typeface="Arial" panose="020B0604020202020204"/>
                <a:ea typeface="+mn-ea"/>
                <a:cs typeface="+mn-cs"/>
                <a:sym typeface="Wingdings" panose="05000000000000000000" pitchFamily="2" charset="2"/>
              </a:rPr>
              <a:t> på EU-nivå och nationell nivå</a:t>
            </a:r>
            <a:endParaRPr kumimoji="0" lang="sv-SE" sz="18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242424"/>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242424"/>
              </a:solidFill>
              <a:effectLst/>
              <a:uLnTx/>
              <a:uFillTx/>
              <a:latin typeface="Segoe UI" panose="020B0502040204020203" pitchFamily="34" charset="0"/>
              <a:ea typeface="+mn-ea"/>
              <a:cs typeface="+mn-cs"/>
            </a:endParaRPr>
          </a:p>
        </p:txBody>
      </p:sp>
      <p:sp>
        <p:nvSpPr>
          <p:cNvPr id="7" name="textruta 6">
            <a:extLst>
              <a:ext uri="{FF2B5EF4-FFF2-40B4-BE49-F238E27FC236}">
                <a16:creationId xmlns:a16="http://schemas.microsoft.com/office/drawing/2014/main" id="{14E8D368-0021-8B19-7260-8C383ECE9CC7}"/>
              </a:ext>
            </a:extLst>
          </p:cNvPr>
          <p:cNvSpPr txBox="1"/>
          <p:nvPr/>
        </p:nvSpPr>
        <p:spPr>
          <a:xfrm>
            <a:off x="8179724" y="662095"/>
            <a:ext cx="3110147" cy="646331"/>
          </a:xfrm>
          <a:prstGeom prst="rect">
            <a:avLst/>
          </a:prstGeom>
          <a:noFill/>
        </p:spPr>
        <p:txBody>
          <a:bodyPr wrap="none" rtlCol="0">
            <a:spAutoFit/>
          </a:bodyPr>
          <a:lstStyle/>
          <a:p>
            <a:pPr algn="l"/>
            <a:r>
              <a:rPr lang="sv-SE" sz="1200" dirty="0" err="1"/>
              <a:t>Implementing</a:t>
            </a:r>
            <a:r>
              <a:rPr lang="sv-SE" sz="1200" dirty="0"/>
              <a:t> </a:t>
            </a:r>
            <a:r>
              <a:rPr lang="sv-SE" sz="1200" dirty="0" err="1"/>
              <a:t>act</a:t>
            </a:r>
            <a:r>
              <a:rPr lang="sv-SE" sz="1200" dirty="0"/>
              <a:t> metering data </a:t>
            </a:r>
            <a:r>
              <a:rPr lang="sv-SE" sz="1200" dirty="0" err="1"/>
              <a:t>with</a:t>
            </a:r>
            <a:r>
              <a:rPr lang="sv-SE" sz="1200" dirty="0"/>
              <a:t> annex</a:t>
            </a:r>
          </a:p>
          <a:p>
            <a:pPr algn="l"/>
            <a:r>
              <a:rPr lang="sv-SE" sz="1200" dirty="0" err="1">
                <a:hlinkClick r:id="rId4"/>
              </a:rPr>
              <a:t>Guidance</a:t>
            </a:r>
            <a:endParaRPr lang="sv-SE" sz="1200" dirty="0"/>
          </a:p>
          <a:p>
            <a:pPr algn="l"/>
            <a:r>
              <a:rPr lang="sv-SE" sz="1200" dirty="0"/>
              <a:t>Template</a:t>
            </a:r>
          </a:p>
        </p:txBody>
      </p:sp>
    </p:spTree>
    <p:extLst>
      <p:ext uri="{BB962C8B-B14F-4D97-AF65-F5344CB8AC3E}">
        <p14:creationId xmlns:p14="http://schemas.microsoft.com/office/powerpoint/2010/main" val="647942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002EC0-D3D8-DBF2-6EA8-4183D55BDEE7}"/>
            </a:ext>
          </a:extLst>
        </p:cNvPr>
        <p:cNvGrpSpPr/>
        <p:nvPr/>
      </p:nvGrpSpPr>
      <p:grpSpPr>
        <a:xfrm>
          <a:off x="0" y="0"/>
          <a:ext cx="0" cy="0"/>
          <a:chOff x="0" y="0"/>
          <a:chExt cx="0" cy="0"/>
        </a:xfrm>
      </p:grpSpPr>
      <p:sp>
        <p:nvSpPr>
          <p:cNvPr id="4" name="Platshållare för text 3">
            <a:extLst>
              <a:ext uri="{FF2B5EF4-FFF2-40B4-BE49-F238E27FC236}">
                <a16:creationId xmlns:a16="http://schemas.microsoft.com/office/drawing/2014/main" id="{0564DA53-6650-89EE-73D6-255119E5537D}"/>
              </a:ext>
            </a:extLst>
          </p:cNvPr>
          <p:cNvSpPr>
            <a:spLocks noGrp="1"/>
          </p:cNvSpPr>
          <p:nvPr>
            <p:ph type="body" sz="quarter" idx="14"/>
          </p:nvPr>
        </p:nvSpPr>
        <p:spPr/>
        <p:txBody>
          <a:bodyPr/>
          <a:lstStyle/>
          <a:p>
            <a:r>
              <a:rPr lang="sv-SE"/>
              <a:t>Referensmodeller</a:t>
            </a:r>
          </a:p>
        </p:txBody>
      </p:sp>
      <p:sp>
        <p:nvSpPr>
          <p:cNvPr id="7" name="Platshållare för text 6">
            <a:extLst>
              <a:ext uri="{FF2B5EF4-FFF2-40B4-BE49-F238E27FC236}">
                <a16:creationId xmlns:a16="http://schemas.microsoft.com/office/drawing/2014/main" id="{3B0E19DB-304F-6058-CB4D-201747BD0073}"/>
              </a:ext>
            </a:extLst>
          </p:cNvPr>
          <p:cNvSpPr>
            <a:spLocks noGrp="1"/>
          </p:cNvSpPr>
          <p:nvPr>
            <p:ph type="body" sz="quarter" idx="19"/>
          </p:nvPr>
        </p:nvSpPr>
        <p:spPr/>
        <p:txBody>
          <a:bodyPr/>
          <a:lstStyle/>
          <a:p>
            <a:endParaRPr lang="sv-SE"/>
          </a:p>
        </p:txBody>
      </p:sp>
      <p:sp>
        <p:nvSpPr>
          <p:cNvPr id="3" name="Rubrik 2">
            <a:extLst>
              <a:ext uri="{FF2B5EF4-FFF2-40B4-BE49-F238E27FC236}">
                <a16:creationId xmlns:a16="http://schemas.microsoft.com/office/drawing/2014/main" id="{BC375C22-88AD-2C2B-FFE5-8954FCEE4BAF}"/>
              </a:ext>
            </a:extLst>
          </p:cNvPr>
          <p:cNvSpPr>
            <a:spLocks noGrp="1"/>
          </p:cNvSpPr>
          <p:nvPr>
            <p:ph type="title"/>
          </p:nvPr>
        </p:nvSpPr>
        <p:spPr/>
        <p:txBody>
          <a:bodyPr>
            <a:normAutofit/>
          </a:bodyPr>
          <a:lstStyle/>
          <a:p>
            <a:r>
              <a:rPr lang="sv-SE" sz="4000"/>
              <a:t>Vad är EU:s </a:t>
            </a:r>
            <a:r>
              <a:rPr lang="sv-SE" sz="4000" err="1"/>
              <a:t>referensmodeller</a:t>
            </a:r>
            <a:r>
              <a:rPr lang="sv-SE" sz="4000"/>
              <a:t>?</a:t>
            </a:r>
          </a:p>
        </p:txBody>
      </p:sp>
      <p:pic>
        <p:nvPicPr>
          <p:cNvPr id="5" name="Picture 2" descr="En bild som visar stjärna&#10;&#10;Automatiskt genererad beskrivning">
            <a:extLst>
              <a:ext uri="{FF2B5EF4-FFF2-40B4-BE49-F238E27FC236}">
                <a16:creationId xmlns:a16="http://schemas.microsoft.com/office/drawing/2014/main" id="{A9591B7E-6FC2-57B0-585D-52E1B01C107C}"/>
              </a:ext>
            </a:extLst>
          </p:cNvPr>
          <p:cNvPicPr>
            <a:picLocks noChangeAspect="1" noChangeArrowheads="1"/>
          </p:cNvPicPr>
          <p:nvPr/>
        </p:nvPicPr>
        <p:blipFill rotWithShape="1">
          <a:blip r:embed="rId3">
            <a:alphaModFix amt="18000"/>
            <a:extLst>
              <a:ext uri="{28A0092B-C50C-407E-A947-70E740481C1C}">
                <a14:useLocalDpi xmlns:a14="http://schemas.microsoft.com/office/drawing/2010/main" val="0"/>
              </a:ext>
            </a:extLst>
          </a:blip>
          <a:srcRect l="20964" t="5372" r="28614" b="26038"/>
          <a:stretch/>
        </p:blipFill>
        <p:spPr bwMode="auto">
          <a:xfrm>
            <a:off x="5136091" y="662095"/>
            <a:ext cx="6802316" cy="5788899"/>
          </a:xfrm>
          <a:prstGeom prst="rect">
            <a:avLst/>
          </a:prstGeom>
          <a:noFill/>
          <a:extLst>
            <a:ext uri="{909E8E84-426E-40DD-AFC4-6F175D3DCCD1}">
              <a14:hiddenFill xmlns:a14="http://schemas.microsoft.com/office/drawing/2010/main">
                <a:solidFill>
                  <a:srgbClr val="FFFFFF"/>
                </a:solidFill>
              </a14:hiddenFill>
            </a:ext>
          </a:extLst>
        </p:spPr>
      </p:pic>
      <p:sp>
        <p:nvSpPr>
          <p:cNvPr id="6" name="textruta 5">
            <a:extLst>
              <a:ext uri="{FF2B5EF4-FFF2-40B4-BE49-F238E27FC236}">
                <a16:creationId xmlns:a16="http://schemas.microsoft.com/office/drawing/2014/main" id="{BBA32B56-B778-26E0-23C9-51CFB4487052}"/>
              </a:ext>
            </a:extLst>
          </p:cNvPr>
          <p:cNvSpPr txBox="1"/>
          <p:nvPr/>
        </p:nvSpPr>
        <p:spPr>
          <a:xfrm>
            <a:off x="431797" y="2009869"/>
            <a:ext cx="10570128"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a:t>
            </a:r>
            <a:r>
              <a:rPr kumimoji="0" lang="en-US" sz="1800" b="1" i="0" u="none" strike="noStrike" kern="1200" cap="none" spc="0" normalizeH="0" baseline="0" noProof="0">
                <a:ln>
                  <a:noFill/>
                </a:ln>
                <a:solidFill>
                  <a:prstClr val="black"/>
                </a:solidFill>
                <a:effectLst/>
                <a:uLnTx/>
                <a:uFillTx/>
                <a:latin typeface="Arial"/>
                <a:ea typeface="+mn-ea"/>
                <a:cs typeface="+mn-cs"/>
              </a:rPr>
              <a:t>business </a:t>
            </a:r>
            <a:r>
              <a:rPr kumimoji="0" lang="en-US" sz="1800" b="0" i="0" u="none" strike="noStrike" kern="1200" cap="none" spc="0" normalizeH="0" baseline="0" noProof="0">
                <a:ln>
                  <a:noFill/>
                </a:ln>
                <a:solidFill>
                  <a:prstClr val="black"/>
                </a:solidFill>
                <a:effectLst/>
                <a:uLnTx/>
                <a:uFillTx/>
                <a:latin typeface="Arial"/>
                <a:ea typeface="+mn-ea"/>
                <a:cs typeface="+mn-cs"/>
              </a:rPr>
              <a:t>layer relates to the business objectives and roles for certain services or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a:t>
            </a:r>
            <a:r>
              <a:rPr kumimoji="0" lang="en-US" sz="1800" b="1" i="0" u="none" strike="noStrike" kern="1200" cap="none" spc="0" normalizeH="0" baseline="0" noProof="0">
                <a:ln>
                  <a:noFill/>
                </a:ln>
                <a:solidFill>
                  <a:prstClr val="black"/>
                </a:solidFill>
                <a:effectLst/>
                <a:uLnTx/>
                <a:uFillTx/>
                <a:latin typeface="Arial"/>
                <a:ea typeface="+mn-ea"/>
                <a:cs typeface="+mn-cs"/>
              </a:rPr>
              <a:t>function</a:t>
            </a:r>
            <a:r>
              <a:rPr kumimoji="0" lang="en-US" sz="1800" b="0" i="0" u="none" strike="noStrike" kern="1200" cap="none" spc="0" normalizeH="0" baseline="0" noProof="0">
                <a:ln>
                  <a:noFill/>
                </a:ln>
                <a:solidFill>
                  <a:prstClr val="black"/>
                </a:solidFill>
                <a:effectLst/>
                <a:uLnTx/>
                <a:uFillTx/>
                <a:latin typeface="Arial"/>
                <a:ea typeface="+mn-ea"/>
                <a:cs typeface="+mn-cs"/>
              </a:rPr>
              <a:t> layer relates to the use cases, data sharing and permission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a:t>
            </a:r>
            <a:r>
              <a:rPr kumimoji="0" lang="en-US" sz="1800" b="1" i="0" u="none" strike="noStrike" kern="1200" cap="none" spc="0" normalizeH="0" baseline="0" noProof="0">
                <a:ln>
                  <a:noFill/>
                </a:ln>
                <a:solidFill>
                  <a:prstClr val="black"/>
                </a:solidFill>
                <a:effectLst/>
                <a:uLnTx/>
                <a:uFillTx/>
                <a:latin typeface="Arial"/>
                <a:ea typeface="+mn-ea"/>
                <a:cs typeface="+mn-cs"/>
              </a:rPr>
              <a:t>information</a:t>
            </a:r>
            <a:r>
              <a:rPr kumimoji="0" lang="en-US" sz="1800" b="0" i="0" u="none" strike="noStrike" kern="1200" cap="none" spc="0" normalizeH="0" baseline="0" noProof="0">
                <a:ln>
                  <a:noFill/>
                </a:ln>
                <a:solidFill>
                  <a:prstClr val="black"/>
                </a:solidFill>
                <a:effectLst/>
                <a:uLnTx/>
                <a:uFillTx/>
                <a:latin typeface="Arial"/>
                <a:ea typeface="+mn-ea"/>
                <a:cs typeface="+mn-cs"/>
              </a:rPr>
              <a:t> layer relates to data models and information models, such as CIM ( 2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a:t>
            </a:r>
            <a:r>
              <a:rPr kumimoji="0" lang="en-US" sz="1800" b="1" i="0" u="none" strike="noStrike" kern="1200" cap="none" spc="0" normalizeH="0" baseline="0" noProof="0">
                <a:ln>
                  <a:noFill/>
                </a:ln>
                <a:solidFill>
                  <a:prstClr val="black"/>
                </a:solidFill>
                <a:effectLst/>
                <a:uLnTx/>
                <a:uFillTx/>
                <a:latin typeface="Arial"/>
                <a:ea typeface="+mn-ea"/>
                <a:cs typeface="+mn-cs"/>
              </a:rPr>
              <a:t>communication</a:t>
            </a:r>
            <a:r>
              <a:rPr kumimoji="0" lang="en-US" sz="1800" b="0" i="0" u="none" strike="noStrike" kern="1200" cap="none" spc="0" normalizeH="0" baseline="0" noProof="0">
                <a:ln>
                  <a:noFill/>
                </a:ln>
                <a:solidFill>
                  <a:prstClr val="black"/>
                </a:solidFill>
                <a:effectLst/>
                <a:uLnTx/>
                <a:uFillTx/>
                <a:latin typeface="Arial"/>
                <a:ea typeface="+mn-ea"/>
                <a:cs typeface="+mn-cs"/>
              </a:rPr>
              <a:t> layer relates to the communication protocols and data formats such as CSV ( 3 ) or XML ( 4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a:t>
            </a:r>
            <a:r>
              <a:rPr kumimoji="0" lang="en-US" sz="1800" b="1" i="0" u="none" strike="noStrike" kern="1200" cap="none" spc="0" normalizeH="0" baseline="0" noProof="0">
                <a:ln>
                  <a:noFill/>
                </a:ln>
                <a:solidFill>
                  <a:prstClr val="black"/>
                </a:solidFill>
                <a:effectLst/>
                <a:uLnTx/>
                <a:uFillTx/>
                <a:latin typeface="Arial"/>
                <a:ea typeface="+mn-ea"/>
                <a:cs typeface="+mn-cs"/>
              </a:rPr>
              <a:t>component</a:t>
            </a:r>
            <a:r>
              <a:rPr kumimoji="0" lang="en-US" sz="1800" b="0" i="0" u="none" strike="noStrike" kern="1200" cap="none" spc="0" normalizeH="0" baseline="0" noProof="0">
                <a:ln>
                  <a:noFill/>
                </a:ln>
                <a:solidFill>
                  <a:prstClr val="black"/>
                </a:solidFill>
                <a:effectLst/>
                <a:uLnTx/>
                <a:uFillTx/>
                <a:latin typeface="Arial"/>
                <a:ea typeface="+mn-ea"/>
                <a:cs typeface="+mn-cs"/>
              </a:rPr>
              <a:t> layer relates to data exchange platforms, applications and hardware such as meters and sens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reference model’ defines common rules and procedures at Union level for the business, function and information layers, in line with national practices</a:t>
            </a: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p:txBody>
      </p:sp>
      <p:sp>
        <p:nvSpPr>
          <p:cNvPr id="2" name="Rektangel 1">
            <a:extLst>
              <a:ext uri="{FF2B5EF4-FFF2-40B4-BE49-F238E27FC236}">
                <a16:creationId xmlns:a16="http://schemas.microsoft.com/office/drawing/2014/main" id="{2DCABE0A-413E-E82A-1F2C-3BDA41D46F2C}"/>
              </a:ext>
            </a:extLst>
          </p:cNvPr>
          <p:cNvSpPr/>
          <p:nvPr/>
        </p:nvSpPr>
        <p:spPr>
          <a:xfrm>
            <a:off x="350725" y="1834514"/>
            <a:ext cx="10778486" cy="1722030"/>
          </a:xfrm>
          <a:prstGeom prst="rect">
            <a:avLst/>
          </a:prstGeom>
          <a:noFill/>
          <a:ln w="571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14136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DSO ENTITY">
      <a:dk1>
        <a:srgbClr val="2C3051"/>
      </a:dk1>
      <a:lt1>
        <a:srgbClr val="FFFFFF"/>
      </a:lt1>
      <a:dk2>
        <a:srgbClr val="D86533"/>
      </a:dk2>
      <a:lt2>
        <a:srgbClr val="C1E0F7"/>
      </a:lt2>
      <a:accent1>
        <a:srgbClr val="902C57"/>
      </a:accent1>
      <a:accent2>
        <a:srgbClr val="ED7D31"/>
      </a:accent2>
      <a:accent3>
        <a:srgbClr val="C1E0F7"/>
      </a:accent3>
      <a:accent4>
        <a:srgbClr val="E9EAE9"/>
      </a:accent4>
      <a:accent5>
        <a:srgbClr val="CFD1D2"/>
      </a:accent5>
      <a:accent6>
        <a:srgbClr val="000000"/>
      </a:accent6>
      <a:hlink>
        <a:srgbClr val="D86533"/>
      </a:hlink>
      <a:folHlink>
        <a:srgbClr val="902C5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2022_DSO Entity" id="{BDA0EE5A-E135-E148-8DA8-29D1973D7E3B}" vid="{21253049-0288-FC4F-B61A-47B1E7FA8D5C}"/>
    </a:ext>
  </a:extLst>
</a:theme>
</file>

<file path=ppt/theme/theme3.xml><?xml version="1.0" encoding="utf-8"?>
<a:theme xmlns:a="http://schemas.openxmlformats.org/drawingml/2006/main" name="18_Vattenfall Documentation">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K4_Vattenfall PPT Template_Best_Practice" id="{394F9AA9-C875-AA4C-A453-3267AF0724E4}" vid="{BECFCAC8-A3B3-6743-A834-8C940869A22D}"/>
    </a:ext>
  </a:extLst>
</a:theme>
</file>

<file path=ppt/theme/theme4.xml><?xml version="1.0" encoding="utf-8"?>
<a:theme xmlns:a="http://schemas.openxmlformats.org/drawingml/2006/main" name="Tema1">
  <a:themeElements>
    <a:clrScheme name="Vattenfall">
      <a:dk1>
        <a:srgbClr val="000000"/>
      </a:dk1>
      <a:lt1>
        <a:srgbClr val="FFFFFF"/>
      </a:lt1>
      <a:dk2>
        <a:srgbClr val="000000"/>
      </a:dk2>
      <a:lt2>
        <a:srgbClr val="F2F2F2"/>
      </a:lt2>
      <a:accent1>
        <a:srgbClr val="2071B5"/>
      </a:accent1>
      <a:accent2>
        <a:srgbClr val="FFDA00"/>
      </a:accent2>
      <a:accent3>
        <a:srgbClr val="4E4B48"/>
      </a:accent3>
      <a:accent4>
        <a:srgbClr val="1E324F"/>
      </a:accent4>
      <a:accent5>
        <a:srgbClr val="3DC07C"/>
      </a:accent5>
      <a:accent6>
        <a:srgbClr val="005C63"/>
      </a:accent6>
      <a:hlink>
        <a:srgbClr val="2071B5"/>
      </a:hlink>
      <a:folHlink>
        <a:srgbClr val="2071B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headEnd type="none"/>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err="1" smtClean="0"/>
        </a:defPPr>
      </a:lstStyle>
    </a:txDef>
  </a:objectDefaults>
  <a:extraClrSchemeLst/>
  <a:custClrLst>
    <a:custClr name="Pink">
      <a:srgbClr val="D1266B"/>
    </a:custClr>
    <a:custClr name="Dark Purple">
      <a:srgbClr val="85254B"/>
    </a:custClr>
    <a:custClr name="Red">
      <a:srgbClr val="F93B18"/>
    </a:custClr>
    <a:custClr name="Purple">
      <a:srgbClr val="9B62C3"/>
    </a:custClr>
    <a:custClr name="Light Yellow">
      <a:srgbClr val="FFFEE5"/>
    </a:custClr>
    <a:custClr name="Light Blue">
      <a:srgbClr val="EBF2F3"/>
    </a:custClr>
    <a:custClr name="Light Green">
      <a:srgbClr val="EDF9F3"/>
    </a:custClr>
    <a:custClr name="Light Red">
      <a:srgbClr val="FEF0EA"/>
    </a:custClr>
    <a:custClr name="Hydro">
      <a:srgbClr val="2DA55D"/>
    </a:custClr>
    <a:custClr name="Wind">
      <a:srgbClr val="4FCC51"/>
    </a:custClr>
    <a:custClr name="Solar">
      <a:srgbClr val="81E0A8"/>
    </a:custClr>
    <a:custClr name="Biomass">
      <a:srgbClr val="375E4E"/>
    </a:custClr>
    <a:custClr name="Coal">
      <a:srgbClr val="E88A74"/>
    </a:custClr>
    <a:custClr name="Gas">
      <a:srgbClr val="D85067"/>
    </a:custClr>
    <a:custClr name="Nuclear">
      <a:srgbClr val="213D5E"/>
    </a:custClr>
    <a:custClr name="District Heating">
      <a:srgbClr val="A376CC"/>
    </a:custClr>
  </a:custClrLst>
  <a:extLst>
    <a:ext uri="{05A4C25C-085E-4340-85A3-A5531E510DB2}">
      <thm15:themeFamily xmlns:thm15="http://schemas.microsoft.com/office/thememl/2012/main" name="Tema1" id="{8E9984A6-AB59-4AB9-ABE3-0D652A8F386B}" vid="{82FAA2C2-58D8-494D-9373-F9B9253F4997}"/>
    </a:ext>
  </a:extLst>
</a:theme>
</file>

<file path=ppt/theme/theme5.xml><?xml version="1.0" encoding="utf-8"?>
<a:theme xmlns:a="http://schemas.openxmlformats.org/drawingml/2006/main" name="Energiföretagen_mall_v2">
  <a:themeElements>
    <a:clrScheme name="ENERGIFÖRETAGEN FÄRGER">
      <a:dk1>
        <a:srgbClr val="000000"/>
      </a:dk1>
      <a:lt1>
        <a:sysClr val="window" lastClr="FFFFFF"/>
      </a:lt1>
      <a:dk2>
        <a:srgbClr val="FFCC00"/>
      </a:dk2>
      <a:lt2>
        <a:srgbClr val="FFFFFF"/>
      </a:lt2>
      <a:accent1>
        <a:srgbClr val="E6007E"/>
      </a:accent1>
      <a:accent2>
        <a:srgbClr val="777777"/>
      </a:accent2>
      <a:accent3>
        <a:srgbClr val="66CC33"/>
      </a:accent3>
      <a:accent4>
        <a:srgbClr val="8B33B7"/>
      </a:accent4>
      <a:accent5>
        <a:srgbClr val="FF671F"/>
      </a:accent5>
      <a:accent6>
        <a:srgbClr val="009FE3"/>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spcBef>
            <a:spcPts val="6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Bef>
            <a:spcPts val="600"/>
          </a:spcBef>
          <a:defRPr sz="2400" dirty="0" err="1" smtClean="0">
            <a:latin typeface="+mn-lt"/>
          </a:defRPr>
        </a:defPPr>
      </a:lstStyle>
    </a:txDef>
  </a:objectDefaults>
  <a:extraClrScheme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6431d30e-c018-4f72-ad4c-e56e9d03b1f0}" enabled="1" method="Standard" siteId="{f8be18a6-f648-4a47-be73-86d6c5c6604d}" contentBits="2" removed="0"/>
</clbl:labelList>
</file>

<file path=docProps/app.xml><?xml version="1.0" encoding="utf-8"?>
<Properties xmlns="http://schemas.openxmlformats.org/officeDocument/2006/extended-properties" xmlns:vt="http://schemas.openxmlformats.org/officeDocument/2006/docPropsVTypes">
  <TotalTime>0</TotalTime>
  <Words>3659</Words>
  <Application>Microsoft Office PowerPoint</Application>
  <PresentationFormat>Bredbild</PresentationFormat>
  <Paragraphs>438</Paragraphs>
  <Slides>22</Slides>
  <Notes>17</Notes>
  <HiddenSlides>0</HiddenSlides>
  <MMClips>0</MMClips>
  <ScaleCrop>false</ScaleCrop>
  <HeadingPairs>
    <vt:vector size="8" baseType="variant">
      <vt:variant>
        <vt:lpstr>Använt teckensnitt</vt:lpstr>
      </vt:variant>
      <vt:variant>
        <vt:i4>16</vt:i4>
      </vt:variant>
      <vt:variant>
        <vt:lpstr>Tema</vt:lpstr>
      </vt:variant>
      <vt:variant>
        <vt:i4>5</vt:i4>
      </vt:variant>
      <vt:variant>
        <vt:lpstr>Serverprogram för OLE-inbäddning</vt:lpstr>
      </vt:variant>
      <vt:variant>
        <vt:i4>1</vt:i4>
      </vt:variant>
      <vt:variant>
        <vt:lpstr>Bildrubriker</vt:lpstr>
      </vt:variant>
      <vt:variant>
        <vt:i4>22</vt:i4>
      </vt:variant>
    </vt:vector>
  </HeadingPairs>
  <TitlesOfParts>
    <vt:vector size="44" baseType="lpstr">
      <vt:lpstr>Aptos</vt:lpstr>
      <vt:lpstr>Arial</vt:lpstr>
      <vt:lpstr>Avenir</vt:lpstr>
      <vt:lpstr>Avenir Black</vt:lpstr>
      <vt:lpstr>Avenir Book</vt:lpstr>
      <vt:lpstr>Avenir LT Std 55 Roman</vt:lpstr>
      <vt:lpstr>Avenir Medium</vt:lpstr>
      <vt:lpstr>Avenir Next LT Pro Demi</vt:lpstr>
      <vt:lpstr>Calibri</vt:lpstr>
      <vt:lpstr>Calibri Light</vt:lpstr>
      <vt:lpstr>Courier New</vt:lpstr>
      <vt:lpstr>Enedis Light</vt:lpstr>
      <vt:lpstr>Founders Grotesk Regular</vt:lpstr>
      <vt:lpstr>Segoe UI</vt:lpstr>
      <vt:lpstr>Times New Roman</vt:lpstr>
      <vt:lpstr>Wingdings</vt:lpstr>
      <vt:lpstr>Office Theme</vt:lpstr>
      <vt:lpstr>Kantoorthema</vt:lpstr>
      <vt:lpstr>18_Vattenfall Documentation</vt:lpstr>
      <vt:lpstr>Tema1</vt:lpstr>
      <vt:lpstr>Energiföretagen_mall_v2</vt:lpstr>
      <vt:lpstr>think-cell Slide</vt:lpstr>
      <vt:lpstr>Implementing Regulation Demand Response Del 1</vt:lpstr>
      <vt:lpstr>Dagens webbinarium</vt:lpstr>
      <vt:lpstr>Genomförandeförordning demand response</vt:lpstr>
      <vt:lpstr>Vilket informationsutbyte från NC DR ingår inte?</vt:lpstr>
      <vt:lpstr>PowerPoint-presentation</vt:lpstr>
      <vt:lpstr>Information om EU:s referensmodell</vt:lpstr>
      <vt:lpstr>Standardiserat informationsutbyte på EU-nivå</vt:lpstr>
      <vt:lpstr>Vad är EU:s referensmodeller?</vt:lpstr>
      <vt:lpstr>Vad är EU:s referensmodeller?</vt:lpstr>
      <vt:lpstr>PowerPoint-presentation</vt:lpstr>
      <vt:lpstr>Roller</vt:lpstr>
      <vt:lpstr>PowerPoint-presentation</vt:lpstr>
      <vt:lpstr>Processsteg – några exempel</vt:lpstr>
      <vt:lpstr>Process 13 – Anläggning/CU</vt:lpstr>
      <vt:lpstr>Process 13 – Anläggning/CU</vt:lpstr>
      <vt:lpstr>Process 12 – Baseline</vt:lpstr>
      <vt:lpstr>Process 12 – Baseline</vt:lpstr>
      <vt:lpstr>Diskussion</vt:lpstr>
      <vt:lpstr>Bilaga</vt:lpstr>
      <vt:lpstr>Background of the IA DR – Legal Mandate and the JWG with ENTSO-E</vt:lpstr>
      <vt:lpstr>Background of the work for the IR Customer Services – Legal Mandate and the JWG with ENTSO-E (2)</vt:lpstr>
      <vt:lpstr>Procedures for master data (need approval by JWG and European Commi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uwaida Yvonne (DU-I)</dc:creator>
  <cp:lastModifiedBy>Ruwaida Yvonne (DU-I)</cp:lastModifiedBy>
  <cp:revision>2</cp:revision>
  <dcterms:created xsi:type="dcterms:W3CDTF">2025-03-24T14:52:12Z</dcterms:created>
  <dcterms:modified xsi:type="dcterms:W3CDTF">2025-04-08T09:3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9\Kantoorthema:4</vt:lpwstr>
  </property>
  <property fmtid="{D5CDD505-2E9C-101B-9397-08002B2CF9AE}" pid="3" name="ClassificationContentMarkingFooterText">
    <vt:lpwstr>Confidentiality: C2 - Internal</vt:lpwstr>
  </property>
</Properties>
</file>